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ags/tag43.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9.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0.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1.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2.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3.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4.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5.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6.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7.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9.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20.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21.xml" ContentType="application/vnd.openxmlformats-officedocument.them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2.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23.xml" ContentType="application/vnd.openxmlformats-officedocument.them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4.xml" ContentType="application/vnd.openxmlformats-officedocument.them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25.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6.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heme/theme27.xml" ContentType="application/vnd.openxmlformats-officedocument.theme+xml"/>
  <Override PartName="/ppt/tags/tag189.xml" ContentType="application/vnd.openxmlformats-officedocument.presentationml.tags+xml"/>
  <Override PartName="/ppt/notesSlides/notesSlide1.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2.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3.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notesSlides/notesSlide4.xml" ContentType="application/vnd.openxmlformats-officedocument.presentationml.notesSlide+xml"/>
  <Override PartName="/ppt/tags/tag270.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285.xml" ContentType="application/vnd.openxmlformats-officedocument.presentationml.tags+xml"/>
  <Override PartName="/ppt/notesSlides/notesSlide5.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tags/tag327.xml" ContentType="application/vnd.openxmlformats-officedocument.presentationml.tags+xml"/>
  <Override PartName="/ppt/charts/chart5.xml" ContentType="application/vnd.openxmlformats-officedocument.drawingml.chart+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7" r:id="rId1"/>
    <p:sldMasterId id="2147484229" r:id="rId2"/>
    <p:sldMasterId id="2147484241" r:id="rId3"/>
    <p:sldMasterId id="2147484253" r:id="rId4"/>
    <p:sldMasterId id="2147484272" r:id="rId5"/>
    <p:sldMasterId id="2147484302" r:id="rId6"/>
    <p:sldMasterId id="2147484484" r:id="rId7"/>
    <p:sldMasterId id="2147484542" r:id="rId8"/>
    <p:sldMasterId id="2147484554" r:id="rId9"/>
    <p:sldMasterId id="2147484562" r:id="rId10"/>
    <p:sldMasterId id="2147484769" r:id="rId11"/>
    <p:sldMasterId id="2147484786" r:id="rId12"/>
    <p:sldMasterId id="2147484791" r:id="rId13"/>
    <p:sldMasterId id="2147484802" r:id="rId14"/>
    <p:sldMasterId id="2147484814" r:id="rId15"/>
    <p:sldMasterId id="2147484825" r:id="rId16"/>
    <p:sldMasterId id="2147484836" r:id="rId17"/>
    <p:sldMasterId id="2147484848" r:id="rId18"/>
    <p:sldMasterId id="2147484853" r:id="rId19"/>
    <p:sldMasterId id="2147484890" r:id="rId20"/>
    <p:sldMasterId id="2147484901" r:id="rId21"/>
    <p:sldMasterId id="2147484913" r:id="rId22"/>
    <p:sldMasterId id="2147484925" r:id="rId23"/>
    <p:sldMasterId id="2147484938" r:id="rId24"/>
    <p:sldMasterId id="2147484945" r:id="rId25"/>
    <p:sldMasterId id="2147484956" r:id="rId26"/>
  </p:sldMasterIdLst>
  <p:notesMasterIdLst>
    <p:notesMasterId r:id="rId63"/>
  </p:notesMasterIdLst>
  <p:sldIdLst>
    <p:sldId id="3132" r:id="rId27"/>
    <p:sldId id="3271" r:id="rId28"/>
    <p:sldId id="3145" r:id="rId29"/>
    <p:sldId id="3259" r:id="rId30"/>
    <p:sldId id="3042" r:id="rId31"/>
    <p:sldId id="3274" r:id="rId32"/>
    <p:sldId id="350" r:id="rId33"/>
    <p:sldId id="3055" r:id="rId34"/>
    <p:sldId id="3261" r:id="rId35"/>
    <p:sldId id="3272" r:id="rId36"/>
    <p:sldId id="3264" r:id="rId37"/>
    <p:sldId id="3280" r:id="rId38"/>
    <p:sldId id="3283" r:id="rId39"/>
    <p:sldId id="3281" r:id="rId40"/>
    <p:sldId id="3282" r:id="rId41"/>
    <p:sldId id="3293" r:id="rId42"/>
    <p:sldId id="3294" r:id="rId43"/>
    <p:sldId id="3295" r:id="rId44"/>
    <p:sldId id="3287" r:id="rId45"/>
    <p:sldId id="3288" r:id="rId46"/>
    <p:sldId id="3289" r:id="rId47"/>
    <p:sldId id="3290" r:id="rId48"/>
    <p:sldId id="3292" r:id="rId49"/>
    <p:sldId id="3301" r:id="rId50"/>
    <p:sldId id="3296" r:id="rId51"/>
    <p:sldId id="3297" r:id="rId52"/>
    <p:sldId id="3304" r:id="rId53"/>
    <p:sldId id="3303" r:id="rId54"/>
    <p:sldId id="3305" r:id="rId55"/>
    <p:sldId id="3326" r:id="rId56"/>
    <p:sldId id="3307" r:id="rId57"/>
    <p:sldId id="3277" r:id="rId58"/>
    <p:sldId id="3308" r:id="rId59"/>
    <p:sldId id="3273" r:id="rId60"/>
    <p:sldId id="3275" r:id="rId61"/>
    <p:sldId id="3208" r:id="rId62"/>
  </p:sldIdLst>
  <p:sldSz cx="12192000" cy="6858000"/>
  <p:notesSz cx="6858000" cy="9144000"/>
  <p:custDataLst>
    <p:tags r:id="rId64"/>
  </p:custDataLst>
  <p:defaultTextStyle>
    <a:defPPr>
      <a:defRPr lang="en-US"/>
    </a:defPPr>
    <a:lvl1pPr marL="0" algn="l" defTabSz="913809" rtl="0" eaLnBrk="1" latinLnBrk="0" hangingPunct="1">
      <a:defRPr sz="1900" kern="1200">
        <a:solidFill>
          <a:schemeClr val="tx1"/>
        </a:solidFill>
        <a:latin typeface="+mn-lt"/>
        <a:ea typeface="+mn-ea"/>
        <a:cs typeface="+mn-cs"/>
      </a:defRPr>
    </a:lvl1pPr>
    <a:lvl2pPr marL="456902" algn="l" defTabSz="913809" rtl="0" eaLnBrk="1" latinLnBrk="0" hangingPunct="1">
      <a:defRPr sz="1900" kern="1200">
        <a:solidFill>
          <a:schemeClr val="tx1"/>
        </a:solidFill>
        <a:latin typeface="+mn-lt"/>
        <a:ea typeface="+mn-ea"/>
        <a:cs typeface="+mn-cs"/>
      </a:defRPr>
    </a:lvl2pPr>
    <a:lvl3pPr marL="913809" algn="l" defTabSz="913809" rtl="0" eaLnBrk="1" latinLnBrk="0" hangingPunct="1">
      <a:defRPr sz="1900" kern="1200">
        <a:solidFill>
          <a:schemeClr val="tx1"/>
        </a:solidFill>
        <a:latin typeface="+mn-lt"/>
        <a:ea typeface="+mn-ea"/>
        <a:cs typeface="+mn-cs"/>
      </a:defRPr>
    </a:lvl3pPr>
    <a:lvl4pPr marL="1370714" algn="l" defTabSz="913809" rtl="0" eaLnBrk="1" latinLnBrk="0" hangingPunct="1">
      <a:defRPr sz="1900" kern="1200">
        <a:solidFill>
          <a:schemeClr val="tx1"/>
        </a:solidFill>
        <a:latin typeface="+mn-lt"/>
        <a:ea typeface="+mn-ea"/>
        <a:cs typeface="+mn-cs"/>
      </a:defRPr>
    </a:lvl4pPr>
    <a:lvl5pPr marL="1827617" algn="l" defTabSz="913809" rtl="0" eaLnBrk="1" latinLnBrk="0" hangingPunct="1">
      <a:defRPr sz="1900" kern="1200">
        <a:solidFill>
          <a:schemeClr val="tx1"/>
        </a:solidFill>
        <a:latin typeface="+mn-lt"/>
        <a:ea typeface="+mn-ea"/>
        <a:cs typeface="+mn-cs"/>
      </a:defRPr>
    </a:lvl5pPr>
    <a:lvl6pPr marL="2284528" algn="l" defTabSz="913809" rtl="0" eaLnBrk="1" latinLnBrk="0" hangingPunct="1">
      <a:defRPr sz="1900" kern="1200">
        <a:solidFill>
          <a:schemeClr val="tx1"/>
        </a:solidFill>
        <a:latin typeface="+mn-lt"/>
        <a:ea typeface="+mn-ea"/>
        <a:cs typeface="+mn-cs"/>
      </a:defRPr>
    </a:lvl6pPr>
    <a:lvl7pPr marL="2741424" algn="l" defTabSz="913809" rtl="0" eaLnBrk="1" latinLnBrk="0" hangingPunct="1">
      <a:defRPr sz="1900" kern="1200">
        <a:solidFill>
          <a:schemeClr val="tx1"/>
        </a:solidFill>
        <a:latin typeface="+mn-lt"/>
        <a:ea typeface="+mn-ea"/>
        <a:cs typeface="+mn-cs"/>
      </a:defRPr>
    </a:lvl7pPr>
    <a:lvl8pPr marL="3198324" algn="l" defTabSz="913809" rtl="0" eaLnBrk="1" latinLnBrk="0" hangingPunct="1">
      <a:defRPr sz="1900" kern="1200">
        <a:solidFill>
          <a:schemeClr val="tx1"/>
        </a:solidFill>
        <a:latin typeface="+mn-lt"/>
        <a:ea typeface="+mn-ea"/>
        <a:cs typeface="+mn-cs"/>
      </a:defRPr>
    </a:lvl8pPr>
    <a:lvl9pPr marL="3655226" algn="l" defTabSz="913809"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pos="384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ila Umar" initials="LU" lastIdx="3" clrIdx="0">
    <p:extLst>
      <p:ext uri="{19B8F6BF-5375-455C-9EA6-DF929625EA0E}">
        <p15:presenceInfo xmlns:p15="http://schemas.microsoft.com/office/powerpoint/2012/main" userId="1fa7fe0452a35bc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294" autoAdjust="0"/>
    <p:restoredTop sz="94660"/>
  </p:normalViewPr>
  <p:slideViewPr>
    <p:cSldViewPr snapToGrid="0">
      <p:cViewPr varScale="1">
        <p:scale>
          <a:sx n="67" d="100"/>
          <a:sy n="67" d="100"/>
        </p:scale>
        <p:origin x="440" y="32"/>
      </p:cViewPr>
      <p:guideLst>
        <p:guide orient="horz" pos="2160"/>
        <p:guide pos="3840"/>
        <p:guide pos="3841"/>
      </p:guideLst>
    </p:cSldViewPr>
  </p:slideViewPr>
  <p:notesTextViewPr>
    <p:cViewPr>
      <p:scale>
        <a:sx n="1" d="1"/>
        <a:sy n="1" d="1"/>
      </p:scale>
      <p:origin x="0" y="0"/>
    </p:cViewPr>
  </p:notesTextViewPr>
  <p:notesViewPr>
    <p:cSldViewPr snapToGrid="0">
      <p:cViewPr varScale="1">
        <p:scale>
          <a:sx n="51" d="100"/>
          <a:sy n="51" d="100"/>
        </p:scale>
        <p:origin x="1836" y="4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3.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slide" Target="slides/slide27.xml"/><Relationship Id="rId58" Type="http://schemas.openxmlformats.org/officeDocument/2006/relationships/slide" Target="slides/slide32.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35.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2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 Type="http://schemas.openxmlformats.org/officeDocument/2006/relationships/slideMaster" Target="slideMasters/slideMaster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s>
</file>

<file path=ppt/charts/_rels/chart1.xml.rels><?xml version="1.0" encoding="UTF-8" standalone="yes"?>
<Relationships xmlns="http://schemas.openxmlformats.org/package/2006/relationships"><Relationship Id="rId2" Type="http://schemas.openxmlformats.org/officeDocument/2006/relationships/oleObject" Target="file:///D:\Summary%20Table_IRP_2%20Zones.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oleObject" Target="file:///C:\NERICC\LQAS\QuarterlyLQAS\06_Q1_2019\Trends%20of%20RI%20LQAS_2017%20-%202018%20as%20at%20Q1-2019_15042019.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NERICC\LQAS\Analysis\Analysi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a:latin typeface="Arial" panose="020B0604020202020204" pitchFamily="34" charset="0"/>
                <a:cs typeface="Arial" panose="020B0604020202020204" pitchFamily="34" charset="0"/>
              </a:defRPr>
            </a:pPr>
            <a:r>
              <a:rPr lang="en-US" sz="1600">
                <a:latin typeface="Arial" panose="020B0604020202020204" pitchFamily="34" charset="0"/>
                <a:cs typeface="Arial" panose="020B0604020202020204" pitchFamily="34" charset="0"/>
              </a:rPr>
              <a:t>Distribution</a:t>
            </a:r>
            <a:r>
              <a:rPr lang="en-US" sz="1600" baseline="0">
                <a:latin typeface="Arial" panose="020B0604020202020204" pitchFamily="34" charset="0"/>
                <a:cs typeface="Arial" panose="020B0604020202020204" pitchFamily="34" charset="0"/>
              </a:rPr>
              <a:t> of CCE per functionality status</a:t>
            </a:r>
            <a:endParaRPr lang="en-US" sz="1600">
              <a:latin typeface="Arial" panose="020B0604020202020204" pitchFamily="34" charset="0"/>
              <a:cs typeface="Arial" panose="020B0604020202020204" pitchFamily="34" charset="0"/>
            </a:endParaRPr>
          </a:p>
        </c:rich>
      </c:tx>
      <c:layout>
        <c:manualLayout>
          <c:xMode val="edge"/>
          <c:yMode val="edge"/>
          <c:x val="0.19029118101683587"/>
          <c:y val="1.1834209268901041E-3"/>
        </c:manualLayout>
      </c:layout>
      <c:overlay val="0"/>
    </c:title>
    <c:autoTitleDeleted val="0"/>
    <c:view3D>
      <c:rotX val="30"/>
      <c:rotY val="2"/>
      <c:rAngAx val="0"/>
    </c:view3D>
    <c:floor>
      <c:thickness val="0"/>
    </c:floor>
    <c:sideWall>
      <c:thickness val="0"/>
    </c:sideWall>
    <c:backWall>
      <c:thickness val="0"/>
    </c:backWall>
    <c:plotArea>
      <c:layout>
        <c:manualLayout>
          <c:layoutTarget val="inner"/>
          <c:xMode val="edge"/>
          <c:yMode val="edge"/>
          <c:x val="8.4460931308907236E-2"/>
          <c:y val="0.19793665693855622"/>
          <c:w val="0.78990206127939011"/>
          <c:h val="0.72773313858098632"/>
        </c:manualLayout>
      </c:layout>
      <c:pie3DChart>
        <c:varyColors val="1"/>
        <c:ser>
          <c:idx val="0"/>
          <c:order val="0"/>
          <c:spPr>
            <a:solidFill>
              <a:srgbClr val="CC3300"/>
            </a:solidFill>
          </c:spPr>
          <c:explosion val="7"/>
          <c:dPt>
            <c:idx val="0"/>
            <c:bubble3D val="0"/>
            <c:spPr>
              <a:solidFill>
                <a:schemeClr val="accent3">
                  <a:lumMod val="75000"/>
                </a:schemeClr>
              </a:solidFill>
            </c:spPr>
            <c:extLst>
              <c:ext xmlns:c16="http://schemas.microsoft.com/office/drawing/2014/chart" uri="{C3380CC4-5D6E-409C-BE32-E72D297353CC}">
                <c16:uniqueId val="{00000001-0F56-4C39-A25F-C5A37D928852}"/>
              </c:ext>
            </c:extLst>
          </c:dPt>
          <c:dPt>
            <c:idx val="1"/>
            <c:bubble3D val="0"/>
            <c:spPr>
              <a:solidFill>
                <a:schemeClr val="accent3">
                  <a:lumMod val="40000"/>
                  <a:lumOff val="60000"/>
                </a:schemeClr>
              </a:solidFill>
            </c:spPr>
            <c:extLst>
              <c:ext xmlns:c16="http://schemas.microsoft.com/office/drawing/2014/chart" uri="{C3380CC4-5D6E-409C-BE32-E72D297353CC}">
                <c16:uniqueId val="{00000003-0F56-4C39-A25F-C5A37D928852}"/>
              </c:ext>
            </c:extLst>
          </c:dPt>
          <c:dPt>
            <c:idx val="2"/>
            <c:bubble3D val="0"/>
            <c:spPr>
              <a:solidFill>
                <a:srgbClr val="C00000"/>
              </a:solidFill>
              <a:ln>
                <a:noFill/>
              </a:ln>
            </c:spPr>
            <c:extLst>
              <c:ext xmlns:c16="http://schemas.microsoft.com/office/drawing/2014/chart" uri="{C3380CC4-5D6E-409C-BE32-E72D297353CC}">
                <c16:uniqueId val="{00000005-0F56-4C39-A25F-C5A37D928852}"/>
              </c:ext>
            </c:extLst>
          </c:dPt>
          <c:dPt>
            <c:idx val="3"/>
            <c:bubble3D val="0"/>
            <c:spPr>
              <a:solidFill>
                <a:schemeClr val="accent6">
                  <a:lumMod val="20000"/>
                  <a:lumOff val="80000"/>
                </a:schemeClr>
              </a:solidFill>
            </c:spPr>
            <c:extLst>
              <c:ext xmlns:c16="http://schemas.microsoft.com/office/drawing/2014/chart" uri="{C3380CC4-5D6E-409C-BE32-E72D297353CC}">
                <c16:uniqueId val="{00000007-0F56-4C39-A25F-C5A37D928852}"/>
              </c:ext>
            </c:extLst>
          </c:dPt>
          <c:dPt>
            <c:idx val="4"/>
            <c:bubble3D val="0"/>
            <c:spPr>
              <a:solidFill>
                <a:schemeClr val="accent4">
                  <a:lumMod val="75000"/>
                </a:schemeClr>
              </a:solidFill>
              <a:ln>
                <a:solidFill>
                  <a:srgbClr val="7030A0"/>
                </a:solidFill>
              </a:ln>
            </c:spPr>
            <c:extLst>
              <c:ext xmlns:c16="http://schemas.microsoft.com/office/drawing/2014/chart" uri="{C3380CC4-5D6E-409C-BE32-E72D297353CC}">
                <c16:uniqueId val="{00000009-0F56-4C39-A25F-C5A37D928852}"/>
              </c:ext>
            </c:extLst>
          </c:dPt>
          <c:dPt>
            <c:idx val="5"/>
            <c:bubble3D val="0"/>
            <c:spPr>
              <a:solidFill>
                <a:schemeClr val="bg1">
                  <a:lumMod val="75000"/>
                </a:schemeClr>
              </a:solidFill>
            </c:spPr>
            <c:extLst>
              <c:ext xmlns:c16="http://schemas.microsoft.com/office/drawing/2014/chart" uri="{C3380CC4-5D6E-409C-BE32-E72D297353CC}">
                <c16:uniqueId val="{0000000B-0F56-4C39-A25F-C5A37D928852}"/>
              </c:ext>
            </c:extLst>
          </c:dPt>
          <c:dLbls>
            <c:dLbl>
              <c:idx val="0"/>
              <c:layout>
                <c:manualLayout>
                  <c:x val="-0.12597708624779685"/>
                  <c:y val="-6.7089927251175963E-2"/>
                </c:manualLayout>
              </c:layout>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en-TK"/>
                </a:p>
              </c:txPr>
              <c:showLegendKey val="0"/>
              <c:showVal val="1"/>
              <c:showCatName val="1"/>
              <c:showSerName val="0"/>
              <c:showPercent val="1"/>
              <c:showBubbleSize val="0"/>
              <c:extLst>
                <c:ext xmlns:c15="http://schemas.microsoft.com/office/drawing/2012/chart" uri="{CE6537A1-D6FC-4f65-9D91-7224C49458BB}">
                  <c15:layout>
                    <c:manualLayout>
                      <c:w val="0.3919243581609595"/>
                      <c:h val="0.12002766892886907"/>
                    </c:manualLayout>
                  </c15:layout>
                </c:ext>
                <c:ext xmlns:c16="http://schemas.microsoft.com/office/drawing/2014/chart" uri="{C3380CC4-5D6E-409C-BE32-E72D297353CC}">
                  <c16:uniqueId val="{00000001-0F56-4C39-A25F-C5A37D928852}"/>
                </c:ext>
              </c:extLst>
            </c:dLbl>
            <c:dLbl>
              <c:idx val="1"/>
              <c:layout>
                <c:manualLayout>
                  <c:x val="0.17705343472247695"/>
                  <c:y val="-0.18324311881267458"/>
                </c:manualLayout>
              </c:layou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F56-4C39-A25F-C5A37D928852}"/>
                </c:ext>
              </c:extLst>
            </c:dLbl>
            <c:dLbl>
              <c:idx val="2"/>
              <c:layout>
                <c:manualLayout>
                  <c:x val="0.18440913349774007"/>
                  <c:y val="7.6949107207024123E-2"/>
                </c:manualLayout>
              </c:layout>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en-TK"/>
                </a:p>
              </c:txPr>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F56-4C39-A25F-C5A37D928852}"/>
                </c:ext>
              </c:extLst>
            </c:dLbl>
            <c:dLbl>
              <c:idx val="3"/>
              <c:layout>
                <c:manualLayout>
                  <c:x val="-0.23307182322096032"/>
                  <c:y val="-8.641350122610203E-2"/>
                </c:manualLayout>
              </c:layou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0F56-4C39-A25F-C5A37D928852}"/>
                </c:ext>
              </c:extLst>
            </c:dLbl>
            <c:dLbl>
              <c:idx val="4"/>
              <c:layout>
                <c:manualLayout>
                  <c:x val="2.9528929140409275E-3"/>
                  <c:y val="-0.11057189995149572"/>
                </c:manualLayout>
              </c:layou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0F56-4C39-A25F-C5A37D928852}"/>
                </c:ext>
              </c:extLst>
            </c:dLbl>
            <c:dLbl>
              <c:idx val="5"/>
              <c:layout>
                <c:manualLayout>
                  <c:x val="0.23247550389402172"/>
                  <c:y val="-4.7431110235747871E-2"/>
                </c:manualLayout>
              </c:layout>
              <c:showLegendKey val="0"/>
              <c:showVal val="1"/>
              <c:showCatName val="1"/>
              <c:showSerName val="0"/>
              <c:showPercent val="1"/>
              <c:showBubbleSize val="0"/>
              <c:extLst>
                <c:ext xmlns:c15="http://schemas.microsoft.com/office/drawing/2012/chart" uri="{CE6537A1-D6FC-4f65-9D91-7224C49458BB}">
                  <c15:layout>
                    <c:manualLayout>
                      <c:w val="0.31694990708988385"/>
                      <c:h val="0.12462559387328688"/>
                    </c:manualLayout>
                  </c15:layout>
                </c:ext>
                <c:ext xmlns:c16="http://schemas.microsoft.com/office/drawing/2014/chart" uri="{C3380CC4-5D6E-409C-BE32-E72D297353CC}">
                  <c16:uniqueId val="{0000000B-0F56-4C39-A25F-C5A37D928852}"/>
                </c:ext>
              </c:extLst>
            </c:dLbl>
            <c:spPr>
              <a:noFill/>
              <a:ln>
                <a:noFill/>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en-TK"/>
              </a:p>
            </c:txPr>
            <c:showLegendKey val="0"/>
            <c:showVal val="1"/>
            <c:showCatName val="1"/>
            <c:showSerName val="0"/>
            <c:showPercent val="1"/>
            <c:showBubbleSize val="0"/>
            <c:showLeaderLines val="1"/>
            <c:extLst>
              <c:ext xmlns:c15="http://schemas.microsoft.com/office/drawing/2012/chart" uri="{CE6537A1-D6FC-4f65-9D91-7224C49458BB}"/>
            </c:extLst>
          </c:dLbls>
          <c:cat>
            <c:strRef>
              <c:f>'General Status'!$J$14:$O$14</c:f>
              <c:strCache>
                <c:ptCount val="6"/>
                <c:pt idx="0">
                  <c:v>Functioning well</c:v>
                </c:pt>
                <c:pt idx="1">
                  <c:v>Non Functional, need repair</c:v>
                </c:pt>
                <c:pt idx="2">
                  <c:v>No functional, Not Repairable </c:v>
                </c:pt>
                <c:pt idx="3">
                  <c:v>Commissioning issues</c:v>
                </c:pt>
                <c:pt idx="4">
                  <c:v>New , not installed yet</c:v>
                </c:pt>
                <c:pt idx="5">
                  <c:v>Non specified</c:v>
                </c:pt>
              </c:strCache>
            </c:strRef>
          </c:cat>
          <c:val>
            <c:numRef>
              <c:f>'General Status'!$J$15:$O$15</c:f>
              <c:numCache>
                <c:formatCode>_(* #,##0_);_(* \(#,##0\);_(* "-"_);_(@_)</c:formatCode>
                <c:ptCount val="6"/>
                <c:pt idx="0">
                  <c:v>7624</c:v>
                </c:pt>
                <c:pt idx="1">
                  <c:v>2177</c:v>
                </c:pt>
                <c:pt idx="2">
                  <c:v>4564</c:v>
                </c:pt>
                <c:pt idx="3">
                  <c:v>21</c:v>
                </c:pt>
                <c:pt idx="4">
                  <c:v>207</c:v>
                </c:pt>
                <c:pt idx="5">
                  <c:v>3</c:v>
                </c:pt>
              </c:numCache>
            </c:numRef>
          </c:val>
          <c:extLst>
            <c:ext xmlns:c16="http://schemas.microsoft.com/office/drawing/2014/chart" uri="{C3380CC4-5D6E-409C-BE32-E72D297353CC}">
              <c16:uniqueId val="{0000000C-0F56-4C39-A25F-C5A37D928852}"/>
            </c:ext>
          </c:extLst>
        </c:ser>
        <c:dLbls>
          <c:showLegendKey val="0"/>
          <c:showVal val="0"/>
          <c:showCatName val="1"/>
          <c:showSerName val="0"/>
          <c:showPercent val="1"/>
          <c:showBubbleSize val="0"/>
          <c:showLeaderLines val="1"/>
        </c:dLbls>
      </c:pie3DChart>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239392352016764E-2"/>
          <c:y val="0.17336152219873152"/>
          <c:w val="0.94552121529596656"/>
          <c:h val="0.77167019027484152"/>
        </c:manualLayout>
      </c:layout>
      <c:barChart>
        <c:barDir val="col"/>
        <c:grouping val="stacked"/>
        <c:varyColors val="0"/>
        <c:ser>
          <c:idx val="0"/>
          <c:order val="0"/>
          <c:spPr>
            <a:no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C9AF-432E-8875-3F98A9D78489}"/>
              </c:ext>
            </c:extLst>
          </c:dPt>
          <c:dPt>
            <c:idx val="3"/>
            <c:invertIfNegative val="0"/>
            <c:bubble3D val="0"/>
            <c:spPr>
              <a:solidFill>
                <a:schemeClr val="accent4"/>
              </a:solidFill>
              <a:ln>
                <a:noFill/>
              </a:ln>
            </c:spPr>
            <c:extLst>
              <c:ext xmlns:c16="http://schemas.microsoft.com/office/drawing/2014/chart" uri="{C3380CC4-5D6E-409C-BE32-E72D297353CC}">
                <c16:uniqueId val="{00000001-C9AF-432E-8875-3F98A9D78489}"/>
              </c:ext>
            </c:extLst>
          </c:dPt>
          <c:dLbls>
            <c:dLbl>
              <c:idx val="0"/>
              <c:layout>
                <c:manualLayout>
                  <c:x val="0"/>
                  <c:y val="-0.4735729386892177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T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AF-432E-8875-3F98A9D78489}"/>
                </c:ext>
              </c:extLst>
            </c:dLbl>
            <c:dLbl>
              <c:idx val="3"/>
              <c:layout>
                <c:manualLayout>
                  <c:x val="0"/>
                  <c:y val="-9.5137420718816063E-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T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9AF-432E-8875-3F98A9D784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50</c:v>
                </c:pt>
                <c:pt idx="2">
                  <c:v>5</c:v>
                </c:pt>
                <c:pt idx="3">
                  <c:v>5</c:v>
                </c:pt>
              </c:numCache>
            </c:numRef>
          </c:val>
          <c:extLst>
            <c:ext xmlns:c16="http://schemas.microsoft.com/office/drawing/2014/chart" uri="{C3380CC4-5D6E-409C-BE32-E72D297353CC}">
              <c16:uniqueId val="{00000002-C9AF-432E-8875-3F98A9D78489}"/>
            </c:ext>
          </c:extLst>
        </c:ser>
        <c:ser>
          <c:idx val="1"/>
          <c:order val="1"/>
          <c:spPr>
            <a:solidFill>
              <a:schemeClr val="accent4"/>
            </a:solidFill>
            <a:ln>
              <a:noFill/>
            </a:ln>
          </c:spPr>
          <c:invertIfNegative val="0"/>
          <c:dLbls>
            <c:dLbl>
              <c:idx val="1"/>
              <c:layout>
                <c:manualLayout>
                  <c:x val="0"/>
                  <c:y val="0"/>
                </c:manualLayout>
              </c:layout>
              <c:numFmt formatCode="#,##0;#,##0" sourceLinked="0"/>
              <c:spPr>
                <a:noFill/>
                <a:ln>
                  <a:noFill/>
                </a:ln>
              </c:spPr>
              <c:txPr>
                <a:bodyPr wrap="none"/>
                <a:lstStyle/>
                <a:p>
                  <a:pPr>
                    <a:defRPr sz="1400">
                      <a:solidFill>
                        <a:schemeClr val="tx1"/>
                      </a:solidFill>
                      <a:latin typeface="+mn-lt"/>
                      <a:ea typeface="+mn-ea"/>
                      <a:cs typeface="+mn-cs"/>
                      <a:sym typeface="+mn-lt"/>
                    </a:defRPr>
                  </a:pPr>
                  <a:endParaRPr lang="en-T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AF-432E-8875-3F98A9D78489}"/>
                </c:ext>
              </c:extLst>
            </c:dLbl>
            <c:dLbl>
              <c:idx val="2"/>
              <c:layout>
                <c:manualLayout>
                  <c:x val="0"/>
                  <c:y val="0"/>
                </c:manualLayout>
              </c:layout>
              <c:numFmt formatCode="#,##0;#,##0" sourceLinked="0"/>
              <c:spPr>
                <a:noFill/>
                <a:ln>
                  <a:noFill/>
                </a:ln>
              </c:spPr>
              <c:txPr>
                <a:bodyPr wrap="none"/>
                <a:lstStyle/>
                <a:p>
                  <a:pPr>
                    <a:defRPr sz="1400">
                      <a:solidFill>
                        <a:schemeClr val="tx1"/>
                      </a:solidFill>
                      <a:latin typeface="+mn-lt"/>
                      <a:ea typeface="+mn-ea"/>
                      <a:cs typeface="+mn-cs"/>
                      <a:sym typeface="+mn-lt"/>
                    </a:defRPr>
                  </a:pPr>
                  <a:endParaRPr lang="en-T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AF-432E-8875-3F98A9D784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50</c:v>
                </c:pt>
                <c:pt idx="2">
                  <c:v>45</c:v>
                </c:pt>
              </c:numCache>
            </c:numRef>
          </c:val>
          <c:extLst>
            <c:ext xmlns:c16="http://schemas.microsoft.com/office/drawing/2014/chart" uri="{C3380CC4-5D6E-409C-BE32-E72D297353CC}">
              <c16:uniqueId val="{00000005-C9AF-432E-8875-3F98A9D78489}"/>
            </c:ext>
          </c:extLst>
        </c:ser>
        <c:dLbls>
          <c:showLegendKey val="0"/>
          <c:showVal val="0"/>
          <c:showCatName val="0"/>
          <c:showSerName val="0"/>
          <c:showPercent val="0"/>
          <c:showBubbleSize val="0"/>
        </c:dLbls>
        <c:gapWidth val="40"/>
        <c:overlap val="100"/>
        <c:axId val="160673152"/>
        <c:axId val="160683136"/>
      </c:barChart>
      <c:catAx>
        <c:axId val="16067315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60683136"/>
        <c:crosses val="min"/>
        <c:auto val="0"/>
        <c:lblAlgn val="ctr"/>
        <c:lblOffset val="100"/>
        <c:noMultiLvlLbl val="0"/>
      </c:catAx>
      <c:valAx>
        <c:axId val="160683136"/>
        <c:scaling>
          <c:orientation val="minMax"/>
          <c:max val="100"/>
          <c:min val="0"/>
        </c:scaling>
        <c:delete val="1"/>
        <c:axPos val="l"/>
        <c:numFmt formatCode="General" sourceLinked="1"/>
        <c:majorTickMark val="out"/>
        <c:minorTickMark val="none"/>
        <c:tickLblPos val="nextTo"/>
        <c:crossAx val="16067315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335381913959612E-2"/>
          <c:y val="4.7229791099000905E-2"/>
          <c:w val="0.8753292361720808"/>
          <c:h val="0.90554041780199812"/>
        </c:manualLayout>
      </c:layout>
      <c:pieChart>
        <c:varyColors val="0"/>
        <c:ser>
          <c:idx val="0"/>
          <c:order val="0"/>
          <c:dPt>
            <c:idx val="0"/>
            <c:bubble3D val="0"/>
            <c:spPr>
              <a:solidFill>
                <a:schemeClr val="tx2"/>
              </a:solidFill>
              <a:ln w="9525">
                <a:solidFill>
                  <a:schemeClr val="tx2"/>
                </a:solidFill>
                <a:prstDash val="solid"/>
              </a:ln>
            </c:spPr>
            <c:extLst>
              <c:ext xmlns:c16="http://schemas.microsoft.com/office/drawing/2014/chart" uri="{C3380CC4-5D6E-409C-BE32-E72D297353CC}">
                <c16:uniqueId val="{00000000-F54C-49A3-A8ED-198D12862388}"/>
              </c:ext>
            </c:extLst>
          </c:dPt>
          <c:dPt>
            <c:idx val="1"/>
            <c:bubble3D val="0"/>
            <c:spPr>
              <a:solidFill>
                <a:schemeClr val="accent4"/>
              </a:solidFill>
              <a:ln w="9525">
                <a:solidFill>
                  <a:srgbClr val="FFFFFF"/>
                </a:solidFill>
                <a:prstDash val="solid"/>
              </a:ln>
            </c:spPr>
            <c:extLst>
              <c:ext xmlns:c16="http://schemas.microsoft.com/office/drawing/2014/chart" uri="{C3380CC4-5D6E-409C-BE32-E72D297353CC}">
                <c16:uniqueId val="{00000001-F54C-49A3-A8ED-198D12862388}"/>
              </c:ext>
            </c:extLst>
          </c:dPt>
          <c:dLbls>
            <c:dLbl>
              <c:idx val="1"/>
              <c:layout>
                <c:manualLayout>
                  <c:x val="-4.3898156277436349E-3"/>
                  <c:y val="0.15168029064486829"/>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T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4C-49A3-A8ED-198D1286238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1</c:v>
                </c:pt>
                <c:pt idx="1">
                  <c:v>99</c:v>
                </c:pt>
              </c:numCache>
            </c:numRef>
          </c:val>
          <c:extLst>
            <c:ext xmlns:c16="http://schemas.microsoft.com/office/drawing/2014/chart" uri="{C3380CC4-5D6E-409C-BE32-E72D297353CC}">
              <c16:uniqueId val="{00000002-F54C-49A3-A8ED-198D1286238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18HRS'!$M$389</c:f>
              <c:strCache>
                <c:ptCount val="1"/>
                <c:pt idx="0">
                  <c:v>&gt;=80%</c:v>
                </c:pt>
              </c:strCache>
            </c:strRef>
          </c:tx>
          <c:spPr>
            <a:solidFill>
              <a:srgbClr val="008700"/>
            </a:solidFill>
            <a:ln>
              <a:noFill/>
            </a:ln>
            <a:effectLst/>
          </c:spPr>
          <c:invertIfNegative val="0"/>
          <c:cat>
            <c:strRef>
              <c:f>'18HRS'!$N$387:$S$387</c:f>
              <c:strCache>
                <c:ptCount val="6"/>
                <c:pt idx="0">
                  <c:v>Q4-2017 (18 States)</c:v>
                </c:pt>
                <c:pt idx="1">
                  <c:v>Q1-2018 (18 States)</c:v>
                </c:pt>
                <c:pt idx="2">
                  <c:v>Q2-2018 (18 States)</c:v>
                </c:pt>
                <c:pt idx="3">
                  <c:v>Q3-2018 (18 States)</c:v>
                </c:pt>
                <c:pt idx="4">
                  <c:v>Q4-2018 (18 States)</c:v>
                </c:pt>
                <c:pt idx="5">
                  <c:v>Q1-2019 (18 States)</c:v>
                </c:pt>
              </c:strCache>
            </c:strRef>
          </c:cat>
          <c:val>
            <c:numRef>
              <c:f>'18HRS'!$N$389:$S$389</c:f>
              <c:numCache>
                <c:formatCode>General</c:formatCode>
                <c:ptCount val="6"/>
                <c:pt idx="0">
                  <c:v>11</c:v>
                </c:pt>
                <c:pt idx="1">
                  <c:v>21</c:v>
                </c:pt>
                <c:pt idx="2">
                  <c:v>41</c:v>
                </c:pt>
                <c:pt idx="3">
                  <c:v>52</c:v>
                </c:pt>
                <c:pt idx="4">
                  <c:v>85</c:v>
                </c:pt>
                <c:pt idx="5">
                  <c:v>139</c:v>
                </c:pt>
              </c:numCache>
            </c:numRef>
          </c:val>
          <c:extLst>
            <c:ext xmlns:c16="http://schemas.microsoft.com/office/drawing/2014/chart" uri="{C3380CC4-5D6E-409C-BE32-E72D297353CC}">
              <c16:uniqueId val="{00000000-84B6-49F6-80E0-E755CC0A8FCD}"/>
            </c:ext>
          </c:extLst>
        </c:ser>
        <c:ser>
          <c:idx val="1"/>
          <c:order val="1"/>
          <c:tx>
            <c:strRef>
              <c:f>'18HRS'!$M$390</c:f>
              <c:strCache>
                <c:ptCount val="1"/>
                <c:pt idx="0">
                  <c:v>50 - 79.9 %</c:v>
                </c:pt>
              </c:strCache>
            </c:strRef>
          </c:tx>
          <c:spPr>
            <a:solidFill>
              <a:srgbClr val="FFFF00"/>
            </a:solidFill>
            <a:ln>
              <a:noFill/>
            </a:ln>
            <a:effectLst/>
          </c:spPr>
          <c:invertIfNegative val="0"/>
          <c:cat>
            <c:strRef>
              <c:f>'18HRS'!$N$387:$S$387</c:f>
              <c:strCache>
                <c:ptCount val="6"/>
                <c:pt idx="0">
                  <c:v>Q4-2017 (18 States)</c:v>
                </c:pt>
                <c:pt idx="1">
                  <c:v>Q1-2018 (18 States)</c:v>
                </c:pt>
                <c:pt idx="2">
                  <c:v>Q2-2018 (18 States)</c:v>
                </c:pt>
                <c:pt idx="3">
                  <c:v>Q3-2018 (18 States)</c:v>
                </c:pt>
                <c:pt idx="4">
                  <c:v>Q4-2018 (18 States)</c:v>
                </c:pt>
                <c:pt idx="5">
                  <c:v>Q1-2019 (18 States)</c:v>
                </c:pt>
              </c:strCache>
            </c:strRef>
          </c:cat>
          <c:val>
            <c:numRef>
              <c:f>'18HRS'!$N$390:$S$390</c:f>
              <c:numCache>
                <c:formatCode>General</c:formatCode>
                <c:ptCount val="6"/>
                <c:pt idx="0">
                  <c:v>117</c:v>
                </c:pt>
                <c:pt idx="1">
                  <c:v>163</c:v>
                </c:pt>
                <c:pt idx="2">
                  <c:v>187</c:v>
                </c:pt>
                <c:pt idx="3">
                  <c:v>172</c:v>
                </c:pt>
                <c:pt idx="4">
                  <c:v>204</c:v>
                </c:pt>
                <c:pt idx="5">
                  <c:v>189</c:v>
                </c:pt>
              </c:numCache>
            </c:numRef>
          </c:val>
          <c:extLst>
            <c:ext xmlns:c16="http://schemas.microsoft.com/office/drawing/2014/chart" uri="{C3380CC4-5D6E-409C-BE32-E72D297353CC}">
              <c16:uniqueId val="{00000001-84B6-49F6-80E0-E755CC0A8FCD}"/>
            </c:ext>
          </c:extLst>
        </c:ser>
        <c:ser>
          <c:idx val="2"/>
          <c:order val="2"/>
          <c:tx>
            <c:strRef>
              <c:f>'18HRS'!$M$391</c:f>
              <c:strCache>
                <c:ptCount val="1"/>
                <c:pt idx="0">
                  <c:v>25 - 49.9 %</c:v>
                </c:pt>
              </c:strCache>
            </c:strRef>
          </c:tx>
          <c:spPr>
            <a:solidFill>
              <a:srgbClr val="E36C0A"/>
            </a:solidFill>
            <a:ln>
              <a:noFill/>
            </a:ln>
            <a:effectLst/>
          </c:spPr>
          <c:invertIfNegative val="0"/>
          <c:cat>
            <c:strRef>
              <c:f>'18HRS'!$N$387:$S$387</c:f>
              <c:strCache>
                <c:ptCount val="6"/>
                <c:pt idx="0">
                  <c:v>Q4-2017 (18 States)</c:v>
                </c:pt>
                <c:pt idx="1">
                  <c:v>Q1-2018 (18 States)</c:v>
                </c:pt>
                <c:pt idx="2">
                  <c:v>Q2-2018 (18 States)</c:v>
                </c:pt>
                <c:pt idx="3">
                  <c:v>Q3-2018 (18 States)</c:v>
                </c:pt>
                <c:pt idx="4">
                  <c:v>Q4-2018 (18 States)</c:v>
                </c:pt>
                <c:pt idx="5">
                  <c:v>Q1-2019 (18 States)</c:v>
                </c:pt>
              </c:strCache>
            </c:strRef>
          </c:cat>
          <c:val>
            <c:numRef>
              <c:f>'18HRS'!$N$391:$S$391</c:f>
              <c:numCache>
                <c:formatCode>General</c:formatCode>
                <c:ptCount val="6"/>
                <c:pt idx="0">
                  <c:v>209</c:v>
                </c:pt>
                <c:pt idx="1">
                  <c:v>174</c:v>
                </c:pt>
                <c:pt idx="2">
                  <c:v>141</c:v>
                </c:pt>
                <c:pt idx="3">
                  <c:v>148</c:v>
                </c:pt>
                <c:pt idx="4">
                  <c:v>85</c:v>
                </c:pt>
                <c:pt idx="5">
                  <c:v>45</c:v>
                </c:pt>
              </c:numCache>
            </c:numRef>
          </c:val>
          <c:extLst>
            <c:ext xmlns:c16="http://schemas.microsoft.com/office/drawing/2014/chart" uri="{C3380CC4-5D6E-409C-BE32-E72D297353CC}">
              <c16:uniqueId val="{00000002-84B6-49F6-80E0-E755CC0A8FCD}"/>
            </c:ext>
          </c:extLst>
        </c:ser>
        <c:ser>
          <c:idx val="3"/>
          <c:order val="3"/>
          <c:tx>
            <c:strRef>
              <c:f>'18HRS'!$M$392</c:f>
              <c:strCache>
                <c:ptCount val="1"/>
                <c:pt idx="0">
                  <c:v>&lt; 25%</c:v>
                </c:pt>
              </c:strCache>
            </c:strRef>
          </c:tx>
          <c:spPr>
            <a:solidFill>
              <a:srgbClr val="FF0000"/>
            </a:solidFill>
            <a:ln>
              <a:noFill/>
            </a:ln>
            <a:effectLst/>
          </c:spPr>
          <c:invertIfNegative val="0"/>
          <c:cat>
            <c:strRef>
              <c:f>'18HRS'!$N$387:$S$387</c:f>
              <c:strCache>
                <c:ptCount val="6"/>
                <c:pt idx="0">
                  <c:v>Q4-2017 (18 States)</c:v>
                </c:pt>
                <c:pt idx="1">
                  <c:v>Q1-2018 (18 States)</c:v>
                </c:pt>
                <c:pt idx="2">
                  <c:v>Q2-2018 (18 States)</c:v>
                </c:pt>
                <c:pt idx="3">
                  <c:v>Q3-2018 (18 States)</c:v>
                </c:pt>
                <c:pt idx="4">
                  <c:v>Q4-2018 (18 States)</c:v>
                </c:pt>
                <c:pt idx="5">
                  <c:v>Q1-2019 (18 States)</c:v>
                </c:pt>
              </c:strCache>
            </c:strRef>
          </c:cat>
          <c:val>
            <c:numRef>
              <c:f>'18HRS'!$N$392:$S$392</c:f>
              <c:numCache>
                <c:formatCode>General</c:formatCode>
                <c:ptCount val="6"/>
                <c:pt idx="0">
                  <c:v>40</c:v>
                </c:pt>
                <c:pt idx="1">
                  <c:v>21</c:v>
                </c:pt>
                <c:pt idx="2">
                  <c:v>11</c:v>
                </c:pt>
                <c:pt idx="3">
                  <c:v>8</c:v>
                </c:pt>
                <c:pt idx="4">
                  <c:v>2</c:v>
                </c:pt>
                <c:pt idx="5">
                  <c:v>1</c:v>
                </c:pt>
              </c:numCache>
            </c:numRef>
          </c:val>
          <c:extLst>
            <c:ext xmlns:c16="http://schemas.microsoft.com/office/drawing/2014/chart" uri="{C3380CC4-5D6E-409C-BE32-E72D297353CC}">
              <c16:uniqueId val="{00000003-84B6-49F6-80E0-E755CC0A8FCD}"/>
            </c:ext>
          </c:extLst>
        </c:ser>
        <c:dLbls>
          <c:showLegendKey val="0"/>
          <c:showVal val="0"/>
          <c:showCatName val="0"/>
          <c:showSerName val="0"/>
          <c:showPercent val="0"/>
          <c:showBubbleSize val="0"/>
        </c:dLbls>
        <c:gapWidth val="80"/>
        <c:overlap val="100"/>
        <c:axId val="-149207120"/>
        <c:axId val="-149215280"/>
      </c:barChart>
      <c:catAx>
        <c:axId val="-149207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TK"/>
          </a:p>
        </c:txPr>
        <c:crossAx val="-149215280"/>
        <c:crosses val="autoZero"/>
        <c:auto val="1"/>
        <c:lblAlgn val="ctr"/>
        <c:lblOffset val="100"/>
        <c:noMultiLvlLbl val="0"/>
      </c:catAx>
      <c:valAx>
        <c:axId val="-149215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TK"/>
          </a:p>
        </c:txPr>
        <c:crossAx val="-149207120"/>
        <c:crosses val="autoZero"/>
        <c:crossBetween val="between"/>
      </c:valAx>
      <c:spPr>
        <a:noFill/>
        <a:ln>
          <a:noFill/>
        </a:ln>
        <a:effectLst/>
      </c:spPr>
    </c:plotArea>
    <c:legend>
      <c:legendPos val="b"/>
      <c:layout>
        <c:manualLayout>
          <c:xMode val="edge"/>
          <c:yMode val="edge"/>
          <c:x val="0.109923228346457"/>
          <c:y val="0.89300050349353499"/>
          <c:w val="0.81803229514312503"/>
          <c:h val="6.8209425999813098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tx1">
                  <a:lumMod val="65000"/>
                  <a:lumOff val="35000"/>
                </a:schemeClr>
              </a:solidFill>
              <a:latin typeface="+mn-lt"/>
              <a:ea typeface="+mn-ea"/>
              <a:cs typeface="+mn-cs"/>
            </a:defRPr>
          </a:pPr>
          <a:endParaRPr lang="en-TK"/>
        </a:p>
      </c:txPr>
    </c:legend>
    <c:plotVisOnly val="1"/>
    <c:dispBlanksAs val="gap"/>
    <c:showDLblsOverMax val="0"/>
  </c:chart>
  <c:spPr>
    <a:noFill/>
    <a:ln>
      <a:solidFill>
        <a:schemeClr val="tx1"/>
      </a:solidFill>
    </a:ln>
    <a:effectLst/>
  </c:spPr>
  <c:txPr>
    <a:bodyPr/>
    <a:lstStyle/>
    <a:p>
      <a:pPr>
        <a:defRPr/>
      </a:pPr>
      <a:endParaRPr lang="en-TK"/>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_CardR_States!$B$2</c:f>
              <c:strCache>
                <c:ptCount val="1"/>
                <c:pt idx="0">
                  <c:v>Q2-2018</c:v>
                </c:pt>
              </c:strCache>
            </c:strRef>
          </c:tx>
          <c:spPr>
            <a:solidFill>
              <a:schemeClr val="accent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T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_CardR_States!$A$3:$A$40</c:f>
              <c:strCache>
                <c:ptCount val="38"/>
                <c:pt idx="0">
                  <c:v>Abia</c:v>
                </c:pt>
                <c:pt idx="1">
                  <c:v>Adamawa</c:v>
                </c:pt>
                <c:pt idx="2">
                  <c:v>Akwa Ibom</c:v>
                </c:pt>
                <c:pt idx="3">
                  <c:v>Anambra</c:v>
                </c:pt>
                <c:pt idx="4">
                  <c:v>Bauchi</c:v>
                </c:pt>
                <c:pt idx="5">
                  <c:v>Bayelsa</c:v>
                </c:pt>
                <c:pt idx="6">
                  <c:v>Benue</c:v>
                </c:pt>
                <c:pt idx="7">
                  <c:v>Borno</c:v>
                </c:pt>
                <c:pt idx="8">
                  <c:v>Cross River</c:v>
                </c:pt>
                <c:pt idx="9">
                  <c:v>Delta</c:v>
                </c:pt>
                <c:pt idx="10">
                  <c:v>Ebonyi</c:v>
                </c:pt>
                <c:pt idx="11">
                  <c:v>Edo</c:v>
                </c:pt>
                <c:pt idx="12">
                  <c:v>Ekiti</c:v>
                </c:pt>
                <c:pt idx="13">
                  <c:v>Enugu</c:v>
                </c:pt>
                <c:pt idx="14">
                  <c:v>FCT, Abuja</c:v>
                </c:pt>
                <c:pt idx="15">
                  <c:v>Gombe</c:v>
                </c:pt>
                <c:pt idx="16">
                  <c:v>Imo</c:v>
                </c:pt>
                <c:pt idx="17">
                  <c:v>Jigawa</c:v>
                </c:pt>
                <c:pt idx="18">
                  <c:v>Kaduna</c:v>
                </c:pt>
                <c:pt idx="19">
                  <c:v>Kano</c:v>
                </c:pt>
                <c:pt idx="20">
                  <c:v>Katsina</c:v>
                </c:pt>
                <c:pt idx="21">
                  <c:v>Kebbi</c:v>
                </c:pt>
                <c:pt idx="22">
                  <c:v>Kogi</c:v>
                </c:pt>
                <c:pt idx="23">
                  <c:v>Kwara</c:v>
                </c:pt>
                <c:pt idx="24">
                  <c:v>Lagos</c:v>
                </c:pt>
                <c:pt idx="25">
                  <c:v>Nasarawa</c:v>
                </c:pt>
                <c:pt idx="26">
                  <c:v>Niger</c:v>
                </c:pt>
                <c:pt idx="27">
                  <c:v>Ogun</c:v>
                </c:pt>
                <c:pt idx="28">
                  <c:v>Ondo</c:v>
                </c:pt>
                <c:pt idx="29">
                  <c:v>Osun</c:v>
                </c:pt>
                <c:pt idx="30">
                  <c:v>Oyo</c:v>
                </c:pt>
                <c:pt idx="31">
                  <c:v>Plateau</c:v>
                </c:pt>
                <c:pt idx="32">
                  <c:v>Rivers</c:v>
                </c:pt>
                <c:pt idx="33">
                  <c:v>Sokoto</c:v>
                </c:pt>
                <c:pt idx="34">
                  <c:v>Taraba</c:v>
                </c:pt>
                <c:pt idx="35">
                  <c:v>Yobe</c:v>
                </c:pt>
                <c:pt idx="36">
                  <c:v>Zamfara</c:v>
                </c:pt>
                <c:pt idx="37">
                  <c:v>Average</c:v>
                </c:pt>
              </c:strCache>
            </c:strRef>
          </c:cat>
          <c:val>
            <c:numRef>
              <c:f>FI_CardR_States!$B$3:$B$40</c:f>
              <c:numCache>
                <c:formatCode>0%</c:formatCode>
                <c:ptCount val="38"/>
                <c:pt idx="0">
                  <c:v>0.61470588235294121</c:v>
                </c:pt>
                <c:pt idx="1">
                  <c:v>0.58809523809523812</c:v>
                </c:pt>
                <c:pt idx="2">
                  <c:v>0.58333333333333337</c:v>
                </c:pt>
                <c:pt idx="3">
                  <c:v>0.76269841269841265</c:v>
                </c:pt>
                <c:pt idx="4">
                  <c:v>0.51666666666666672</c:v>
                </c:pt>
                <c:pt idx="5">
                  <c:v>0.5083333333333333</c:v>
                </c:pt>
                <c:pt idx="6">
                  <c:v>0.53913043478260869</c:v>
                </c:pt>
                <c:pt idx="7">
                  <c:v>0.48733333333333334</c:v>
                </c:pt>
                <c:pt idx="8">
                  <c:v>0.60370370370370374</c:v>
                </c:pt>
                <c:pt idx="9">
                  <c:v>0.61333333333333329</c:v>
                </c:pt>
                <c:pt idx="10">
                  <c:v>0.58846153846153848</c:v>
                </c:pt>
                <c:pt idx="11">
                  <c:v>0.79629629629629628</c:v>
                </c:pt>
                <c:pt idx="12">
                  <c:v>0.6645833333333333</c:v>
                </c:pt>
                <c:pt idx="13">
                  <c:v>0.60882352941176465</c:v>
                </c:pt>
                <c:pt idx="14">
                  <c:v>0.68333333333333335</c:v>
                </c:pt>
                <c:pt idx="15">
                  <c:v>0.59696969696969693</c:v>
                </c:pt>
                <c:pt idx="16">
                  <c:v>0.69197530864197532</c:v>
                </c:pt>
                <c:pt idx="17">
                  <c:v>0.56234567901234567</c:v>
                </c:pt>
                <c:pt idx="18">
                  <c:v>0.60797101449275359</c:v>
                </c:pt>
                <c:pt idx="19">
                  <c:v>0.7367424242424242</c:v>
                </c:pt>
                <c:pt idx="20">
                  <c:v>0.38823529411764707</c:v>
                </c:pt>
                <c:pt idx="21">
                  <c:v>0.17539682539682538</c:v>
                </c:pt>
                <c:pt idx="22">
                  <c:v>0.66190476190476188</c:v>
                </c:pt>
                <c:pt idx="23">
                  <c:v>0.61875000000000002</c:v>
                </c:pt>
                <c:pt idx="24">
                  <c:v>0.86750000000000005</c:v>
                </c:pt>
                <c:pt idx="25">
                  <c:v>0.69358974358974357</c:v>
                </c:pt>
                <c:pt idx="26">
                  <c:v>0.46600000000000003</c:v>
                </c:pt>
                <c:pt idx="27">
                  <c:v>0.52583333333333337</c:v>
                </c:pt>
                <c:pt idx="28">
                  <c:v>0.68148148148148147</c:v>
                </c:pt>
                <c:pt idx="29">
                  <c:v>0.72444444444444445</c:v>
                </c:pt>
                <c:pt idx="30">
                  <c:v>0.53888888888888886</c:v>
                </c:pt>
                <c:pt idx="31">
                  <c:v>0.58725490196078434</c:v>
                </c:pt>
                <c:pt idx="32">
                  <c:v>0.59275362318840574</c:v>
                </c:pt>
                <c:pt idx="33">
                  <c:v>0.42536231884057973</c:v>
                </c:pt>
                <c:pt idx="34">
                  <c:v>0.5541666666666667</c:v>
                </c:pt>
                <c:pt idx="35">
                  <c:v>0.6098039215686275</c:v>
                </c:pt>
                <c:pt idx="36">
                  <c:v>0.22261904761904761</c:v>
                </c:pt>
                <c:pt idx="37">
                  <c:v>0.58644214162348873</c:v>
                </c:pt>
              </c:numCache>
            </c:numRef>
          </c:val>
          <c:extLst>
            <c:ext xmlns:c16="http://schemas.microsoft.com/office/drawing/2014/chart" uri="{C3380CC4-5D6E-409C-BE32-E72D297353CC}">
              <c16:uniqueId val="{00000000-51AD-445F-85DF-B2F92C883A41}"/>
            </c:ext>
          </c:extLst>
        </c:ser>
        <c:ser>
          <c:idx val="1"/>
          <c:order val="1"/>
          <c:tx>
            <c:strRef>
              <c:f>FI_CardR_States!$C$2</c:f>
              <c:strCache>
                <c:ptCount val="1"/>
                <c:pt idx="0">
                  <c:v>Q4-2018</c:v>
                </c:pt>
              </c:strCache>
            </c:strRef>
          </c:tx>
          <c:spPr>
            <a:solidFill>
              <a:schemeClr val="accent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T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I_CardR_States!$A$3:$A$40</c:f>
              <c:strCache>
                <c:ptCount val="38"/>
                <c:pt idx="0">
                  <c:v>Abia</c:v>
                </c:pt>
                <c:pt idx="1">
                  <c:v>Adamawa</c:v>
                </c:pt>
                <c:pt idx="2">
                  <c:v>Akwa Ibom</c:v>
                </c:pt>
                <c:pt idx="3">
                  <c:v>Anambra</c:v>
                </c:pt>
                <c:pt idx="4">
                  <c:v>Bauchi</c:v>
                </c:pt>
                <c:pt idx="5">
                  <c:v>Bayelsa</c:v>
                </c:pt>
                <c:pt idx="6">
                  <c:v>Benue</c:v>
                </c:pt>
                <c:pt idx="7">
                  <c:v>Borno</c:v>
                </c:pt>
                <c:pt idx="8">
                  <c:v>Cross River</c:v>
                </c:pt>
                <c:pt idx="9">
                  <c:v>Delta</c:v>
                </c:pt>
                <c:pt idx="10">
                  <c:v>Ebonyi</c:v>
                </c:pt>
                <c:pt idx="11">
                  <c:v>Edo</c:v>
                </c:pt>
                <c:pt idx="12">
                  <c:v>Ekiti</c:v>
                </c:pt>
                <c:pt idx="13">
                  <c:v>Enugu</c:v>
                </c:pt>
                <c:pt idx="14">
                  <c:v>FCT, Abuja</c:v>
                </c:pt>
                <c:pt idx="15">
                  <c:v>Gombe</c:v>
                </c:pt>
                <c:pt idx="16">
                  <c:v>Imo</c:v>
                </c:pt>
                <c:pt idx="17">
                  <c:v>Jigawa</c:v>
                </c:pt>
                <c:pt idx="18">
                  <c:v>Kaduna</c:v>
                </c:pt>
                <c:pt idx="19">
                  <c:v>Kano</c:v>
                </c:pt>
                <c:pt idx="20">
                  <c:v>Katsina</c:v>
                </c:pt>
                <c:pt idx="21">
                  <c:v>Kebbi</c:v>
                </c:pt>
                <c:pt idx="22">
                  <c:v>Kogi</c:v>
                </c:pt>
                <c:pt idx="23">
                  <c:v>Kwara</c:v>
                </c:pt>
                <c:pt idx="24">
                  <c:v>Lagos</c:v>
                </c:pt>
                <c:pt idx="25">
                  <c:v>Nasarawa</c:v>
                </c:pt>
                <c:pt idx="26">
                  <c:v>Niger</c:v>
                </c:pt>
                <c:pt idx="27">
                  <c:v>Ogun</c:v>
                </c:pt>
                <c:pt idx="28">
                  <c:v>Ondo</c:v>
                </c:pt>
                <c:pt idx="29">
                  <c:v>Osun</c:v>
                </c:pt>
                <c:pt idx="30">
                  <c:v>Oyo</c:v>
                </c:pt>
                <c:pt idx="31">
                  <c:v>Plateau</c:v>
                </c:pt>
                <c:pt idx="32">
                  <c:v>Rivers</c:v>
                </c:pt>
                <c:pt idx="33">
                  <c:v>Sokoto</c:v>
                </c:pt>
                <c:pt idx="34">
                  <c:v>Taraba</c:v>
                </c:pt>
                <c:pt idx="35">
                  <c:v>Yobe</c:v>
                </c:pt>
                <c:pt idx="36">
                  <c:v>Zamfara</c:v>
                </c:pt>
                <c:pt idx="37">
                  <c:v>Average</c:v>
                </c:pt>
              </c:strCache>
            </c:strRef>
          </c:cat>
          <c:val>
            <c:numRef>
              <c:f>FI_CardR_States!$C$3:$C$40</c:f>
              <c:numCache>
                <c:formatCode>0%</c:formatCode>
                <c:ptCount val="38"/>
                <c:pt idx="0">
                  <c:v>0.66764705882352937</c:v>
                </c:pt>
                <c:pt idx="1">
                  <c:v>0.79206349206349203</c:v>
                </c:pt>
                <c:pt idx="2">
                  <c:v>0.65698924731182795</c:v>
                </c:pt>
                <c:pt idx="3">
                  <c:v>0.75158730158730158</c:v>
                </c:pt>
                <c:pt idx="4">
                  <c:v>0.65416666666666667</c:v>
                </c:pt>
                <c:pt idx="5">
                  <c:v>0.81666666666666665</c:v>
                </c:pt>
                <c:pt idx="6">
                  <c:v>0.48478260869565215</c:v>
                </c:pt>
                <c:pt idx="7">
                  <c:v>0.52575757575757576</c:v>
                </c:pt>
                <c:pt idx="8">
                  <c:v>0.66851851851851851</c:v>
                </c:pt>
                <c:pt idx="9">
                  <c:v>0.65400000000000003</c:v>
                </c:pt>
                <c:pt idx="10">
                  <c:v>0.66410256410256407</c:v>
                </c:pt>
                <c:pt idx="11">
                  <c:v>0.78518518518518521</c:v>
                </c:pt>
                <c:pt idx="12">
                  <c:v>0.6958333333333333</c:v>
                </c:pt>
                <c:pt idx="13">
                  <c:v>0.58039215686274515</c:v>
                </c:pt>
                <c:pt idx="14">
                  <c:v>0.64722222222222225</c:v>
                </c:pt>
                <c:pt idx="15">
                  <c:v>0.62575757575757573</c:v>
                </c:pt>
                <c:pt idx="16">
                  <c:v>0.81975308641975309</c:v>
                </c:pt>
                <c:pt idx="17">
                  <c:v>0.8154320987654321</c:v>
                </c:pt>
                <c:pt idx="18">
                  <c:v>0.73043478260869565</c:v>
                </c:pt>
                <c:pt idx="19">
                  <c:v>0.82424242424242422</c:v>
                </c:pt>
                <c:pt idx="20">
                  <c:v>0.48333333333333334</c:v>
                </c:pt>
                <c:pt idx="21">
                  <c:v>0.45238095238095238</c:v>
                </c:pt>
                <c:pt idx="22">
                  <c:v>0.63412698412698409</c:v>
                </c:pt>
                <c:pt idx="23">
                  <c:v>0.55833333333333335</c:v>
                </c:pt>
                <c:pt idx="24">
                  <c:v>0.88833333333333331</c:v>
                </c:pt>
                <c:pt idx="25">
                  <c:v>0.77051282051282055</c:v>
                </c:pt>
                <c:pt idx="26">
                  <c:v>0.52666666666666662</c:v>
                </c:pt>
                <c:pt idx="27">
                  <c:v>0.5541666666666667</c:v>
                </c:pt>
                <c:pt idx="28">
                  <c:v>0.73518518518518516</c:v>
                </c:pt>
                <c:pt idx="29">
                  <c:v>0.69833333333333336</c:v>
                </c:pt>
                <c:pt idx="30">
                  <c:v>0.57424242424242422</c:v>
                </c:pt>
                <c:pt idx="31">
                  <c:v>0.6098039215686275</c:v>
                </c:pt>
                <c:pt idx="32">
                  <c:v>0.70072463768115945</c:v>
                </c:pt>
                <c:pt idx="33">
                  <c:v>0.50942028985507248</c:v>
                </c:pt>
                <c:pt idx="34">
                  <c:v>0.60416666666666663</c:v>
                </c:pt>
                <c:pt idx="35">
                  <c:v>0.82222222222222219</c:v>
                </c:pt>
                <c:pt idx="36">
                  <c:v>0.39523809523809522</c:v>
                </c:pt>
                <c:pt idx="37">
                  <c:v>0.65930030421555841</c:v>
                </c:pt>
              </c:numCache>
            </c:numRef>
          </c:val>
          <c:extLst>
            <c:ext xmlns:c16="http://schemas.microsoft.com/office/drawing/2014/chart" uri="{C3380CC4-5D6E-409C-BE32-E72D297353CC}">
              <c16:uniqueId val="{00000001-51AD-445F-85DF-B2F92C883A41}"/>
            </c:ext>
          </c:extLst>
        </c:ser>
        <c:dLbls>
          <c:showLegendKey val="0"/>
          <c:showVal val="0"/>
          <c:showCatName val="0"/>
          <c:showSerName val="0"/>
          <c:showPercent val="0"/>
          <c:showBubbleSize val="0"/>
        </c:dLbls>
        <c:gapWidth val="199"/>
        <c:axId val="128147456"/>
        <c:axId val="128148992"/>
      </c:barChart>
      <c:catAx>
        <c:axId val="128147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cap="none" spc="0" normalizeH="0" baseline="0">
                <a:solidFill>
                  <a:schemeClr val="tx1">
                    <a:lumMod val="65000"/>
                    <a:lumOff val="35000"/>
                  </a:schemeClr>
                </a:solidFill>
                <a:latin typeface="+mn-lt"/>
                <a:ea typeface="+mn-ea"/>
                <a:cs typeface="+mn-cs"/>
              </a:defRPr>
            </a:pPr>
            <a:endParaRPr lang="en-TK"/>
          </a:p>
        </c:txPr>
        <c:crossAx val="128148992"/>
        <c:crosses val="autoZero"/>
        <c:auto val="1"/>
        <c:lblAlgn val="ctr"/>
        <c:lblOffset val="100"/>
        <c:noMultiLvlLbl val="0"/>
      </c:catAx>
      <c:valAx>
        <c:axId val="12814899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TK"/>
          </a:p>
        </c:txPr>
        <c:crossAx val="12814745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2800" b="0" i="0" u="none" strike="noStrike" kern="1200" baseline="0">
              <a:solidFill>
                <a:schemeClr val="tx1">
                  <a:lumMod val="65000"/>
                  <a:lumOff val="35000"/>
                </a:schemeClr>
              </a:solidFill>
              <a:latin typeface="+mn-lt"/>
              <a:ea typeface="+mn-ea"/>
              <a:cs typeface="+mn-cs"/>
            </a:defRPr>
          </a:pPr>
          <a:endParaRPr lang="en-TK"/>
        </a:p>
      </c:txPr>
    </c:legend>
    <c:plotVisOnly val="1"/>
    <c:dispBlanksAs val="gap"/>
    <c:showDLblsOverMax val="0"/>
  </c:chart>
  <c:spPr>
    <a:noFill/>
    <a:ln>
      <a:solidFill>
        <a:schemeClr val="tx1"/>
      </a:solidFill>
    </a:ln>
    <a:effectLst/>
  </c:spPr>
  <c:txPr>
    <a:bodyPr/>
    <a:lstStyle/>
    <a:p>
      <a:pPr>
        <a:defRPr/>
      </a:pPr>
      <a:endParaRPr lang="en-TK"/>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C90D38-37E5-472F-BDD4-943EE97856BE}" type="datetimeFigureOut">
              <a:rPr lang="en-GB" smtClean="0"/>
              <a:t>30/04/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CF0373-AAEB-4884-A13A-29ACED38BA5A}" type="slidenum">
              <a:rPr lang="en-GB" smtClean="0"/>
              <a:t>‹#›</a:t>
            </a:fld>
            <a:endParaRPr lang="en-GB"/>
          </a:p>
        </p:txBody>
      </p:sp>
    </p:spTree>
    <p:extLst>
      <p:ext uri="{BB962C8B-B14F-4D97-AF65-F5344CB8AC3E}">
        <p14:creationId xmlns:p14="http://schemas.microsoft.com/office/powerpoint/2010/main" val="2901091574"/>
      </p:ext>
    </p:extLst>
  </p:cSld>
  <p:clrMap bg1="lt1" tx1="dk1" bg2="lt2" tx2="dk2" accent1="accent1" accent2="accent2" accent3="accent3" accent4="accent4" accent5="accent5" accent6="accent6" hlink="hlink" folHlink="folHlink"/>
  <p:notesStyle>
    <a:lvl1pPr marL="0" algn="l" defTabSz="913809" rtl="0" eaLnBrk="1" latinLnBrk="0" hangingPunct="1">
      <a:defRPr sz="1200" kern="1200">
        <a:solidFill>
          <a:schemeClr val="tx1"/>
        </a:solidFill>
        <a:latin typeface="+mn-lt"/>
        <a:ea typeface="+mn-ea"/>
        <a:cs typeface="+mn-cs"/>
      </a:defRPr>
    </a:lvl1pPr>
    <a:lvl2pPr marL="456902" algn="l" defTabSz="913809" rtl="0" eaLnBrk="1" latinLnBrk="0" hangingPunct="1">
      <a:defRPr sz="1200" kern="1200">
        <a:solidFill>
          <a:schemeClr val="tx1"/>
        </a:solidFill>
        <a:latin typeface="+mn-lt"/>
        <a:ea typeface="+mn-ea"/>
        <a:cs typeface="+mn-cs"/>
      </a:defRPr>
    </a:lvl2pPr>
    <a:lvl3pPr marL="913809" algn="l" defTabSz="913809" rtl="0" eaLnBrk="1" latinLnBrk="0" hangingPunct="1">
      <a:defRPr sz="1200" kern="1200">
        <a:solidFill>
          <a:schemeClr val="tx1"/>
        </a:solidFill>
        <a:latin typeface="+mn-lt"/>
        <a:ea typeface="+mn-ea"/>
        <a:cs typeface="+mn-cs"/>
      </a:defRPr>
    </a:lvl3pPr>
    <a:lvl4pPr marL="1370714" algn="l" defTabSz="913809" rtl="0" eaLnBrk="1" latinLnBrk="0" hangingPunct="1">
      <a:defRPr sz="1200" kern="1200">
        <a:solidFill>
          <a:schemeClr val="tx1"/>
        </a:solidFill>
        <a:latin typeface="+mn-lt"/>
        <a:ea typeface="+mn-ea"/>
        <a:cs typeface="+mn-cs"/>
      </a:defRPr>
    </a:lvl4pPr>
    <a:lvl5pPr marL="1827617" algn="l" defTabSz="913809" rtl="0" eaLnBrk="1" latinLnBrk="0" hangingPunct="1">
      <a:defRPr sz="1200" kern="1200">
        <a:solidFill>
          <a:schemeClr val="tx1"/>
        </a:solidFill>
        <a:latin typeface="+mn-lt"/>
        <a:ea typeface="+mn-ea"/>
        <a:cs typeface="+mn-cs"/>
      </a:defRPr>
    </a:lvl5pPr>
    <a:lvl6pPr marL="2284528" algn="l" defTabSz="913809" rtl="0" eaLnBrk="1" latinLnBrk="0" hangingPunct="1">
      <a:defRPr sz="1200" kern="1200">
        <a:solidFill>
          <a:schemeClr val="tx1"/>
        </a:solidFill>
        <a:latin typeface="+mn-lt"/>
        <a:ea typeface="+mn-ea"/>
        <a:cs typeface="+mn-cs"/>
      </a:defRPr>
    </a:lvl6pPr>
    <a:lvl7pPr marL="2741424" algn="l" defTabSz="913809" rtl="0" eaLnBrk="1" latinLnBrk="0" hangingPunct="1">
      <a:defRPr sz="1200" kern="1200">
        <a:solidFill>
          <a:schemeClr val="tx1"/>
        </a:solidFill>
        <a:latin typeface="+mn-lt"/>
        <a:ea typeface="+mn-ea"/>
        <a:cs typeface="+mn-cs"/>
      </a:defRPr>
    </a:lvl7pPr>
    <a:lvl8pPr marL="3198324" algn="l" defTabSz="913809" rtl="0" eaLnBrk="1" latinLnBrk="0" hangingPunct="1">
      <a:defRPr sz="1200" kern="1200">
        <a:solidFill>
          <a:schemeClr val="tx1"/>
        </a:solidFill>
        <a:latin typeface="+mn-lt"/>
        <a:ea typeface="+mn-ea"/>
        <a:cs typeface="+mn-cs"/>
      </a:defRPr>
    </a:lvl8pPr>
    <a:lvl9pPr marL="3655226" algn="l" defTabSz="91380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9CF0373-AAEB-4884-A13A-29ACED38BA5A}" type="slidenum">
              <a:rPr lang="en-GB" smtClean="0"/>
              <a:t>1</a:t>
            </a:fld>
            <a:endParaRPr lang="en-GB"/>
          </a:p>
        </p:txBody>
      </p:sp>
    </p:spTree>
    <p:extLst>
      <p:ext uri="{BB962C8B-B14F-4D97-AF65-F5344CB8AC3E}">
        <p14:creationId xmlns:p14="http://schemas.microsoft.com/office/powerpoint/2010/main" val="794306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457200">
              <a:defRPr/>
            </a:pPr>
            <a:fld id="{356436B8-741A-41E1-8701-7619E4DCDAE7}" type="slidenum">
              <a:rPr lang="x-none" smtClean="0">
                <a:solidFill>
                  <a:prstClr val="black"/>
                </a:solidFill>
              </a:rPr>
              <a:pPr defTabSz="457200">
                <a:defRPr/>
              </a:pPr>
              <a:t>12</a:t>
            </a:fld>
            <a:endParaRPr lang="x-none">
              <a:solidFill>
                <a:prstClr val="black"/>
              </a:solidFill>
            </a:endParaRPr>
          </a:p>
        </p:txBody>
      </p:sp>
    </p:spTree>
    <p:extLst>
      <p:ext uri="{BB962C8B-B14F-4D97-AF65-F5344CB8AC3E}">
        <p14:creationId xmlns:p14="http://schemas.microsoft.com/office/powerpoint/2010/main" val="1193607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10"/>
          </p:nvPr>
        </p:nvSpPr>
        <p:spPr/>
        <p:txBody>
          <a:bodyPr/>
          <a:lstStyle/>
          <a:p>
            <a:fld id="{542A68D5-A739-40C4-81B2-FEA112D55361}" type="slidenum">
              <a:rPr lang="en-GB" smtClean="0">
                <a:solidFill>
                  <a:prstClr val="black"/>
                </a:solidFill>
              </a:rPr>
              <a:pPr/>
              <a:t>16</a:t>
            </a:fld>
            <a:endParaRPr lang="en-GB">
              <a:solidFill>
                <a:prstClr val="black"/>
              </a:solidFill>
            </a:endParaRPr>
          </a:p>
        </p:txBody>
      </p:sp>
    </p:spTree>
    <p:extLst>
      <p:ext uri="{BB962C8B-B14F-4D97-AF65-F5344CB8AC3E}">
        <p14:creationId xmlns:p14="http://schemas.microsoft.com/office/powerpoint/2010/main" val="4243309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buClr>
                <a:schemeClr val="tx2"/>
              </a:buClr>
              <a:buFontTx/>
              <a:buChar char="•"/>
            </a:pPr>
            <a:r>
              <a:rPr lang="en-US" altLang="en-US"/>
              <a:t>Introduced in 2001; endorsed in the NHAct 2014</a:t>
            </a:r>
          </a:p>
          <a:p>
            <a:pPr>
              <a:spcBef>
                <a:spcPct val="0"/>
              </a:spcBef>
              <a:buClr>
                <a:schemeClr val="tx2"/>
              </a:buClr>
              <a:buFontTx/>
              <a:buChar char="•"/>
            </a:pPr>
            <a:r>
              <a:rPr lang="en-US" altLang="en-US"/>
              <a:t>Adopts </a:t>
            </a:r>
            <a:r>
              <a:rPr lang="en-US" altLang="en-US" b="1">
                <a:solidFill>
                  <a:srgbClr val="FF0000"/>
                </a:solidFill>
              </a:rPr>
              <a:t>political wards </a:t>
            </a:r>
            <a:r>
              <a:rPr lang="en-US" altLang="en-US"/>
              <a:t>as the operational implementing units for PHC programmes</a:t>
            </a:r>
          </a:p>
          <a:p>
            <a:pPr>
              <a:spcBef>
                <a:spcPct val="0"/>
              </a:spcBef>
              <a:buClr>
                <a:schemeClr val="tx2"/>
              </a:buClr>
              <a:buFontTx/>
              <a:buChar char="•"/>
            </a:pPr>
            <a:r>
              <a:rPr lang="en-US" altLang="en-US"/>
              <a:t>Provides PHC services to a political ward, constituency from which a councilor is elected</a:t>
            </a:r>
          </a:p>
          <a:p>
            <a:pPr>
              <a:spcBef>
                <a:spcPct val="0"/>
              </a:spcBef>
              <a:buClr>
                <a:schemeClr val="tx2"/>
              </a:buClr>
              <a:buFontTx/>
              <a:buChar char="•"/>
            </a:pPr>
            <a:r>
              <a:rPr lang="en-US" altLang="en-US"/>
              <a:t>Goal is to improve and ensure sustainable health services with full and active participation of people at the grass root level</a:t>
            </a:r>
          </a:p>
          <a:p>
            <a:endParaRPr lang="en-US" altLang="en-US"/>
          </a:p>
        </p:txBody>
      </p:sp>
      <p:sp>
        <p:nvSpPr>
          <p:cNvPr id="757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spcBef>
                <a:spcPct val="0"/>
              </a:spcBef>
            </a:pPr>
            <a:fld id="{D7F392CA-F0A4-4DC1-8356-FA50D96C569C}" type="slidenum">
              <a:rPr lang="en-US" altLang="en-US">
                <a:solidFill>
                  <a:prstClr val="black"/>
                </a:solidFill>
              </a:rPr>
              <a:pPr>
                <a:spcBef>
                  <a:spcPct val="0"/>
                </a:spcBef>
              </a:pPr>
              <a:t>19</a:t>
            </a:fld>
            <a:endParaRPr lang="en-US" altLang="en-US">
              <a:solidFill>
                <a:prstClr val="black"/>
              </a:solidFill>
            </a:endParaRPr>
          </a:p>
        </p:txBody>
      </p:sp>
    </p:spTree>
    <p:extLst>
      <p:ext uri="{BB962C8B-B14F-4D97-AF65-F5344CB8AC3E}">
        <p14:creationId xmlns:p14="http://schemas.microsoft.com/office/powerpoint/2010/main" val="3476062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3809" rtl="0" eaLnBrk="1" fontAlgn="auto" latinLnBrk="0" hangingPunct="1">
              <a:lnSpc>
                <a:spcPct val="100000"/>
              </a:lnSpc>
              <a:spcBef>
                <a:spcPts val="0"/>
              </a:spcBef>
              <a:spcAft>
                <a:spcPts val="0"/>
              </a:spcAft>
              <a:buClrTx/>
              <a:buSzTx/>
              <a:buFontTx/>
              <a:buNone/>
              <a:tabLst/>
              <a:defRPr/>
            </a:pPr>
            <a:fld id="{CB7AE12F-8C75-1947-BC82-1FAF02960A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809"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9366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214AAF-AC0A-4724-AD2E-7632C291A42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25633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oleObject" Target="../embeddings/oleObject38.bin"/><Relationship Id="rId2" Type="http://schemas.openxmlformats.org/officeDocument/2006/relationships/tags" Target="../tags/tag122.xml"/><Relationship Id="rId1" Type="http://schemas.openxmlformats.org/officeDocument/2006/relationships/vmlDrawing" Target="../drawings/vmlDrawing36.vml"/><Relationship Id="rId6" Type="http://schemas.openxmlformats.org/officeDocument/2006/relationships/image" Target="../media/image11.emf"/><Relationship Id="rId5" Type="http://schemas.openxmlformats.org/officeDocument/2006/relationships/oleObject" Target="../embeddings/oleObject37.bin"/><Relationship Id="rId4"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6.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oleObject" Target="../embeddings/oleObject45.bin"/><Relationship Id="rId2" Type="http://schemas.openxmlformats.org/officeDocument/2006/relationships/tags" Target="../tags/tag131.xml"/><Relationship Id="rId1" Type="http://schemas.openxmlformats.org/officeDocument/2006/relationships/vmlDrawing" Target="../drawings/vmlDrawing41.vml"/><Relationship Id="rId6" Type="http://schemas.openxmlformats.org/officeDocument/2006/relationships/image" Target="../media/image11.emf"/><Relationship Id="rId5" Type="http://schemas.openxmlformats.org/officeDocument/2006/relationships/oleObject" Target="../embeddings/oleObject44.bin"/><Relationship Id="rId4"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oleObject" Target="../embeddings/oleObject49.bin"/><Relationship Id="rId2" Type="http://schemas.openxmlformats.org/officeDocument/2006/relationships/tags" Target="../tags/tag135.xml"/><Relationship Id="rId1" Type="http://schemas.openxmlformats.org/officeDocument/2006/relationships/vmlDrawing" Target="../drawings/vmlDrawing43.vml"/><Relationship Id="rId6" Type="http://schemas.openxmlformats.org/officeDocument/2006/relationships/image" Target="../media/image11.emf"/><Relationship Id="rId5" Type="http://schemas.openxmlformats.org/officeDocument/2006/relationships/oleObject" Target="../embeddings/oleObject48.bin"/><Relationship Id="rId4"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39.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8.xml"/><Relationship Id="rId1" Type="http://schemas.openxmlformats.org/officeDocument/2006/relationships/vmlDrawing" Target="../drawings/vmlDrawing48.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9.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0.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oleObject" Target="../embeddings/oleObject60.bin"/><Relationship Id="rId2" Type="http://schemas.openxmlformats.org/officeDocument/2006/relationships/tags" Target="../tags/tag163.xml"/><Relationship Id="rId1" Type="http://schemas.openxmlformats.org/officeDocument/2006/relationships/vmlDrawing" Target="../drawings/vmlDrawing52.vml"/><Relationship Id="rId6" Type="http://schemas.openxmlformats.org/officeDocument/2006/relationships/image" Target="../media/image11.emf"/><Relationship Id="rId5" Type="http://schemas.openxmlformats.org/officeDocument/2006/relationships/oleObject" Target="../embeddings/oleObject59.bin"/><Relationship Id="rId4" Type="http://schemas.openxmlformats.org/officeDocument/2006/relationships/slideMaster" Target="../slideMasters/slideMaster2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67.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68.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70.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71.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73.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74.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image" Target="../media/image16.emf"/><Relationship Id="rId1" Type="http://schemas.openxmlformats.org/officeDocument/2006/relationships/slideMaster" Target="../slideMasters/slideMaster2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77.xml"/><Relationship Id="rId1" Type="http://schemas.openxmlformats.org/officeDocument/2006/relationships/vmlDrawing" Target="../drawings/vmlDrawing63.vml"/><Relationship Id="rId5" Type="http://schemas.openxmlformats.org/officeDocument/2006/relationships/image" Target="../media/image24.emf"/><Relationship Id="rId4" Type="http://schemas.openxmlformats.org/officeDocument/2006/relationships/oleObject" Target="../embeddings/oleObject71.bin"/></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78.xml"/><Relationship Id="rId1" Type="http://schemas.openxmlformats.org/officeDocument/2006/relationships/vmlDrawing" Target="../drawings/vmlDrawing64.vml"/><Relationship Id="rId5" Type="http://schemas.openxmlformats.org/officeDocument/2006/relationships/image" Target="../media/image24.emf"/><Relationship Id="rId4" Type="http://schemas.openxmlformats.org/officeDocument/2006/relationships/oleObject" Target="../embeddings/oleObject72.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79.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oleObject" Target="../embeddings/oleObject60.bin"/><Relationship Id="rId2" Type="http://schemas.openxmlformats.org/officeDocument/2006/relationships/tags" Target="../tags/tag182.xml"/><Relationship Id="rId1" Type="http://schemas.openxmlformats.org/officeDocument/2006/relationships/vmlDrawing" Target="../drawings/vmlDrawing67.vml"/><Relationship Id="rId6" Type="http://schemas.openxmlformats.org/officeDocument/2006/relationships/image" Target="../media/image11.emf"/><Relationship Id="rId5" Type="http://schemas.openxmlformats.org/officeDocument/2006/relationships/oleObject" Target="../embeddings/oleObject59.bin"/><Relationship Id="rId4" Type="http://schemas.openxmlformats.org/officeDocument/2006/relationships/slideMaster" Target="../slideMasters/slideMaster2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86.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2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13.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0.xml"/><Relationship Id="rId1" Type="http://schemas.openxmlformats.org/officeDocument/2006/relationships/vmlDrawing" Target="../drawings/vmlDrawing22.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xml"/><Relationship Id="rId1" Type="http://schemas.openxmlformats.org/officeDocument/2006/relationships/vmlDrawing" Target="../drawings/vmlDrawing23.v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2.xml"/><Relationship Id="rId1" Type="http://schemas.openxmlformats.org/officeDocument/2006/relationships/vmlDrawing" Target="../drawings/vmlDrawing24.vml"/><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0.xml"/><Relationship Id="rId1" Type="http://schemas.openxmlformats.org/officeDocument/2006/relationships/vmlDrawing" Target="../drawings/vmlDrawing26.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1.xml"/><Relationship Id="rId1" Type="http://schemas.openxmlformats.org/officeDocument/2006/relationships/vmlDrawing" Target="../drawings/vmlDrawing27.vml"/><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2.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6.jpeg"/><Relationship Id="rId2" Type="http://schemas.openxmlformats.org/officeDocument/2006/relationships/tags" Target="../tags/tag99.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7.xml"/><Relationship Id="rId1" Type="http://schemas.openxmlformats.org/officeDocument/2006/relationships/vmlDrawing" Target="../drawings/vmlDrawing32.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8.xml"/><Relationship Id="rId1" Type="http://schemas.openxmlformats.org/officeDocument/2006/relationships/vmlDrawing" Target="../drawings/vmlDrawing33.vml"/><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9.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75"/>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43" y="3602040"/>
            <a:ext cx="9144001" cy="1655763"/>
          </a:xfrm>
        </p:spPr>
        <p:txBody>
          <a:bodyPr/>
          <a:lstStyle>
            <a:lvl1pPr marL="0" indent="0" algn="ctr">
              <a:buNone/>
              <a:defRPr sz="2400"/>
            </a:lvl1pPr>
            <a:lvl2pPr marL="455981" indent="0" algn="ctr">
              <a:buNone/>
              <a:defRPr sz="1900"/>
            </a:lvl2pPr>
            <a:lvl3pPr marL="911969" indent="0" algn="ctr">
              <a:buNone/>
              <a:defRPr sz="1900"/>
            </a:lvl3pPr>
            <a:lvl4pPr marL="1367953" indent="0" algn="ctr">
              <a:buNone/>
              <a:defRPr sz="1600"/>
            </a:lvl4pPr>
            <a:lvl5pPr marL="1823939" indent="0" algn="ctr">
              <a:buNone/>
              <a:defRPr sz="1600"/>
            </a:lvl5pPr>
            <a:lvl6pPr marL="2279928" indent="0" algn="ctr">
              <a:buNone/>
              <a:defRPr sz="1600"/>
            </a:lvl6pPr>
            <a:lvl7pPr marL="2735910" indent="0" algn="ctr">
              <a:buNone/>
              <a:defRPr sz="1600"/>
            </a:lvl7pPr>
            <a:lvl8pPr marL="3191889" indent="0" algn="ctr">
              <a:buNone/>
              <a:defRPr sz="1600"/>
            </a:lvl8pPr>
            <a:lvl9pPr marL="364786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900FCFC-9949-4415-AD1B-57AC37E7F9EA}"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01648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02D2FA3-3879-4643-BEC1-A779A7C4E4E8}"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313472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7" name="Rectangle 7"/>
          <p:cNvSpPr>
            <a:spLocks noGrp="1" noChangeArrowheads="1"/>
          </p:cNvSpPr>
          <p:nvPr>
            <p:ph type="ctrTitle" sz="quarter"/>
          </p:nvPr>
        </p:nvSpPr>
        <p:spPr bwMode="auto">
          <a:xfrm>
            <a:off x="914400" y="2721345"/>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79885609-2C97-2545-B884-C23E69A35C7F}"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6"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a:defRPr/>
            </a:pPr>
            <a:fld id="{4A0ACF5A-AF10-48F9-8A78-5825A055A0E9}" type="slidenum">
              <a:rPr lang="en-US" smtClean="0">
                <a:ea typeface="MS PGothic" pitchFamily="34" charset="-128"/>
              </a:rPr>
              <a:pPr>
                <a:defRPr/>
              </a:pPr>
              <a:t>‹#›</a:t>
            </a:fld>
            <a:endParaRPr lang="en-US">
              <a:ea typeface="MS PGothic" pitchFamily="34" charset="-128"/>
            </a:endParaRPr>
          </a:p>
        </p:txBody>
      </p:sp>
      <p:pic>
        <p:nvPicPr>
          <p:cNvPr id="17" name="Picture 16"/>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66830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a:t>Click to edit Master title style</a:t>
            </a:r>
            <a:endParaRPr lang="en-US" dirty="0"/>
          </a:p>
        </p:txBody>
      </p:sp>
      <p:sp>
        <p:nvSpPr>
          <p:cNvPr id="4" name="Rectangle 4"/>
          <p:cNvSpPr>
            <a:spLocks noGrp="1" noChangeArrowheads="1"/>
          </p:cNvSpPr>
          <p:nvPr>
            <p:ph type="dt" sz="half" idx="10"/>
          </p:nvPr>
        </p:nvSpPr>
        <p:spPr>
          <a:xfrm>
            <a:off x="0" y="6618129"/>
            <a:ext cx="1625600" cy="223690"/>
          </a:xfrm>
          <a:ln/>
        </p:spPr>
        <p:txBody>
          <a:bodyPr/>
          <a:lstStyle>
            <a:lvl1pPr>
              <a:defRPr/>
            </a:lvl1pPr>
          </a:lstStyle>
          <a:p>
            <a:pPr>
              <a:defRPr/>
            </a:pPr>
            <a:fld id="{B2813B1C-F70A-9841-9CAA-23432FDD080E}" type="datetime1">
              <a:rPr lang="en-GB" smtClean="0"/>
              <a:pPr>
                <a:defRPr/>
              </a:pPr>
              <a:t>30/04/2019</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1FC17A9-1053-4EE0-8A3E-150254159B86}" type="slidenum">
              <a:rPr lang="en-US" smtClean="0"/>
              <a:pPr>
                <a:defRPr/>
              </a:pPr>
              <a:t>‹#›</a:t>
            </a:fld>
            <a:endParaRPr lang="en-US"/>
          </a:p>
        </p:txBody>
      </p:sp>
      <p:sp>
        <p:nvSpPr>
          <p:cNvPr id="7" name="Content Placeholder 2"/>
          <p:cNvSpPr>
            <a:spLocks noGrp="1"/>
          </p:cNvSpPr>
          <p:nvPr>
            <p:ph sz="half" idx="1"/>
          </p:nvPr>
        </p:nvSpPr>
        <p:spPr>
          <a:xfrm>
            <a:off x="609600" y="1219199"/>
            <a:ext cx="10972800" cy="4946904"/>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16455319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909395360"/>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512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304800"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dt" sz="half" idx="10"/>
          </p:nvPr>
        </p:nvSpPr>
        <p:spPr>
          <a:ln/>
        </p:spPr>
        <p:txBody>
          <a:bodyPr/>
          <a:lstStyle>
            <a:lvl1pPr>
              <a:defRPr/>
            </a:lvl1pPr>
          </a:lstStyle>
          <a:p>
            <a:pPr>
              <a:defRPr/>
            </a:pPr>
            <a:fld id="{6915ED1E-F197-5A45-8E80-1CA9BF57E0C4}" type="datetime1">
              <a:rPr lang="en-GB" smtClean="0"/>
              <a:pPr>
                <a:defRPr/>
              </a:pPr>
              <a:t>30/04/2019</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2488AE2-2149-41B9-BDAB-86D1134409E9}" type="slidenum">
              <a:rPr lang="en-US" smtClean="0"/>
              <a:pPr>
                <a:defRPr/>
              </a:pPr>
              <a:t>‹#›</a:t>
            </a:fld>
            <a:endParaRPr lang="en-US"/>
          </a:p>
        </p:txBody>
      </p:sp>
      <p:sp>
        <p:nvSpPr>
          <p:cNvPr id="8" name="Text Placeholder 2"/>
          <p:cNvSpPr>
            <a:spLocks noGrp="1"/>
          </p:cNvSpPr>
          <p:nvPr>
            <p:ph type="body" idx="13" hasCustomPrompt="1"/>
          </p:nvPr>
        </p:nvSpPr>
        <p:spPr>
          <a:xfrm>
            <a:off x="304800" y="1219200"/>
            <a:ext cx="5691717" cy="639762"/>
          </a:xfrm>
          <a:noFill/>
          <a:effectLst/>
        </p:spPr>
        <p:txBody>
          <a:bodyPr anchor="ctr"/>
          <a:lstStyle>
            <a:lvl1pPr marL="0" indent="0" algn="ctr">
              <a:buNone/>
              <a:defRPr sz="2200" b="1" cap="sm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p:cNvSpPr>
            <a:spLocks noGrp="1"/>
          </p:cNvSpPr>
          <p:nvPr>
            <p:ph type="body" sz="quarter" idx="3" hasCustomPrompt="1"/>
          </p:nvPr>
        </p:nvSpPr>
        <p:spPr>
          <a:xfrm>
            <a:off x="6193423" y="1219200"/>
            <a:ext cx="5693833" cy="639762"/>
          </a:xfrm>
          <a:noFill/>
        </p:spPr>
        <p:txBody>
          <a:bodyPr anchor="ctr"/>
          <a:lstStyle>
            <a:lvl1pPr marL="0" indent="0" algn="ctr">
              <a:buNone/>
              <a:defRPr lang="en-US" sz="2200" b="1" cap="small" baseline="0" dirty="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rtl="0" eaLnBrk="1" fontAlgn="base" hangingPunct="1">
              <a:spcBef>
                <a:spcPct val="20000"/>
              </a:spcBef>
              <a:spcAft>
                <a:spcPct val="0"/>
              </a:spcAft>
              <a:buNone/>
            </a:pPr>
            <a:r>
              <a:rPr lang="en-US" dirty="0"/>
              <a:t>Click to edit master text styles</a:t>
            </a:r>
          </a:p>
        </p:txBody>
      </p:sp>
      <p:graphicFrame>
        <p:nvGraphicFramePr>
          <p:cNvPr id="15" name="Object 14" hidden="1"/>
          <p:cNvGraphicFramePr>
            <a:graphicFrameLocks noChangeAspect="1"/>
          </p:cNvGraphicFramePr>
          <p:nvPr>
            <p:custDataLst>
              <p:tags r:id="rId3"/>
            </p:custDataLst>
            <p:extLst>
              <p:ext uri="{D42A27DB-BD31-4B8C-83A1-F6EECF244321}">
                <p14:modId xmlns:p14="http://schemas.microsoft.com/office/powerpoint/2010/main" val="3752060486"/>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512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19" name="Content Placeholder 2"/>
          <p:cNvSpPr>
            <a:spLocks noGrp="1"/>
          </p:cNvSpPr>
          <p:nvPr>
            <p:ph sz="half" idx="14"/>
          </p:nvPr>
        </p:nvSpPr>
        <p:spPr>
          <a:xfrm>
            <a:off x="6193368"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1"/>
          <p:cNvSpPr>
            <a:spLocks noGrp="1"/>
          </p:cNvSpPr>
          <p:nvPr>
            <p:ph sz="quarter" idx="15"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409046219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a:reflection endPos="0" dir="5400000" sy="-100000" algn="bl" rotWithShape="0"/>
          </a:effectLst>
        </p:spPr>
        <p:txBody>
          <a:bodyPr/>
          <a:lstStyle>
            <a:lvl1pPr>
              <a:defRPr sz="2400"/>
            </a:lvl1pPr>
          </a:lstStyle>
          <a:p>
            <a:r>
              <a:rPr lang="en-US"/>
              <a:t>Click to edit Master title style</a:t>
            </a:r>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fld id="{1803007F-CA12-FA49-A8B1-0E255E9AA47F}" type="datetime1">
              <a:rPr lang="en-GB" smtClean="0"/>
              <a:pPr>
                <a:defRPr/>
              </a:pPr>
              <a:t>30/04/2019</a:t>
            </a:fld>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A14F054A-1A36-443C-BE9A-7E62A227BE57}" type="slidenum">
              <a:rPr lang="en-US" smtClean="0"/>
              <a:pPr>
                <a:defRPr/>
              </a:pPr>
              <a:t>‹#›</a:t>
            </a:fld>
            <a:endParaRPr lang="en-US"/>
          </a:p>
        </p:txBody>
      </p:sp>
      <p:sp>
        <p:nvSpPr>
          <p:cNvPr id="7"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427988147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pic>
        <p:nvPicPr>
          <p:cNvPr id="1146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88118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4824EA-7FAF-4342-A063-EC9A77DA316E}" type="datetime1">
              <a:rPr lang="en-GB" smtClean="0"/>
              <a:pPr/>
              <a:t>30/0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29309353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Content 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800"/>
            </a:lvl1pPr>
          </a:lstStyle>
          <a:p>
            <a:r>
              <a:rPr lang="en-US" noProof="0" dirty="0" err="1"/>
              <a:t>Titlemaster</a:t>
            </a:r>
            <a:endParaRPr lang="en-US" noProof="0" dirty="0"/>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pPr>
                <a:defRPr/>
              </a:pPr>
              <a:t>‹#›</a:t>
            </a:fld>
            <a:endParaRPr lang="en-US"/>
          </a:p>
        </p:txBody>
      </p:sp>
      <p:sp>
        <p:nvSpPr>
          <p:cNvPr id="6" name="Inhaltsplatzhalter 5"/>
          <p:cNvSpPr>
            <a:spLocks noGrp="1"/>
          </p:cNvSpPr>
          <p:nvPr>
            <p:ph sz="quarter" idx="12" hasCustomPrompt="1"/>
          </p:nvPr>
        </p:nvSpPr>
        <p:spPr/>
        <p:txBody>
          <a:bodyPr/>
          <a:lstStyle>
            <a:lvl1pPr>
              <a:defRPr sz="1050"/>
            </a:lvl1pPr>
            <a:lvl3pPr marL="271463" indent="-271463">
              <a:buFont typeface="Arial" panose="020B0604020202020204" pitchFamily="34" charset="0"/>
              <a:buChar char="•"/>
              <a:defRPr/>
            </a:lvl3pPr>
            <a:lvl4pPr>
              <a:defRPr sz="1950"/>
            </a:lvl4pPr>
            <a:lvl5pPr>
              <a:defRPr sz="1950"/>
            </a:lvl5pPr>
          </a:lstStyle>
          <a:p>
            <a:pPr lvl="0"/>
            <a:r>
              <a:rPr lang="en-US" noProof="0" dirty="0" err="1"/>
              <a:t>Textmaster</a:t>
            </a:r>
            <a:endParaRPr lang="en-US" noProof="0" dirty="0"/>
          </a:p>
          <a:p>
            <a:pPr lvl="1"/>
            <a:r>
              <a:rPr lang="en-US" noProof="0" dirty="0"/>
              <a:t>Second Layer</a:t>
            </a:r>
          </a:p>
          <a:p>
            <a:pPr lvl="2"/>
            <a:r>
              <a:rPr lang="en-US" noProof="0" dirty="0"/>
              <a:t>Third Layer</a:t>
            </a:r>
          </a:p>
          <a:p>
            <a:pPr lvl="3"/>
            <a:r>
              <a:rPr lang="en-US" noProof="0" dirty="0"/>
              <a:t>Fourth Layer</a:t>
            </a:r>
          </a:p>
          <a:p>
            <a:pPr lvl="4"/>
            <a:r>
              <a:rPr lang="en-US" noProof="0" dirty="0"/>
              <a:t>Fifth Layer</a:t>
            </a:r>
          </a:p>
          <a:p>
            <a:pPr lvl="5"/>
            <a:r>
              <a:rPr lang="en-US" noProof="0" dirty="0"/>
              <a:t>6</a:t>
            </a:r>
          </a:p>
        </p:txBody>
      </p:sp>
    </p:spTree>
    <p:extLst>
      <p:ext uri="{BB962C8B-B14F-4D97-AF65-F5344CB8AC3E}">
        <p14:creationId xmlns:p14="http://schemas.microsoft.com/office/powerpoint/2010/main" val="26116239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DFD5E19-6138-F141-B38B-DF07E6BB0533}" type="datetime1">
              <a:rPr lang="en-GB" smtClean="0"/>
              <a:pPr/>
              <a:t>30/0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8411472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75"/>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43" y="3602040"/>
            <a:ext cx="9144001" cy="1655763"/>
          </a:xfrm>
        </p:spPr>
        <p:txBody>
          <a:bodyPr/>
          <a:lstStyle>
            <a:lvl1pPr marL="0" indent="0" algn="ctr">
              <a:buNone/>
              <a:defRPr sz="2400"/>
            </a:lvl1pPr>
            <a:lvl2pPr marL="455981" indent="0" algn="ctr">
              <a:buNone/>
              <a:defRPr sz="1900"/>
            </a:lvl2pPr>
            <a:lvl3pPr marL="911969" indent="0" algn="ctr">
              <a:buNone/>
              <a:defRPr sz="1900"/>
            </a:lvl3pPr>
            <a:lvl4pPr marL="1367953" indent="0" algn="ctr">
              <a:buNone/>
              <a:defRPr sz="1600"/>
            </a:lvl4pPr>
            <a:lvl5pPr marL="1823939" indent="0" algn="ctr">
              <a:buNone/>
              <a:defRPr sz="1600"/>
            </a:lvl5pPr>
            <a:lvl6pPr marL="2279928" indent="0" algn="ctr">
              <a:buNone/>
              <a:defRPr sz="1600"/>
            </a:lvl6pPr>
            <a:lvl7pPr marL="2735910" indent="0" algn="ctr">
              <a:buNone/>
              <a:defRPr sz="1600"/>
            </a:lvl7pPr>
            <a:lvl8pPr marL="3191889" indent="0" algn="ctr">
              <a:buNone/>
              <a:defRPr sz="1600"/>
            </a:lvl8pPr>
            <a:lvl9pPr marL="364786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900FCFC-9949-4415-AD1B-57AC37E7F9EA}"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01071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3A25E5F-CB3C-4F07-A26A-448BE4F975D8}"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graphicFrame>
        <p:nvGraphicFramePr>
          <p:cNvPr id="7" name="Object 6" hidden="1">
            <a:extLst>
              <a:ext uri="{FF2B5EF4-FFF2-40B4-BE49-F238E27FC236}">
                <a16:creationId xmlns:a16="http://schemas.microsoft.com/office/drawing/2014/main" id="{AEC1B317-CA0D-4199-8734-5637E4D3993B}"/>
              </a:ext>
            </a:extLst>
          </p:cNvPr>
          <p:cNvGraphicFramePr>
            <a:graphicFrameLocks noChangeAspect="1"/>
          </p:cNvGraphicFramePr>
          <p:nvPr userDrawn="1">
            <p:custDataLst>
              <p:tags r:id="rId2"/>
            </p:custDataLst>
            <p:extLst>
              <p:ext uri="{D42A27DB-BD31-4B8C-83A1-F6EECF244321}">
                <p14:modId xmlns:p14="http://schemas.microsoft.com/office/powerpoint/2010/main" val="1774980250"/>
              </p:ex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6533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616"/>
                        <a:ext cx="1586" cy="1587"/>
                      </a:xfrm>
                      <a:prstGeom prst="rect">
                        <a:avLst/>
                      </a:prstGeom>
                    </p:spPr>
                  </p:pic>
                </p:oleObj>
              </mc:Fallback>
            </mc:AlternateContent>
          </a:graphicData>
        </a:graphic>
      </p:graphicFrame>
    </p:spTree>
    <p:extLst>
      <p:ext uri="{BB962C8B-B14F-4D97-AF65-F5344CB8AC3E}">
        <p14:creationId xmlns:p14="http://schemas.microsoft.com/office/powerpoint/2010/main" val="1182658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7" y="365127"/>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365127"/>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921B4AC-6A4B-46D2-9971-54B0F3D6D427}"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347893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3"/>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911"/>
            <a:ext cx="10515600" cy="1500187"/>
          </a:xfrm>
        </p:spPr>
        <p:txBody>
          <a:bodyPr/>
          <a:lstStyle>
            <a:lvl1pPr marL="0" indent="0">
              <a:buNone/>
              <a:defRPr sz="2400">
                <a:solidFill>
                  <a:schemeClr val="tx1"/>
                </a:solidFill>
              </a:defRPr>
            </a:lvl1pPr>
            <a:lvl2pPr marL="455981" indent="0">
              <a:buNone/>
              <a:defRPr sz="1900">
                <a:solidFill>
                  <a:schemeClr val="tx1">
                    <a:tint val="75000"/>
                  </a:schemeClr>
                </a:solidFill>
              </a:defRPr>
            </a:lvl2pPr>
            <a:lvl3pPr marL="911969" indent="0">
              <a:buNone/>
              <a:defRPr sz="1900">
                <a:solidFill>
                  <a:schemeClr val="tx1">
                    <a:tint val="75000"/>
                  </a:schemeClr>
                </a:solidFill>
              </a:defRPr>
            </a:lvl3pPr>
            <a:lvl4pPr marL="1367953" indent="0">
              <a:buNone/>
              <a:defRPr sz="1600">
                <a:solidFill>
                  <a:schemeClr val="tx1">
                    <a:tint val="75000"/>
                  </a:schemeClr>
                </a:solidFill>
              </a:defRPr>
            </a:lvl4pPr>
            <a:lvl5pPr marL="1823939" indent="0">
              <a:buNone/>
              <a:defRPr sz="1600">
                <a:solidFill>
                  <a:schemeClr val="tx1">
                    <a:tint val="75000"/>
                  </a:schemeClr>
                </a:solidFill>
              </a:defRPr>
            </a:lvl5pPr>
            <a:lvl6pPr marL="2279928" indent="0">
              <a:buNone/>
              <a:defRPr sz="1600">
                <a:solidFill>
                  <a:schemeClr val="tx1">
                    <a:tint val="75000"/>
                  </a:schemeClr>
                </a:solidFill>
              </a:defRPr>
            </a:lvl6pPr>
            <a:lvl7pPr marL="2735910" indent="0">
              <a:buNone/>
              <a:defRPr sz="1600">
                <a:solidFill>
                  <a:schemeClr val="tx1">
                    <a:tint val="75000"/>
                  </a:schemeClr>
                </a:solidFill>
              </a:defRPr>
            </a:lvl7pPr>
            <a:lvl8pPr marL="3191889" indent="0">
              <a:buNone/>
              <a:defRPr sz="1600">
                <a:solidFill>
                  <a:schemeClr val="tx1">
                    <a:tint val="75000"/>
                  </a:schemeClr>
                </a:solidFill>
              </a:defRPr>
            </a:lvl8pPr>
            <a:lvl9pPr marL="3647869"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865BCB5-7D71-4C2C-BB04-37FDB074955B}"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007098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25"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3"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838B163-74CB-4D15-95F5-9136FCE139E6}" type="datetime1">
              <a:rPr lang="en-US" smtClean="0">
                <a:solidFill>
                  <a:prstClr val="black">
                    <a:tint val="75000"/>
                  </a:prstClr>
                </a:solidFill>
              </a:rPr>
              <a:p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5767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5981" indent="0">
              <a:buNone/>
              <a:defRPr sz="1900" b="1"/>
            </a:lvl2pPr>
            <a:lvl3pPr marL="911969" indent="0">
              <a:buNone/>
              <a:defRPr sz="1900" b="1"/>
            </a:lvl3pPr>
            <a:lvl4pPr marL="1367953" indent="0">
              <a:buNone/>
              <a:defRPr sz="1600" b="1"/>
            </a:lvl4pPr>
            <a:lvl5pPr marL="1823939" indent="0">
              <a:buNone/>
              <a:defRPr sz="1600" b="1"/>
            </a:lvl5pPr>
            <a:lvl6pPr marL="2279928" indent="0">
              <a:buNone/>
              <a:defRPr sz="1600" b="1"/>
            </a:lvl6pPr>
            <a:lvl7pPr marL="2735910" indent="0">
              <a:buNone/>
              <a:defRPr sz="1600" b="1"/>
            </a:lvl7pPr>
            <a:lvl8pPr marL="3191889" indent="0">
              <a:buNone/>
              <a:defRPr sz="1600" b="1"/>
            </a:lvl8pPr>
            <a:lvl9pPr marL="364786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83"/>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15" y="1681163"/>
            <a:ext cx="5183187" cy="823912"/>
          </a:xfrm>
        </p:spPr>
        <p:txBody>
          <a:bodyPr anchor="b"/>
          <a:lstStyle>
            <a:lvl1pPr marL="0" indent="0">
              <a:buNone/>
              <a:defRPr sz="2400" b="1"/>
            </a:lvl1pPr>
            <a:lvl2pPr marL="455981" indent="0">
              <a:buNone/>
              <a:defRPr sz="1900" b="1"/>
            </a:lvl2pPr>
            <a:lvl3pPr marL="911969" indent="0">
              <a:buNone/>
              <a:defRPr sz="1900" b="1"/>
            </a:lvl3pPr>
            <a:lvl4pPr marL="1367953" indent="0">
              <a:buNone/>
              <a:defRPr sz="1600" b="1"/>
            </a:lvl4pPr>
            <a:lvl5pPr marL="1823939" indent="0">
              <a:buNone/>
              <a:defRPr sz="1600" b="1"/>
            </a:lvl5pPr>
            <a:lvl6pPr marL="2279928" indent="0">
              <a:buNone/>
              <a:defRPr sz="1600" b="1"/>
            </a:lvl6pPr>
            <a:lvl7pPr marL="2735910" indent="0">
              <a:buNone/>
              <a:defRPr sz="1600" b="1"/>
            </a:lvl7pPr>
            <a:lvl8pPr marL="3191889" indent="0">
              <a:buNone/>
              <a:defRPr sz="1600" b="1"/>
            </a:lvl8pPr>
            <a:lvl9pPr marL="3647869" indent="0">
              <a:buNone/>
              <a:defRPr sz="1600" b="1"/>
            </a:lvl9pPr>
          </a:lstStyle>
          <a:p>
            <a:pPr lvl="0"/>
            <a:r>
              <a:rPr lang="en-US"/>
              <a:t>Edit Master text styles</a:t>
            </a:r>
          </a:p>
        </p:txBody>
      </p:sp>
      <p:sp>
        <p:nvSpPr>
          <p:cNvPr id="6" name="Content Placeholder 5"/>
          <p:cNvSpPr>
            <a:spLocks noGrp="1"/>
          </p:cNvSpPr>
          <p:nvPr>
            <p:ph sz="quarter" idx="4"/>
          </p:nvPr>
        </p:nvSpPr>
        <p:spPr>
          <a:xfrm>
            <a:off x="6172215" y="2505083"/>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833083A-DF89-40D3-BE4B-DFDBB0A185C4}" type="datetime1">
              <a:rPr lang="en-US" smtClean="0">
                <a:solidFill>
                  <a:prstClr val="black">
                    <a:tint val="75000"/>
                  </a:prstClr>
                </a:solidFill>
              </a:rPr>
              <a:pPr/>
              <a:t>4/30/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883988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1C3F41-B7CF-4F02-9A2A-DBAE151E6E6E}"/>
              </a:ext>
            </a:extLst>
          </p:cNvPr>
          <p:cNvGraphicFramePr>
            <a:graphicFrameLocks noChangeAspect="1"/>
          </p:cNvGraphicFramePr>
          <p:nvPr userDrawn="1">
            <p:custDataLst>
              <p:tags r:id="rId2"/>
            </p:custDataLst>
            <p:extLst>
              <p:ext uri="{D42A27DB-BD31-4B8C-83A1-F6EECF244321}">
                <p14:modId xmlns:p14="http://schemas.microsoft.com/office/powerpoint/2010/main" val="3995867222"/>
              </p:ex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6543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1" y="1616"/>
                        <a:ext cx="158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C2BBB7C-55A1-45DD-8160-7C767E36EC18}"/>
              </a:ext>
            </a:extLst>
          </p:cNvPr>
          <p:cNvSpPr/>
          <p:nvPr userDrawn="1">
            <p:custDataLst>
              <p:tags r:id="rId3"/>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1969">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52A1DB5-FAFB-43CE-A4B8-666E96A78FC6}" type="datetime1">
              <a:rPr lang="en-US" smtClean="0">
                <a:solidFill>
                  <a:prstClr val="black">
                    <a:tint val="75000"/>
                  </a:prstClr>
                </a:solidFill>
              </a:rPr>
              <a:pPr/>
              <a:t>4/3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9762341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86573D-60BE-45AC-AA4C-5D3518A822A1}" type="datetime1">
              <a:rPr lang="en-US" smtClean="0">
                <a:solidFill>
                  <a:prstClr val="black">
                    <a:tint val="75000"/>
                  </a:prstClr>
                </a:solidFill>
              </a:rPr>
              <a:pPr/>
              <a:t>4/30/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62059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91" y="2057407"/>
            <a:ext cx="3932237" cy="3811588"/>
          </a:xfrm>
        </p:spPr>
        <p:txBody>
          <a:bodyPr/>
          <a:lstStyle>
            <a:lvl1pPr marL="0" indent="0">
              <a:buNone/>
              <a:defRPr sz="1600"/>
            </a:lvl1pPr>
            <a:lvl2pPr marL="455981" indent="0">
              <a:buNone/>
              <a:defRPr sz="1500"/>
            </a:lvl2pPr>
            <a:lvl3pPr marL="911969" indent="0">
              <a:buNone/>
              <a:defRPr sz="1200"/>
            </a:lvl3pPr>
            <a:lvl4pPr marL="1367953" indent="0">
              <a:buNone/>
              <a:defRPr sz="1100"/>
            </a:lvl4pPr>
            <a:lvl5pPr marL="1823939" indent="0">
              <a:buNone/>
              <a:defRPr sz="1100"/>
            </a:lvl5pPr>
            <a:lvl6pPr marL="2279928" indent="0">
              <a:buNone/>
              <a:defRPr sz="1100"/>
            </a:lvl6pPr>
            <a:lvl7pPr marL="2735910" indent="0">
              <a:buNone/>
              <a:defRPr sz="1100"/>
            </a:lvl7pPr>
            <a:lvl8pPr marL="3191889" indent="0">
              <a:buNone/>
              <a:defRPr sz="1100"/>
            </a:lvl8pPr>
            <a:lvl9pPr marL="3647869"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402E554E-CFB0-4160-BA92-A9371C5EE0FE}" type="datetime1">
              <a:rPr lang="en-US" smtClean="0">
                <a:solidFill>
                  <a:prstClr val="black">
                    <a:tint val="75000"/>
                  </a:prstClr>
                </a:solidFill>
              </a:rPr>
              <a:p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2085706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5981" indent="0">
              <a:buNone/>
              <a:defRPr sz="2800"/>
            </a:lvl2pPr>
            <a:lvl3pPr marL="911969" indent="0">
              <a:buNone/>
              <a:defRPr sz="2400"/>
            </a:lvl3pPr>
            <a:lvl4pPr marL="1367953" indent="0">
              <a:buNone/>
              <a:defRPr sz="1900"/>
            </a:lvl4pPr>
            <a:lvl5pPr marL="1823939" indent="0">
              <a:buNone/>
              <a:defRPr sz="1900"/>
            </a:lvl5pPr>
            <a:lvl6pPr marL="2279928" indent="0">
              <a:buNone/>
              <a:defRPr sz="1900"/>
            </a:lvl6pPr>
            <a:lvl7pPr marL="2735910" indent="0">
              <a:buNone/>
              <a:defRPr sz="1900"/>
            </a:lvl7pPr>
            <a:lvl8pPr marL="3191889" indent="0">
              <a:buNone/>
              <a:defRPr sz="1900"/>
            </a:lvl8pPr>
            <a:lvl9pPr marL="3647869" indent="0">
              <a:buNone/>
              <a:defRPr sz="1900"/>
            </a:lvl9pPr>
          </a:lstStyle>
          <a:p>
            <a:r>
              <a:rPr lang="en-US"/>
              <a:t>Click icon to add picture</a:t>
            </a:r>
            <a:endParaRPr lang="en-US" dirty="0"/>
          </a:p>
        </p:txBody>
      </p:sp>
      <p:sp>
        <p:nvSpPr>
          <p:cNvPr id="4" name="Text Placeholder 3"/>
          <p:cNvSpPr>
            <a:spLocks noGrp="1"/>
          </p:cNvSpPr>
          <p:nvPr>
            <p:ph type="body" sz="half" idx="2"/>
          </p:nvPr>
        </p:nvSpPr>
        <p:spPr>
          <a:xfrm>
            <a:off x="839791" y="2057407"/>
            <a:ext cx="3932237" cy="3811588"/>
          </a:xfrm>
        </p:spPr>
        <p:txBody>
          <a:bodyPr/>
          <a:lstStyle>
            <a:lvl1pPr marL="0" indent="0">
              <a:buNone/>
              <a:defRPr sz="1600"/>
            </a:lvl1pPr>
            <a:lvl2pPr marL="455981" indent="0">
              <a:buNone/>
              <a:defRPr sz="1500"/>
            </a:lvl2pPr>
            <a:lvl3pPr marL="911969" indent="0">
              <a:buNone/>
              <a:defRPr sz="1200"/>
            </a:lvl3pPr>
            <a:lvl4pPr marL="1367953" indent="0">
              <a:buNone/>
              <a:defRPr sz="1100"/>
            </a:lvl4pPr>
            <a:lvl5pPr marL="1823939" indent="0">
              <a:buNone/>
              <a:defRPr sz="1100"/>
            </a:lvl5pPr>
            <a:lvl6pPr marL="2279928" indent="0">
              <a:buNone/>
              <a:defRPr sz="1100"/>
            </a:lvl6pPr>
            <a:lvl7pPr marL="2735910" indent="0">
              <a:buNone/>
              <a:defRPr sz="1100"/>
            </a:lvl7pPr>
            <a:lvl8pPr marL="3191889" indent="0">
              <a:buNone/>
              <a:defRPr sz="1100"/>
            </a:lvl8pPr>
            <a:lvl9pPr marL="3647869"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5BB39128-44CA-4633-954E-73D30279EF1D}" type="datetime1">
              <a:rPr lang="en-US" smtClean="0">
                <a:solidFill>
                  <a:prstClr val="black">
                    <a:tint val="75000"/>
                  </a:prstClr>
                </a:solidFill>
              </a:rPr>
              <a:p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021498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02D2FA3-3879-4643-BEC1-A779A7C4E4E8}"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7642069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7" y="365127"/>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365127"/>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921B4AC-6A4B-46D2-9971-54B0F3D6D427}"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4930576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2400" i="1">
                <a:solidFill>
                  <a:schemeClr val="bg2"/>
                </a:solidFill>
              </a:defRPr>
            </a:lvl1pPr>
          </a:lstStyle>
          <a:p>
            <a:r>
              <a:rPr lang="en-US"/>
              <a:t>Click to edit Master subtitle style</a:t>
            </a:r>
            <a:endParaRPr lang="en-US" dirty="0"/>
          </a:p>
        </p:txBody>
      </p:sp>
      <p:sp>
        <p:nvSpPr>
          <p:cNvPr id="266247" name="Rectangle 7"/>
          <p:cNvSpPr>
            <a:spLocks noGrp="1" noChangeArrowheads="1"/>
          </p:cNvSpPr>
          <p:nvPr>
            <p:ph type="ctrTitle" sz="quarter"/>
          </p:nvPr>
        </p:nvSpPr>
        <p:spPr bwMode="auto">
          <a:xfrm>
            <a:off x="914400" y="2210359"/>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11C70DEA-ED8A-DD43-A0FD-D69121D7D3B3}"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46677" y="4994812"/>
            <a:ext cx="1919491" cy="1315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Tree>
    <p:extLst>
      <p:ext uri="{BB962C8B-B14F-4D97-AF65-F5344CB8AC3E}">
        <p14:creationId xmlns:p14="http://schemas.microsoft.com/office/powerpoint/2010/main" val="34540549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4" y="1122366"/>
            <a:ext cx="9144001"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4" y="3602038"/>
            <a:ext cx="9144001" cy="1655762"/>
          </a:xfrm>
        </p:spPr>
        <p:txBody>
          <a:bodyPr/>
          <a:lstStyle>
            <a:lvl1pPr marL="0" indent="0" algn="ctr">
              <a:buNone/>
              <a:defRPr sz="2400"/>
            </a:lvl1pPr>
            <a:lvl2pPr marL="457007" indent="0" algn="ctr">
              <a:buNone/>
              <a:defRPr sz="1900"/>
            </a:lvl2pPr>
            <a:lvl3pPr marL="914013" indent="0" algn="ctr">
              <a:buNone/>
              <a:defRPr sz="1800"/>
            </a:lvl3pPr>
            <a:lvl4pPr marL="1371019" indent="0" algn="ctr">
              <a:buNone/>
              <a:defRPr sz="1600"/>
            </a:lvl4pPr>
            <a:lvl5pPr marL="1828025" indent="0" algn="ctr">
              <a:buNone/>
              <a:defRPr sz="1600"/>
            </a:lvl5pPr>
            <a:lvl6pPr marL="2285031" indent="0" algn="ctr">
              <a:buNone/>
              <a:defRPr sz="1600"/>
            </a:lvl6pPr>
            <a:lvl7pPr marL="2742037" indent="0" algn="ctr">
              <a:buNone/>
              <a:defRPr sz="1600"/>
            </a:lvl7pPr>
            <a:lvl8pPr marL="3199044" indent="0" algn="ctr">
              <a:buNone/>
              <a:defRPr sz="1600"/>
            </a:lvl8pPr>
            <a:lvl9pPr marL="365605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F2B52C22-B8ED-46C7-8385-400D8AC1F692}"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81249896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7" name="Rectangle 7"/>
          <p:cNvSpPr>
            <a:spLocks noGrp="1" noChangeArrowheads="1"/>
          </p:cNvSpPr>
          <p:nvPr>
            <p:ph type="ctrTitle" sz="quarter"/>
          </p:nvPr>
        </p:nvSpPr>
        <p:spPr bwMode="auto">
          <a:xfrm>
            <a:off x="914400" y="2721345"/>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79885609-2C97-2545-B884-C23E69A35C7F}"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6"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a:defRPr/>
            </a:pPr>
            <a:fld id="{4A0ACF5A-AF10-48F9-8A78-5825A055A0E9}" type="slidenum">
              <a:rPr lang="en-US" smtClean="0">
                <a:ea typeface="MS PGothic" pitchFamily="34" charset="-128"/>
              </a:rPr>
              <a:pPr>
                <a:defRPr/>
              </a:pPr>
              <a:t>‹#›</a:t>
            </a:fld>
            <a:endParaRPr lang="en-US">
              <a:ea typeface="MS PGothic" pitchFamily="34" charset="-128"/>
            </a:endParaRPr>
          </a:p>
        </p:txBody>
      </p:sp>
      <p:pic>
        <p:nvPicPr>
          <p:cNvPr id="17" name="Picture 16"/>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58655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a:t>Click to edit Master title style</a:t>
            </a:r>
            <a:endParaRPr lang="en-US" dirty="0"/>
          </a:p>
        </p:txBody>
      </p:sp>
      <p:sp>
        <p:nvSpPr>
          <p:cNvPr id="4" name="Rectangle 4"/>
          <p:cNvSpPr>
            <a:spLocks noGrp="1" noChangeArrowheads="1"/>
          </p:cNvSpPr>
          <p:nvPr>
            <p:ph type="dt" sz="half" idx="10"/>
          </p:nvPr>
        </p:nvSpPr>
        <p:spPr>
          <a:xfrm>
            <a:off x="0" y="6618129"/>
            <a:ext cx="1625600" cy="223690"/>
          </a:xfrm>
          <a:ln/>
        </p:spPr>
        <p:txBody>
          <a:bodyPr/>
          <a:lstStyle>
            <a:lvl1pPr>
              <a:defRPr/>
            </a:lvl1pPr>
          </a:lstStyle>
          <a:p>
            <a:pPr>
              <a:defRPr/>
            </a:pPr>
            <a:fld id="{B2813B1C-F70A-9841-9CAA-23432FDD080E}" type="datetime1">
              <a:rPr lang="en-GB" smtClean="0"/>
              <a:pPr>
                <a:defRPr/>
              </a:pPr>
              <a:t>30/04/2019</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1FC17A9-1053-4EE0-8A3E-150254159B86}" type="slidenum">
              <a:rPr lang="en-US" smtClean="0"/>
              <a:pPr>
                <a:defRPr/>
              </a:pPr>
              <a:t>‹#›</a:t>
            </a:fld>
            <a:endParaRPr lang="en-US"/>
          </a:p>
        </p:txBody>
      </p:sp>
      <p:sp>
        <p:nvSpPr>
          <p:cNvPr id="7" name="Content Placeholder 2"/>
          <p:cNvSpPr>
            <a:spLocks noGrp="1"/>
          </p:cNvSpPr>
          <p:nvPr>
            <p:ph sz="half" idx="1"/>
          </p:nvPr>
        </p:nvSpPr>
        <p:spPr>
          <a:xfrm>
            <a:off x="609600" y="1219199"/>
            <a:ext cx="10972800" cy="4946904"/>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30796776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127393267"/>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594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304800"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dt" sz="half" idx="10"/>
          </p:nvPr>
        </p:nvSpPr>
        <p:spPr>
          <a:ln/>
        </p:spPr>
        <p:txBody>
          <a:bodyPr/>
          <a:lstStyle>
            <a:lvl1pPr>
              <a:defRPr/>
            </a:lvl1pPr>
          </a:lstStyle>
          <a:p>
            <a:pPr>
              <a:defRPr/>
            </a:pPr>
            <a:fld id="{6915ED1E-F197-5A45-8E80-1CA9BF57E0C4}" type="datetime1">
              <a:rPr lang="en-GB" smtClean="0"/>
              <a:pPr>
                <a:defRPr/>
              </a:pPr>
              <a:t>30/04/2019</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2488AE2-2149-41B9-BDAB-86D1134409E9}" type="slidenum">
              <a:rPr lang="en-US" smtClean="0"/>
              <a:pPr>
                <a:defRPr/>
              </a:pPr>
              <a:t>‹#›</a:t>
            </a:fld>
            <a:endParaRPr lang="en-US"/>
          </a:p>
        </p:txBody>
      </p:sp>
      <p:sp>
        <p:nvSpPr>
          <p:cNvPr id="8" name="Text Placeholder 2"/>
          <p:cNvSpPr>
            <a:spLocks noGrp="1"/>
          </p:cNvSpPr>
          <p:nvPr>
            <p:ph type="body" idx="13" hasCustomPrompt="1"/>
          </p:nvPr>
        </p:nvSpPr>
        <p:spPr>
          <a:xfrm>
            <a:off x="304800" y="1219200"/>
            <a:ext cx="5691717" cy="639762"/>
          </a:xfrm>
          <a:noFill/>
          <a:effectLst/>
        </p:spPr>
        <p:txBody>
          <a:bodyPr anchor="ctr"/>
          <a:lstStyle>
            <a:lvl1pPr marL="0" indent="0" algn="ctr">
              <a:buNone/>
              <a:defRPr sz="2200" b="1" cap="sm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p:cNvSpPr>
            <a:spLocks noGrp="1"/>
          </p:cNvSpPr>
          <p:nvPr>
            <p:ph type="body" sz="quarter" idx="3" hasCustomPrompt="1"/>
          </p:nvPr>
        </p:nvSpPr>
        <p:spPr>
          <a:xfrm>
            <a:off x="6193423" y="1219200"/>
            <a:ext cx="5693833" cy="639762"/>
          </a:xfrm>
          <a:noFill/>
        </p:spPr>
        <p:txBody>
          <a:bodyPr anchor="ctr"/>
          <a:lstStyle>
            <a:lvl1pPr marL="0" indent="0" algn="ctr">
              <a:buNone/>
              <a:defRPr lang="en-US" sz="2200" b="1" cap="small" baseline="0" dirty="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rtl="0" eaLnBrk="1" fontAlgn="base" hangingPunct="1">
              <a:spcBef>
                <a:spcPct val="20000"/>
              </a:spcBef>
              <a:spcAft>
                <a:spcPct val="0"/>
              </a:spcAft>
              <a:buNone/>
            </a:pPr>
            <a:r>
              <a:rPr lang="en-US" dirty="0"/>
              <a:t>Click to edit master text styles</a:t>
            </a:r>
          </a:p>
        </p:txBody>
      </p:sp>
      <p:graphicFrame>
        <p:nvGraphicFramePr>
          <p:cNvPr id="15" name="Object 14" hidden="1"/>
          <p:cNvGraphicFramePr>
            <a:graphicFrameLocks noChangeAspect="1"/>
          </p:cNvGraphicFramePr>
          <p:nvPr>
            <p:custDataLst>
              <p:tags r:id="rId3"/>
            </p:custDataLst>
            <p:extLst>
              <p:ext uri="{D42A27DB-BD31-4B8C-83A1-F6EECF244321}">
                <p14:modId xmlns:p14="http://schemas.microsoft.com/office/powerpoint/2010/main" val="1268788977"/>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5948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19" name="Content Placeholder 2"/>
          <p:cNvSpPr>
            <a:spLocks noGrp="1"/>
          </p:cNvSpPr>
          <p:nvPr>
            <p:ph sz="half" idx="14"/>
          </p:nvPr>
        </p:nvSpPr>
        <p:spPr>
          <a:xfrm>
            <a:off x="6193368"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1"/>
          <p:cNvSpPr>
            <a:spLocks noGrp="1"/>
          </p:cNvSpPr>
          <p:nvPr>
            <p:ph sz="quarter" idx="15"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15970361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a:reflection endPos="0" dir="5400000" sy="-100000" algn="bl" rotWithShape="0"/>
          </a:effectLst>
        </p:spPr>
        <p:txBody>
          <a:bodyPr/>
          <a:lstStyle>
            <a:lvl1pPr>
              <a:defRPr sz="2400"/>
            </a:lvl1pPr>
          </a:lstStyle>
          <a:p>
            <a:r>
              <a:rPr lang="en-US"/>
              <a:t>Click to edit Master title style</a:t>
            </a:r>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fld id="{1803007F-CA12-FA49-A8B1-0E255E9AA47F}" type="datetime1">
              <a:rPr lang="en-GB" smtClean="0"/>
              <a:pPr>
                <a:defRPr/>
              </a:pPr>
              <a:t>30/04/2019</a:t>
            </a:fld>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A14F054A-1A36-443C-BE9A-7E62A227BE57}" type="slidenum">
              <a:rPr lang="en-US" smtClean="0"/>
              <a:pPr>
                <a:defRPr/>
              </a:pPr>
              <a:t>‹#›</a:t>
            </a:fld>
            <a:endParaRPr lang="en-US"/>
          </a:p>
        </p:txBody>
      </p:sp>
      <p:sp>
        <p:nvSpPr>
          <p:cNvPr id="7"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86850240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pic>
        <p:nvPicPr>
          <p:cNvPr id="1146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713028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4824EA-7FAF-4342-A063-EC9A77DA316E}" type="datetime1">
              <a:rPr lang="en-GB" smtClean="0"/>
              <a:pPr/>
              <a:t>30/0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119786730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Content 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800"/>
            </a:lvl1pPr>
          </a:lstStyle>
          <a:p>
            <a:r>
              <a:rPr lang="en-US" noProof="0" dirty="0" err="1"/>
              <a:t>Titlemaster</a:t>
            </a:r>
            <a:endParaRPr lang="en-US" noProof="0" dirty="0"/>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pPr>
                <a:defRPr/>
              </a:pPr>
              <a:t>‹#›</a:t>
            </a:fld>
            <a:endParaRPr lang="en-US"/>
          </a:p>
        </p:txBody>
      </p:sp>
      <p:sp>
        <p:nvSpPr>
          <p:cNvPr id="6" name="Inhaltsplatzhalter 5"/>
          <p:cNvSpPr>
            <a:spLocks noGrp="1"/>
          </p:cNvSpPr>
          <p:nvPr>
            <p:ph sz="quarter" idx="12" hasCustomPrompt="1"/>
          </p:nvPr>
        </p:nvSpPr>
        <p:spPr/>
        <p:txBody>
          <a:bodyPr/>
          <a:lstStyle>
            <a:lvl1pPr>
              <a:defRPr sz="1050"/>
            </a:lvl1pPr>
            <a:lvl3pPr marL="271463" indent="-271463">
              <a:buFont typeface="Arial" panose="020B0604020202020204" pitchFamily="34" charset="0"/>
              <a:buChar char="•"/>
              <a:defRPr/>
            </a:lvl3pPr>
            <a:lvl4pPr>
              <a:defRPr sz="1950"/>
            </a:lvl4pPr>
            <a:lvl5pPr>
              <a:defRPr sz="1950"/>
            </a:lvl5pPr>
          </a:lstStyle>
          <a:p>
            <a:pPr lvl="0"/>
            <a:r>
              <a:rPr lang="en-US" noProof="0" dirty="0" err="1"/>
              <a:t>Textmaster</a:t>
            </a:r>
            <a:endParaRPr lang="en-US" noProof="0" dirty="0"/>
          </a:p>
          <a:p>
            <a:pPr lvl="1"/>
            <a:r>
              <a:rPr lang="en-US" noProof="0" dirty="0"/>
              <a:t>Second Layer</a:t>
            </a:r>
          </a:p>
          <a:p>
            <a:pPr lvl="2"/>
            <a:r>
              <a:rPr lang="en-US" noProof="0" dirty="0"/>
              <a:t>Third Layer</a:t>
            </a:r>
          </a:p>
          <a:p>
            <a:pPr lvl="3"/>
            <a:r>
              <a:rPr lang="en-US" noProof="0" dirty="0"/>
              <a:t>Fourth Layer</a:t>
            </a:r>
          </a:p>
          <a:p>
            <a:pPr lvl="4"/>
            <a:r>
              <a:rPr lang="en-US" noProof="0" dirty="0"/>
              <a:t>Fifth Layer</a:t>
            </a:r>
          </a:p>
          <a:p>
            <a:pPr lvl="5"/>
            <a:r>
              <a:rPr lang="en-US" noProof="0" dirty="0"/>
              <a:t>6</a:t>
            </a:r>
          </a:p>
        </p:txBody>
      </p:sp>
    </p:spTree>
    <p:extLst>
      <p:ext uri="{BB962C8B-B14F-4D97-AF65-F5344CB8AC3E}">
        <p14:creationId xmlns:p14="http://schemas.microsoft.com/office/powerpoint/2010/main" val="76857054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DFD5E19-6138-F141-B38B-DF07E6BB0533}" type="datetime1">
              <a:rPr lang="en-GB" smtClean="0"/>
              <a:pPr/>
              <a:t>30/0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5431239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2400" i="1">
                <a:solidFill>
                  <a:schemeClr val="bg2"/>
                </a:solidFill>
              </a:defRPr>
            </a:lvl1pPr>
          </a:lstStyle>
          <a:p>
            <a:r>
              <a:rPr lang="en-US"/>
              <a:t>Click to edit Master subtitle style</a:t>
            </a:r>
            <a:endParaRPr lang="en-US" dirty="0"/>
          </a:p>
        </p:txBody>
      </p:sp>
      <p:sp>
        <p:nvSpPr>
          <p:cNvPr id="266247" name="Rectangle 7"/>
          <p:cNvSpPr>
            <a:spLocks noGrp="1" noChangeArrowheads="1"/>
          </p:cNvSpPr>
          <p:nvPr>
            <p:ph type="ctrTitle" sz="quarter"/>
          </p:nvPr>
        </p:nvSpPr>
        <p:spPr bwMode="auto">
          <a:xfrm>
            <a:off x="914400" y="2210359"/>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11C70DEA-ED8A-DD43-A0FD-D69121D7D3B3}"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46677" y="4994812"/>
            <a:ext cx="1919491" cy="1315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Tree>
    <p:extLst>
      <p:ext uri="{BB962C8B-B14F-4D97-AF65-F5344CB8AC3E}">
        <p14:creationId xmlns:p14="http://schemas.microsoft.com/office/powerpoint/2010/main" val="23015257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7" name="Rectangle 7"/>
          <p:cNvSpPr>
            <a:spLocks noGrp="1" noChangeArrowheads="1"/>
          </p:cNvSpPr>
          <p:nvPr>
            <p:ph type="ctrTitle" sz="quarter"/>
          </p:nvPr>
        </p:nvSpPr>
        <p:spPr bwMode="auto">
          <a:xfrm>
            <a:off x="914400" y="2721345"/>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79885609-2C97-2545-B884-C23E69A35C7F}"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6"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a:defRPr/>
            </a:pPr>
            <a:fld id="{4A0ACF5A-AF10-48F9-8A78-5825A055A0E9}" type="slidenum">
              <a:rPr lang="en-US" smtClean="0">
                <a:ea typeface="MS PGothic" pitchFamily="34" charset="-128"/>
              </a:rPr>
              <a:pPr>
                <a:defRPr/>
              </a:pPr>
              <a:t>‹#›</a:t>
            </a:fld>
            <a:endParaRPr lang="en-US">
              <a:ea typeface="MS PGothic" pitchFamily="34" charset="-128"/>
            </a:endParaRPr>
          </a:p>
        </p:txBody>
      </p:sp>
      <p:pic>
        <p:nvPicPr>
          <p:cNvPr id="17" name="Picture 16"/>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8646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D410D2E-19C5-4EA0-8327-07FF68421FD8}"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graphicFrame>
        <p:nvGraphicFramePr>
          <p:cNvPr id="7" name="Object 6" hidden="1">
            <a:extLst>
              <a:ext uri="{FF2B5EF4-FFF2-40B4-BE49-F238E27FC236}">
                <a16:creationId xmlns:a16="http://schemas.microsoft.com/office/drawing/2014/main" id="{E03374FF-BDC3-4E53-8C98-3479ECBA3AA8}"/>
              </a:ext>
            </a:extLst>
          </p:cNvPr>
          <p:cNvGraphicFramePr>
            <a:graphicFrameLocks noChangeAspect="1"/>
          </p:cNvGraphicFramePr>
          <p:nvPr userDrawn="1">
            <p:custDataLst>
              <p:tags r:id="rId2"/>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3533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spTree>
    <p:extLst>
      <p:ext uri="{BB962C8B-B14F-4D97-AF65-F5344CB8AC3E}">
        <p14:creationId xmlns:p14="http://schemas.microsoft.com/office/powerpoint/2010/main" val="2273831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a:t>Click to edit Master title style</a:t>
            </a:r>
            <a:endParaRPr lang="en-US" dirty="0"/>
          </a:p>
        </p:txBody>
      </p:sp>
      <p:sp>
        <p:nvSpPr>
          <p:cNvPr id="4" name="Rectangle 4"/>
          <p:cNvSpPr>
            <a:spLocks noGrp="1" noChangeArrowheads="1"/>
          </p:cNvSpPr>
          <p:nvPr>
            <p:ph type="dt" sz="half" idx="10"/>
          </p:nvPr>
        </p:nvSpPr>
        <p:spPr>
          <a:xfrm>
            <a:off x="0" y="6618129"/>
            <a:ext cx="1625600" cy="223690"/>
          </a:xfrm>
          <a:ln/>
        </p:spPr>
        <p:txBody>
          <a:bodyPr/>
          <a:lstStyle>
            <a:lvl1pPr>
              <a:defRPr/>
            </a:lvl1pPr>
          </a:lstStyle>
          <a:p>
            <a:pPr>
              <a:defRPr/>
            </a:pPr>
            <a:fld id="{B2813B1C-F70A-9841-9CAA-23432FDD080E}" type="datetime1">
              <a:rPr lang="en-GB" smtClean="0"/>
              <a:pPr>
                <a:defRPr/>
              </a:pPr>
              <a:t>30/04/2019</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1FC17A9-1053-4EE0-8A3E-150254159B86}" type="slidenum">
              <a:rPr lang="en-US" smtClean="0"/>
              <a:pPr>
                <a:defRPr/>
              </a:pPr>
              <a:t>‹#›</a:t>
            </a:fld>
            <a:endParaRPr lang="en-US"/>
          </a:p>
        </p:txBody>
      </p:sp>
      <p:sp>
        <p:nvSpPr>
          <p:cNvPr id="7" name="Content Placeholder 2"/>
          <p:cNvSpPr>
            <a:spLocks noGrp="1"/>
          </p:cNvSpPr>
          <p:nvPr>
            <p:ph sz="half" idx="1"/>
          </p:nvPr>
        </p:nvSpPr>
        <p:spPr>
          <a:xfrm>
            <a:off x="609600" y="1219199"/>
            <a:ext cx="10972800" cy="4946904"/>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376863910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745320226"/>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615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304800"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dt" sz="half" idx="10"/>
          </p:nvPr>
        </p:nvSpPr>
        <p:spPr>
          <a:ln/>
        </p:spPr>
        <p:txBody>
          <a:bodyPr/>
          <a:lstStyle>
            <a:lvl1pPr>
              <a:defRPr/>
            </a:lvl1pPr>
          </a:lstStyle>
          <a:p>
            <a:pPr>
              <a:defRPr/>
            </a:pPr>
            <a:fld id="{6915ED1E-F197-5A45-8E80-1CA9BF57E0C4}" type="datetime1">
              <a:rPr lang="en-GB" smtClean="0"/>
              <a:pPr>
                <a:defRPr/>
              </a:pPr>
              <a:t>30/04/2019</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2488AE2-2149-41B9-BDAB-86D1134409E9}" type="slidenum">
              <a:rPr lang="en-US" smtClean="0"/>
              <a:pPr>
                <a:defRPr/>
              </a:pPr>
              <a:t>‹#›</a:t>
            </a:fld>
            <a:endParaRPr lang="en-US"/>
          </a:p>
        </p:txBody>
      </p:sp>
      <p:sp>
        <p:nvSpPr>
          <p:cNvPr id="8" name="Text Placeholder 2"/>
          <p:cNvSpPr>
            <a:spLocks noGrp="1"/>
          </p:cNvSpPr>
          <p:nvPr>
            <p:ph type="body" idx="13" hasCustomPrompt="1"/>
          </p:nvPr>
        </p:nvSpPr>
        <p:spPr>
          <a:xfrm>
            <a:off x="304800" y="1219200"/>
            <a:ext cx="5691717" cy="639762"/>
          </a:xfrm>
          <a:noFill/>
          <a:effectLst/>
        </p:spPr>
        <p:txBody>
          <a:bodyPr anchor="ctr"/>
          <a:lstStyle>
            <a:lvl1pPr marL="0" indent="0" algn="ctr">
              <a:buNone/>
              <a:defRPr sz="2200" b="1" cap="sm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p:cNvSpPr>
            <a:spLocks noGrp="1"/>
          </p:cNvSpPr>
          <p:nvPr>
            <p:ph type="body" sz="quarter" idx="3" hasCustomPrompt="1"/>
          </p:nvPr>
        </p:nvSpPr>
        <p:spPr>
          <a:xfrm>
            <a:off x="6193423" y="1219200"/>
            <a:ext cx="5693833" cy="639762"/>
          </a:xfrm>
          <a:noFill/>
        </p:spPr>
        <p:txBody>
          <a:bodyPr anchor="ctr"/>
          <a:lstStyle>
            <a:lvl1pPr marL="0" indent="0" algn="ctr">
              <a:buNone/>
              <a:defRPr lang="en-US" sz="2200" b="1" cap="small" baseline="0" dirty="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rtl="0" eaLnBrk="1" fontAlgn="base" hangingPunct="1">
              <a:spcBef>
                <a:spcPct val="20000"/>
              </a:spcBef>
              <a:spcAft>
                <a:spcPct val="0"/>
              </a:spcAft>
              <a:buNone/>
            </a:pPr>
            <a:r>
              <a:rPr lang="en-US" dirty="0"/>
              <a:t>Click to edit master text styles</a:t>
            </a:r>
          </a:p>
        </p:txBody>
      </p:sp>
      <p:graphicFrame>
        <p:nvGraphicFramePr>
          <p:cNvPr id="15" name="Object 14" hidden="1"/>
          <p:cNvGraphicFramePr>
            <a:graphicFrameLocks noChangeAspect="1"/>
          </p:cNvGraphicFramePr>
          <p:nvPr>
            <p:custDataLst>
              <p:tags r:id="rId3"/>
            </p:custDataLst>
            <p:extLst>
              <p:ext uri="{D42A27DB-BD31-4B8C-83A1-F6EECF244321}">
                <p14:modId xmlns:p14="http://schemas.microsoft.com/office/powerpoint/2010/main" val="4015355014"/>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615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19" name="Content Placeholder 2"/>
          <p:cNvSpPr>
            <a:spLocks noGrp="1"/>
          </p:cNvSpPr>
          <p:nvPr>
            <p:ph sz="half" idx="14"/>
          </p:nvPr>
        </p:nvSpPr>
        <p:spPr>
          <a:xfrm>
            <a:off x="6193368"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1"/>
          <p:cNvSpPr>
            <a:spLocks noGrp="1"/>
          </p:cNvSpPr>
          <p:nvPr>
            <p:ph sz="quarter" idx="15"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272056820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a:reflection endPos="0" dir="5400000" sy="-100000" algn="bl" rotWithShape="0"/>
          </a:effectLst>
        </p:spPr>
        <p:txBody>
          <a:bodyPr/>
          <a:lstStyle>
            <a:lvl1pPr>
              <a:defRPr sz="2400"/>
            </a:lvl1pPr>
          </a:lstStyle>
          <a:p>
            <a:r>
              <a:rPr lang="en-US"/>
              <a:t>Click to edit Master title style</a:t>
            </a:r>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fld id="{1803007F-CA12-FA49-A8B1-0E255E9AA47F}" type="datetime1">
              <a:rPr lang="en-GB" smtClean="0"/>
              <a:pPr>
                <a:defRPr/>
              </a:pPr>
              <a:t>30/04/2019</a:t>
            </a:fld>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A14F054A-1A36-443C-BE9A-7E62A227BE57}" type="slidenum">
              <a:rPr lang="en-US" smtClean="0"/>
              <a:pPr>
                <a:defRPr/>
              </a:pPr>
              <a:t>‹#›</a:t>
            </a:fld>
            <a:endParaRPr lang="en-US"/>
          </a:p>
        </p:txBody>
      </p:sp>
      <p:sp>
        <p:nvSpPr>
          <p:cNvPr id="7"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370539624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pic>
        <p:nvPicPr>
          <p:cNvPr id="1146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70848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4824EA-7FAF-4342-A063-EC9A77DA316E}" type="datetime1">
              <a:rPr lang="en-GB" smtClean="0"/>
              <a:pPr/>
              <a:t>30/0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173814978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Content 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800"/>
            </a:lvl1pPr>
          </a:lstStyle>
          <a:p>
            <a:r>
              <a:rPr lang="en-US" noProof="0" dirty="0" err="1"/>
              <a:t>Titlemaster</a:t>
            </a:r>
            <a:endParaRPr lang="en-US" noProof="0" dirty="0"/>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pPr>
                <a:defRPr/>
              </a:pPr>
              <a:t>‹#›</a:t>
            </a:fld>
            <a:endParaRPr lang="en-US"/>
          </a:p>
        </p:txBody>
      </p:sp>
      <p:sp>
        <p:nvSpPr>
          <p:cNvPr id="6" name="Inhaltsplatzhalter 5"/>
          <p:cNvSpPr>
            <a:spLocks noGrp="1"/>
          </p:cNvSpPr>
          <p:nvPr>
            <p:ph sz="quarter" idx="12" hasCustomPrompt="1"/>
          </p:nvPr>
        </p:nvSpPr>
        <p:spPr/>
        <p:txBody>
          <a:bodyPr/>
          <a:lstStyle>
            <a:lvl1pPr>
              <a:defRPr sz="1050"/>
            </a:lvl1pPr>
            <a:lvl3pPr marL="271463" indent="-271463">
              <a:buFont typeface="Arial" panose="020B0604020202020204" pitchFamily="34" charset="0"/>
              <a:buChar char="•"/>
              <a:defRPr/>
            </a:lvl3pPr>
            <a:lvl4pPr>
              <a:defRPr sz="1950"/>
            </a:lvl4pPr>
            <a:lvl5pPr>
              <a:defRPr sz="1950"/>
            </a:lvl5pPr>
          </a:lstStyle>
          <a:p>
            <a:pPr lvl="0"/>
            <a:r>
              <a:rPr lang="en-US" noProof="0" dirty="0" err="1"/>
              <a:t>Textmaster</a:t>
            </a:r>
            <a:endParaRPr lang="en-US" noProof="0" dirty="0"/>
          </a:p>
          <a:p>
            <a:pPr lvl="1"/>
            <a:r>
              <a:rPr lang="en-US" noProof="0" dirty="0"/>
              <a:t>Second Layer</a:t>
            </a:r>
          </a:p>
          <a:p>
            <a:pPr lvl="2"/>
            <a:r>
              <a:rPr lang="en-US" noProof="0" dirty="0"/>
              <a:t>Third Layer</a:t>
            </a:r>
          </a:p>
          <a:p>
            <a:pPr lvl="3"/>
            <a:r>
              <a:rPr lang="en-US" noProof="0" dirty="0"/>
              <a:t>Fourth Layer</a:t>
            </a:r>
          </a:p>
          <a:p>
            <a:pPr lvl="4"/>
            <a:r>
              <a:rPr lang="en-US" noProof="0" dirty="0"/>
              <a:t>Fifth Layer</a:t>
            </a:r>
          </a:p>
          <a:p>
            <a:pPr lvl="5"/>
            <a:r>
              <a:rPr lang="en-US" noProof="0" dirty="0"/>
              <a:t>6</a:t>
            </a:r>
          </a:p>
        </p:txBody>
      </p:sp>
    </p:spTree>
    <p:extLst>
      <p:ext uri="{BB962C8B-B14F-4D97-AF65-F5344CB8AC3E}">
        <p14:creationId xmlns:p14="http://schemas.microsoft.com/office/powerpoint/2010/main" val="41490527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DFD5E19-6138-F141-B38B-DF07E6BB0533}" type="datetime1">
              <a:rPr lang="en-GB" smtClean="0"/>
              <a:pPr/>
              <a:t>30/0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19105354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6"/>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4" y="3602038"/>
            <a:ext cx="9144001" cy="1655762"/>
          </a:xfrm>
        </p:spPr>
        <p:txBody>
          <a:bodyPr/>
          <a:lstStyle>
            <a:lvl1pPr marL="0" indent="0" algn="ctr">
              <a:buNone/>
              <a:defRPr sz="2400"/>
            </a:lvl1pPr>
            <a:lvl2pPr marL="457007" indent="0" algn="ctr">
              <a:buNone/>
              <a:defRPr sz="1900"/>
            </a:lvl2pPr>
            <a:lvl3pPr marL="914013" indent="0" algn="ctr">
              <a:buNone/>
              <a:defRPr sz="1800"/>
            </a:lvl3pPr>
            <a:lvl4pPr marL="1371019" indent="0" algn="ctr">
              <a:buNone/>
              <a:defRPr sz="1600"/>
            </a:lvl4pPr>
            <a:lvl5pPr marL="1828025" indent="0" algn="ctr">
              <a:buNone/>
              <a:defRPr sz="1600"/>
            </a:lvl5pPr>
            <a:lvl6pPr marL="2285031" indent="0" algn="ctr">
              <a:buNone/>
              <a:defRPr sz="1600"/>
            </a:lvl6pPr>
            <a:lvl7pPr marL="2742037" indent="0" algn="ctr">
              <a:buNone/>
              <a:defRPr sz="1600"/>
            </a:lvl7pPr>
            <a:lvl8pPr marL="3199044" indent="0" algn="ctr">
              <a:buNone/>
              <a:defRPr sz="1600"/>
            </a:lvl8pPr>
            <a:lvl9pPr marL="365605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9611094-B15B-49EA-8B15-97E6090AFFFE}"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4961277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1068FAF-0CC7-41E8-9683-E82C154589CF}"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graphicFrame>
        <p:nvGraphicFramePr>
          <p:cNvPr id="7" name="Object 6" hidden="1">
            <a:extLst>
              <a:ext uri="{FF2B5EF4-FFF2-40B4-BE49-F238E27FC236}">
                <a16:creationId xmlns:a16="http://schemas.microsoft.com/office/drawing/2014/main" id="{AEC1B317-CA0D-4199-8734-5637E4D3993B}"/>
              </a:ext>
            </a:extLst>
          </p:cNvPr>
          <p:cNvGraphicFramePr>
            <a:graphicFrameLocks noChangeAspect="1"/>
          </p:cNvGraphicFramePr>
          <p:nvPr userDrawn="1">
            <p:custDataLst>
              <p:tags r:id="rId2"/>
            </p:custDataLst>
            <p:extLst>
              <p:ext uri="{D42A27DB-BD31-4B8C-83A1-F6EECF244321}">
                <p14:modId xmlns:p14="http://schemas.microsoft.com/office/powerpoint/2010/main" val="274457343"/>
              </p:ex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676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spTree>
    <p:extLst>
      <p:ext uri="{BB962C8B-B14F-4D97-AF65-F5344CB8AC3E}">
        <p14:creationId xmlns:p14="http://schemas.microsoft.com/office/powerpoint/2010/main" val="425508370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3"/>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90011"/>
            <a:ext cx="10515600" cy="1500187"/>
          </a:xfrm>
        </p:spPr>
        <p:txBody>
          <a:bodyPr/>
          <a:lstStyle>
            <a:lvl1pPr marL="0" indent="0">
              <a:buNone/>
              <a:defRPr sz="2400">
                <a:solidFill>
                  <a:schemeClr val="tx1"/>
                </a:solidFill>
              </a:defRPr>
            </a:lvl1pPr>
            <a:lvl2pPr marL="457007" indent="0">
              <a:buNone/>
              <a:defRPr sz="1900">
                <a:solidFill>
                  <a:schemeClr val="tx1">
                    <a:tint val="75000"/>
                  </a:schemeClr>
                </a:solidFill>
              </a:defRPr>
            </a:lvl2pPr>
            <a:lvl3pPr marL="914013" indent="0">
              <a:buNone/>
              <a:defRPr sz="1800">
                <a:solidFill>
                  <a:schemeClr val="tx1">
                    <a:tint val="75000"/>
                  </a:schemeClr>
                </a:solidFill>
              </a:defRPr>
            </a:lvl3pPr>
            <a:lvl4pPr marL="1371019" indent="0">
              <a:buNone/>
              <a:defRPr sz="1600">
                <a:solidFill>
                  <a:schemeClr val="tx1">
                    <a:tint val="75000"/>
                  </a:schemeClr>
                </a:solidFill>
              </a:defRPr>
            </a:lvl4pPr>
            <a:lvl5pPr marL="1828025" indent="0">
              <a:buNone/>
              <a:defRPr sz="1600">
                <a:solidFill>
                  <a:schemeClr val="tx1">
                    <a:tint val="75000"/>
                  </a:schemeClr>
                </a:solidFill>
              </a:defRPr>
            </a:lvl5pPr>
            <a:lvl6pPr marL="2285031" indent="0">
              <a:buNone/>
              <a:defRPr sz="1600">
                <a:solidFill>
                  <a:schemeClr val="tx1">
                    <a:tint val="75000"/>
                  </a:schemeClr>
                </a:solidFill>
              </a:defRPr>
            </a:lvl6pPr>
            <a:lvl7pPr marL="2742037" indent="0">
              <a:buNone/>
              <a:defRPr sz="1600">
                <a:solidFill>
                  <a:schemeClr val="tx1">
                    <a:tint val="75000"/>
                  </a:schemeClr>
                </a:solidFill>
              </a:defRPr>
            </a:lvl7pPr>
            <a:lvl8pPr marL="3199044" indent="0">
              <a:buNone/>
              <a:defRPr sz="1600">
                <a:solidFill>
                  <a:schemeClr val="tx1">
                    <a:tint val="75000"/>
                  </a:schemeClr>
                </a:solidFill>
              </a:defRPr>
            </a:lvl8pPr>
            <a:lvl9pPr marL="365605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AF264C8-0EA1-4944-A518-CC22D8D007D0}"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15907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49" y="4589523"/>
            <a:ext cx="10515600" cy="1500187"/>
          </a:xfrm>
        </p:spPr>
        <p:txBody>
          <a:bodyPr/>
          <a:lstStyle>
            <a:lvl1pPr marL="0" indent="0">
              <a:buNone/>
              <a:defRPr sz="2400">
                <a:solidFill>
                  <a:schemeClr val="tx1">
                    <a:tint val="75000"/>
                  </a:schemeClr>
                </a:solidFill>
              </a:defRPr>
            </a:lvl1pPr>
            <a:lvl2pPr marL="457007" indent="0">
              <a:buNone/>
              <a:defRPr sz="1900">
                <a:solidFill>
                  <a:schemeClr val="tx1">
                    <a:tint val="75000"/>
                  </a:schemeClr>
                </a:solidFill>
              </a:defRPr>
            </a:lvl2pPr>
            <a:lvl3pPr marL="914013" indent="0">
              <a:buNone/>
              <a:defRPr sz="1800">
                <a:solidFill>
                  <a:schemeClr val="tx1">
                    <a:tint val="75000"/>
                  </a:schemeClr>
                </a:solidFill>
              </a:defRPr>
            </a:lvl3pPr>
            <a:lvl4pPr marL="1371019" indent="0">
              <a:buNone/>
              <a:defRPr sz="1600">
                <a:solidFill>
                  <a:schemeClr val="tx1">
                    <a:tint val="75000"/>
                  </a:schemeClr>
                </a:solidFill>
              </a:defRPr>
            </a:lvl4pPr>
            <a:lvl5pPr marL="1828025" indent="0">
              <a:buNone/>
              <a:defRPr sz="1600">
                <a:solidFill>
                  <a:schemeClr val="tx1">
                    <a:tint val="75000"/>
                  </a:schemeClr>
                </a:solidFill>
              </a:defRPr>
            </a:lvl5pPr>
            <a:lvl6pPr marL="2285031" indent="0">
              <a:buNone/>
              <a:defRPr sz="1600">
                <a:solidFill>
                  <a:schemeClr val="tx1">
                    <a:tint val="75000"/>
                  </a:schemeClr>
                </a:solidFill>
              </a:defRPr>
            </a:lvl6pPr>
            <a:lvl7pPr marL="2742037" indent="0">
              <a:buNone/>
              <a:defRPr sz="1600">
                <a:solidFill>
                  <a:schemeClr val="tx1">
                    <a:tint val="75000"/>
                  </a:schemeClr>
                </a:solidFill>
              </a:defRPr>
            </a:lvl7pPr>
            <a:lvl8pPr marL="3199044" indent="0">
              <a:buNone/>
              <a:defRPr sz="1600">
                <a:solidFill>
                  <a:schemeClr val="tx1">
                    <a:tint val="75000"/>
                  </a:schemeClr>
                </a:solidFill>
              </a:defRPr>
            </a:lvl8pPr>
            <a:lvl9pPr marL="365605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F4EEDA9-3BD5-4A51-844D-E753DB5BE2EE}"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1686514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2"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3"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79C80AC-A855-4D67-8816-8C0F270322E2}" type="datetime1">
              <a:rPr lang="en-US" smtClean="0">
                <a:solidFill>
                  <a:prstClr val="black">
                    <a:tint val="75000"/>
                  </a:prstClr>
                </a:solidFill>
              </a:rPr>
              <a:p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920532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007" indent="0">
              <a:buNone/>
              <a:defRPr sz="1900" b="1"/>
            </a:lvl2pPr>
            <a:lvl3pPr marL="914013" indent="0">
              <a:buNone/>
              <a:defRPr sz="1800" b="1"/>
            </a:lvl3pPr>
            <a:lvl4pPr marL="1371019" indent="0">
              <a:buNone/>
              <a:defRPr sz="1600" b="1"/>
            </a:lvl4pPr>
            <a:lvl5pPr marL="1828025" indent="0">
              <a:buNone/>
              <a:defRPr sz="1600" b="1"/>
            </a:lvl5pPr>
            <a:lvl6pPr marL="2285031" indent="0">
              <a:buNone/>
              <a:defRPr sz="1600" b="1"/>
            </a:lvl6pPr>
            <a:lvl7pPr marL="2742037" indent="0">
              <a:buNone/>
              <a:defRPr sz="1600" b="1"/>
            </a:lvl7pPr>
            <a:lvl8pPr marL="3199044" indent="0">
              <a:buNone/>
              <a:defRPr sz="1600" b="1"/>
            </a:lvl8pPr>
            <a:lvl9pPr marL="365605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8"/>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3" y="1681163"/>
            <a:ext cx="5183187" cy="823912"/>
          </a:xfrm>
        </p:spPr>
        <p:txBody>
          <a:bodyPr anchor="b"/>
          <a:lstStyle>
            <a:lvl1pPr marL="0" indent="0">
              <a:buNone/>
              <a:defRPr sz="2400" b="1"/>
            </a:lvl1pPr>
            <a:lvl2pPr marL="457007" indent="0">
              <a:buNone/>
              <a:defRPr sz="1900" b="1"/>
            </a:lvl2pPr>
            <a:lvl3pPr marL="914013" indent="0">
              <a:buNone/>
              <a:defRPr sz="1800" b="1"/>
            </a:lvl3pPr>
            <a:lvl4pPr marL="1371019" indent="0">
              <a:buNone/>
              <a:defRPr sz="1600" b="1"/>
            </a:lvl4pPr>
            <a:lvl5pPr marL="1828025" indent="0">
              <a:buNone/>
              <a:defRPr sz="1600" b="1"/>
            </a:lvl5pPr>
            <a:lvl6pPr marL="2285031" indent="0">
              <a:buNone/>
              <a:defRPr sz="1600" b="1"/>
            </a:lvl6pPr>
            <a:lvl7pPr marL="2742037" indent="0">
              <a:buNone/>
              <a:defRPr sz="1600" b="1"/>
            </a:lvl7pPr>
            <a:lvl8pPr marL="3199044" indent="0">
              <a:buNone/>
              <a:defRPr sz="1600" b="1"/>
            </a:lvl8pPr>
            <a:lvl9pPr marL="3656050" indent="0">
              <a:buNone/>
              <a:defRPr sz="1600" b="1"/>
            </a:lvl9pPr>
          </a:lstStyle>
          <a:p>
            <a:pPr lvl="0"/>
            <a:r>
              <a:rPr lang="en-US"/>
              <a:t>Edit Master text styles</a:t>
            </a:r>
          </a:p>
        </p:txBody>
      </p:sp>
      <p:sp>
        <p:nvSpPr>
          <p:cNvPr id="6" name="Content Placeholder 5"/>
          <p:cNvSpPr>
            <a:spLocks noGrp="1"/>
          </p:cNvSpPr>
          <p:nvPr>
            <p:ph sz="quarter" idx="4"/>
          </p:nvPr>
        </p:nvSpPr>
        <p:spPr>
          <a:xfrm>
            <a:off x="6172203" y="2505078"/>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A08F69E-5C2A-4620-947D-969275BE4A01}" type="datetime1">
              <a:rPr lang="en-US" smtClean="0">
                <a:solidFill>
                  <a:prstClr val="black">
                    <a:tint val="75000"/>
                  </a:prstClr>
                </a:solidFill>
              </a:rPr>
              <a:pPr/>
              <a:t>4/30/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70143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1C3F41-B7CF-4F02-9A2A-DBAE151E6E6E}"/>
              </a:ext>
            </a:extLst>
          </p:cNvPr>
          <p:cNvGraphicFramePr>
            <a:graphicFrameLocks noChangeAspect="1"/>
          </p:cNvGraphicFramePr>
          <p:nvPr userDrawn="1">
            <p:custDataLst>
              <p:tags r:id="rId2"/>
            </p:custDataLst>
            <p:extLst>
              <p:ext uri="{D42A27DB-BD31-4B8C-83A1-F6EECF244321}">
                <p14:modId xmlns:p14="http://schemas.microsoft.com/office/powerpoint/2010/main" val="799629175"/>
              </p:ex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686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1" y="1595"/>
                        <a:ext cx="158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C2BBB7C-55A1-45DD-8160-7C767E36EC18}"/>
              </a:ext>
            </a:extLst>
          </p:cNvPr>
          <p:cNvSpPr/>
          <p:nvPr userDrawn="1">
            <p:custDataLst>
              <p:tags r:id="rId3"/>
            </p:custDataLst>
          </p:nvPr>
        </p:nvSpPr>
        <p:spPr>
          <a:xfrm>
            <a:off x="4"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013">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BCED395-4D27-4AD1-B28A-4B820DA5D09D}" type="datetime1">
              <a:rPr lang="en-US" smtClean="0">
                <a:solidFill>
                  <a:prstClr val="black">
                    <a:tint val="75000"/>
                  </a:prstClr>
                </a:solidFill>
              </a:rPr>
              <a:pPr/>
              <a:t>4/3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120426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BEEB1D1-0230-4938-AF1D-9A4A84BBB673}" type="datetime1">
              <a:rPr lang="en-US" smtClean="0">
                <a:solidFill>
                  <a:prstClr val="black">
                    <a:tint val="75000"/>
                  </a:prstClr>
                </a:solidFill>
              </a:rPr>
              <a:pPr/>
              <a:t>4/30/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560155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91" y="2057403"/>
            <a:ext cx="3932237" cy="3811588"/>
          </a:xfrm>
        </p:spPr>
        <p:txBody>
          <a:bodyPr/>
          <a:lstStyle>
            <a:lvl1pPr marL="0" indent="0">
              <a:buNone/>
              <a:defRPr sz="1600"/>
            </a:lvl1pPr>
            <a:lvl2pPr marL="457007" indent="0">
              <a:buNone/>
              <a:defRPr sz="1500"/>
            </a:lvl2pPr>
            <a:lvl3pPr marL="914013" indent="0">
              <a:buNone/>
              <a:defRPr sz="1200"/>
            </a:lvl3pPr>
            <a:lvl4pPr marL="1371019" indent="0">
              <a:buNone/>
              <a:defRPr sz="1000"/>
            </a:lvl4pPr>
            <a:lvl5pPr marL="1828025" indent="0">
              <a:buNone/>
              <a:defRPr sz="1000"/>
            </a:lvl5pPr>
            <a:lvl6pPr marL="2285031" indent="0">
              <a:buNone/>
              <a:defRPr sz="1000"/>
            </a:lvl6pPr>
            <a:lvl7pPr marL="2742037" indent="0">
              <a:buNone/>
              <a:defRPr sz="1000"/>
            </a:lvl7pPr>
            <a:lvl8pPr marL="3199044" indent="0">
              <a:buNone/>
              <a:defRPr sz="1000"/>
            </a:lvl8pPr>
            <a:lvl9pPr marL="365605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4D6A874-63FA-4521-BF4D-3737596CF7F3}" type="datetime1">
              <a:rPr lang="en-US" smtClean="0">
                <a:solidFill>
                  <a:prstClr val="black">
                    <a:tint val="75000"/>
                  </a:prstClr>
                </a:solidFill>
              </a:rPr>
              <a:p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02452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007" indent="0">
              <a:buNone/>
              <a:defRPr sz="2800"/>
            </a:lvl2pPr>
            <a:lvl3pPr marL="914013" indent="0">
              <a:buNone/>
              <a:defRPr sz="2400"/>
            </a:lvl3pPr>
            <a:lvl4pPr marL="1371019" indent="0">
              <a:buNone/>
              <a:defRPr sz="1900"/>
            </a:lvl4pPr>
            <a:lvl5pPr marL="1828025" indent="0">
              <a:buNone/>
              <a:defRPr sz="1900"/>
            </a:lvl5pPr>
            <a:lvl6pPr marL="2285031" indent="0">
              <a:buNone/>
              <a:defRPr sz="1900"/>
            </a:lvl6pPr>
            <a:lvl7pPr marL="2742037" indent="0">
              <a:buNone/>
              <a:defRPr sz="1900"/>
            </a:lvl7pPr>
            <a:lvl8pPr marL="3199044" indent="0">
              <a:buNone/>
              <a:defRPr sz="1900"/>
            </a:lvl8pPr>
            <a:lvl9pPr marL="3656050" indent="0">
              <a:buNone/>
              <a:defRPr sz="1900"/>
            </a:lvl9pPr>
          </a:lstStyle>
          <a:p>
            <a:r>
              <a:rPr lang="en-US"/>
              <a:t>Click icon to add picture</a:t>
            </a:r>
            <a:endParaRPr lang="en-US" dirty="0"/>
          </a:p>
        </p:txBody>
      </p:sp>
      <p:sp>
        <p:nvSpPr>
          <p:cNvPr id="4" name="Text Placeholder 3"/>
          <p:cNvSpPr>
            <a:spLocks noGrp="1"/>
          </p:cNvSpPr>
          <p:nvPr>
            <p:ph type="body" sz="half" idx="2"/>
          </p:nvPr>
        </p:nvSpPr>
        <p:spPr>
          <a:xfrm>
            <a:off x="839791" y="2057403"/>
            <a:ext cx="3932237" cy="3811588"/>
          </a:xfrm>
        </p:spPr>
        <p:txBody>
          <a:bodyPr/>
          <a:lstStyle>
            <a:lvl1pPr marL="0" indent="0">
              <a:buNone/>
              <a:defRPr sz="1600"/>
            </a:lvl1pPr>
            <a:lvl2pPr marL="457007" indent="0">
              <a:buNone/>
              <a:defRPr sz="1500"/>
            </a:lvl2pPr>
            <a:lvl3pPr marL="914013" indent="0">
              <a:buNone/>
              <a:defRPr sz="1200"/>
            </a:lvl3pPr>
            <a:lvl4pPr marL="1371019" indent="0">
              <a:buNone/>
              <a:defRPr sz="1000"/>
            </a:lvl4pPr>
            <a:lvl5pPr marL="1828025" indent="0">
              <a:buNone/>
              <a:defRPr sz="1000"/>
            </a:lvl5pPr>
            <a:lvl6pPr marL="2285031" indent="0">
              <a:buNone/>
              <a:defRPr sz="1000"/>
            </a:lvl6pPr>
            <a:lvl7pPr marL="2742037" indent="0">
              <a:buNone/>
              <a:defRPr sz="1000"/>
            </a:lvl7pPr>
            <a:lvl8pPr marL="3199044" indent="0">
              <a:buNone/>
              <a:defRPr sz="1000"/>
            </a:lvl8pPr>
            <a:lvl9pPr marL="365605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4D04037-3A30-431D-954D-EF187513703C}" type="datetime1">
              <a:rPr lang="en-US" smtClean="0">
                <a:solidFill>
                  <a:prstClr val="black">
                    <a:tint val="75000"/>
                  </a:prstClr>
                </a:solidFill>
              </a:rPr>
              <a:p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19080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3635340-7C07-4E6A-BEB6-78008E9BB0E2}"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557359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3"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CDD63A7-A6F5-437B-9093-55D330282C01}"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992127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9676972"/>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6707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ltGray">
          <a:xfrm>
            <a:off x="2161" y="-1"/>
            <a:ext cx="12187680" cy="6858001"/>
          </a:xfrm>
          <a:prstGeom prst="rect">
            <a:avLst/>
          </a:prstGeom>
        </p:spPr>
      </p:pic>
      <p:sp>
        <p:nvSpPr>
          <p:cNvPr id="17" name="Rectangle 16"/>
          <p:cNvSpPr/>
          <p:nvPr userDrawn="1"/>
        </p:nvSpPr>
        <p:spPr bwMode="ltGray">
          <a:xfrm>
            <a:off x="3390152" y="1086040"/>
            <a:ext cx="8801489" cy="2995717"/>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063" tIns="55532" rIns="111063" bIns="55532" rtlCol="0" anchor="ctr"/>
          <a:lstStyle/>
          <a:p>
            <a:pPr algn="ctr" defTabSz="914400" fontAlgn="base">
              <a:spcBef>
                <a:spcPct val="0"/>
              </a:spcBef>
              <a:spcAft>
                <a:spcPct val="0"/>
              </a:spcAft>
            </a:pPr>
            <a:endParaRPr lang="en-US" sz="2200" dirty="0" err="1">
              <a:solidFill>
                <a:srgbClr val="1F1F1F"/>
              </a:solidFill>
            </a:endParaRPr>
          </a:p>
        </p:txBody>
      </p:sp>
      <p:sp>
        <p:nvSpPr>
          <p:cNvPr id="19" name="Rectangle 1189"/>
          <p:cNvSpPr>
            <a:spLocks noChangeArrowheads="1"/>
          </p:cNvSpPr>
          <p:nvPr userDrawn="1"/>
        </p:nvSpPr>
        <p:spPr bwMode="auto">
          <a:xfrm>
            <a:off x="1" y="1"/>
            <a:ext cx="1218768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1063" tIns="55532" rIns="111063" bIns="55532" anchor="ctr"/>
          <a:lstStyle/>
          <a:p>
            <a:pPr defTabSz="914400" fontAlgn="base">
              <a:spcBef>
                <a:spcPct val="0"/>
              </a:spcBef>
              <a:spcAft>
                <a:spcPct val="0"/>
              </a:spcAft>
            </a:pPr>
            <a:endParaRPr lang="en-US" dirty="0">
              <a:solidFill>
                <a:srgbClr val="1F1F1F"/>
              </a:solidFill>
            </a:endParaRPr>
          </a:p>
        </p:txBody>
      </p:sp>
      <p:sp>
        <p:nvSpPr>
          <p:cNvPr id="4" name="Working Draft Text"/>
          <p:cNvSpPr txBox="1">
            <a:spLocks noChangeArrowheads="1"/>
          </p:cNvSpPr>
          <p:nvPr/>
        </p:nvSpPr>
        <p:spPr bwMode="auto">
          <a:xfrm>
            <a:off x="3390152" y="126143"/>
            <a:ext cx="12166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100" b="1" dirty="0">
                <a:solidFill>
                  <a:srgbClr val="FFFFFF"/>
                </a:solidFill>
                <a:latin typeface="Arial"/>
              </a:rPr>
              <a:t>WORKING DRAFT</a:t>
            </a:r>
          </a:p>
        </p:txBody>
      </p:sp>
      <p:sp>
        <p:nvSpPr>
          <p:cNvPr id="6" name="Working Draft"/>
          <p:cNvSpPr txBox="1">
            <a:spLocks noChangeArrowheads="1"/>
          </p:cNvSpPr>
          <p:nvPr/>
        </p:nvSpPr>
        <p:spPr bwMode="auto">
          <a:xfrm>
            <a:off x="3390152" y="284878"/>
            <a:ext cx="4211089"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100">
                <a:solidFill>
                  <a:srgbClr val="FFFFFF"/>
                </a:solidFill>
                <a:latin typeface="Arial"/>
              </a:rPr>
              <a:t>Last Modified 2017/10/17 6:26 PM W. Central Africa Standard Time</a:t>
            </a:r>
            <a:endParaRPr lang="en-US" sz="1100" dirty="0">
              <a:solidFill>
                <a:srgbClr val="FFFFFF"/>
              </a:solidFill>
              <a:latin typeface="Arial"/>
            </a:endParaRPr>
          </a:p>
        </p:txBody>
      </p:sp>
      <p:sp>
        <p:nvSpPr>
          <p:cNvPr id="7" name="Printed"/>
          <p:cNvSpPr txBox="1">
            <a:spLocks noChangeArrowheads="1"/>
          </p:cNvSpPr>
          <p:nvPr/>
        </p:nvSpPr>
        <p:spPr bwMode="auto">
          <a:xfrm>
            <a:off x="3390152" y="445233"/>
            <a:ext cx="44723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100" dirty="0">
                <a:solidFill>
                  <a:srgbClr val="FFFFFF"/>
                </a:solidFill>
                <a:latin typeface="Arial"/>
              </a:rPr>
              <a:t>Printed</a:t>
            </a:r>
          </a:p>
        </p:txBody>
      </p:sp>
      <p:grpSp>
        <p:nvGrpSpPr>
          <p:cNvPr id="8" name="Title Elements" hidden="1"/>
          <p:cNvGrpSpPr>
            <a:grpSpLocks/>
          </p:cNvGrpSpPr>
          <p:nvPr/>
        </p:nvGrpSpPr>
        <p:grpSpPr bwMode="auto">
          <a:xfrm>
            <a:off x="3591728" y="3386879"/>
            <a:ext cx="4799047" cy="578249"/>
            <a:chOff x="1663" y="3080"/>
            <a:chExt cx="2222" cy="357"/>
          </a:xfrm>
        </p:grpSpPr>
        <p:sp>
          <p:nvSpPr>
            <p:cNvPr id="9" name="Title Elements"/>
            <p:cNvSpPr txBox="1">
              <a:spLocks noChangeArrowheads="1"/>
            </p:cNvSpPr>
            <p:nvPr/>
          </p:nvSpPr>
          <p:spPr bwMode="auto">
            <a:xfrm>
              <a:off x="1663" y="3080"/>
              <a:ext cx="2222"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700" dirty="0">
                  <a:solidFill>
                    <a:srgbClr val="1F1F1F"/>
                  </a:solidFill>
                  <a:latin typeface="Arial"/>
                </a:rPr>
                <a:t>Document type</a:t>
              </a:r>
            </a:p>
          </p:txBody>
        </p:sp>
        <p:sp>
          <p:nvSpPr>
            <p:cNvPr id="10" name="Title Elements"/>
            <p:cNvSpPr txBox="1">
              <a:spLocks noChangeArrowheads="1"/>
            </p:cNvSpPr>
            <p:nvPr/>
          </p:nvSpPr>
          <p:spPr bwMode="auto">
            <a:xfrm>
              <a:off x="1663" y="3275"/>
              <a:ext cx="2222"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700" dirty="0">
                  <a:solidFill>
                    <a:srgbClr val="1F1F1F"/>
                  </a:solidFill>
                  <a:latin typeface="Arial"/>
                </a:rPr>
                <a:t>Date</a:t>
              </a:r>
            </a:p>
          </p:txBody>
        </p:sp>
      </p:grpSp>
      <p:sp>
        <p:nvSpPr>
          <p:cNvPr id="13314" name="Rectangle 1026"/>
          <p:cNvSpPr>
            <a:spLocks noGrp="1" noChangeArrowheads="1"/>
          </p:cNvSpPr>
          <p:nvPr>
            <p:ph type="ctrTitle"/>
          </p:nvPr>
        </p:nvSpPr>
        <p:spPr bwMode="auto">
          <a:xfrm>
            <a:off x="3591727" y="1196724"/>
            <a:ext cx="8297730" cy="600164"/>
          </a:xfrm>
          <a:prstGeom prst="rect">
            <a:avLst/>
          </a:prstGeom>
        </p:spPr>
        <p:txBody>
          <a:bodyPr wrap="square">
            <a:spAutoFit/>
          </a:bodyPr>
          <a:lstStyle>
            <a:lvl1pPr>
              <a:defRPr sz="3900" b="0" baseline="0">
                <a:solidFill>
                  <a:schemeClr val="tx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3591727" y="2454174"/>
            <a:ext cx="8297730" cy="261610"/>
          </a:xfrm>
        </p:spPr>
        <p:txBody>
          <a:bodyPr wrap="square">
            <a:spAutoFit/>
          </a:bodyPr>
          <a:lstStyle>
            <a:lvl1pPr>
              <a:defRPr sz="1700" baseline="0">
                <a:solidFill>
                  <a:schemeClr val="tx1"/>
                </a:solidFill>
                <a:latin typeface="+mn-lt"/>
                <a:ea typeface="+mn-ea"/>
              </a:defRPr>
            </a:lvl1pPr>
          </a:lstStyle>
          <a:p>
            <a:pPr lvl="0"/>
            <a:r>
              <a:rPr lang="en-US" noProof="0"/>
              <a:t>Click to edit Master subtitle style</a:t>
            </a:r>
            <a:endParaRPr lang="en-US" noProof="0" dirty="0"/>
          </a:p>
        </p:txBody>
      </p:sp>
      <p:sp>
        <p:nvSpPr>
          <p:cNvPr id="15" name="doc id"/>
          <p:cNvSpPr>
            <a:spLocks noChangeArrowheads="1"/>
          </p:cNvSpPr>
          <p:nvPr userDrawn="1"/>
        </p:nvSpPr>
        <p:spPr bwMode="auto">
          <a:xfrm>
            <a:off x="11064592"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087492" fontAlgn="base">
              <a:spcBef>
                <a:spcPct val="0"/>
              </a:spcBef>
              <a:spcAft>
                <a:spcPct val="0"/>
              </a:spcAft>
            </a:pPr>
            <a:endParaRPr lang="en-US" sz="1000" dirty="0">
              <a:solidFill>
                <a:srgbClr val="FFFFFF"/>
              </a:solidFill>
            </a:endParaRPr>
          </a:p>
        </p:txBody>
      </p:sp>
    </p:spTree>
    <p:extLst>
      <p:ext uri="{BB962C8B-B14F-4D97-AF65-F5344CB8AC3E}">
        <p14:creationId xmlns:p14="http://schemas.microsoft.com/office/powerpoint/2010/main" val="29112174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50932911"/>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671757"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3713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2"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3"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6E007898-6867-4560-B628-48CFA55697CE}" type="datetime1">
              <a:rPr lang="en-US" smtClean="0">
                <a:solidFill>
                  <a:prstClr val="black"/>
                </a:solidFill>
              </a:rPr>
              <a:t>4/30/2019</a:t>
            </a:fld>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prstClr val="black"/>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81015868"/>
      </p:ext>
    </p:extLst>
  </p:cSld>
  <p:clrMapOvr>
    <a:masterClrMapping/>
  </p:clrMapOvr>
  <p:extLst mod="1">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18999307"/>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spid="_x0000_s6727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1"/>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8"/>
            <a:ext cx="2743201" cy="365125"/>
          </a:xfrm>
          <a:prstGeom prst="rect">
            <a:avLst/>
          </a:prstGeom>
        </p:spPr>
        <p:txBody>
          <a:bodyPr lIns="111063" tIns="55532" rIns="111063" bIns="55532"/>
          <a:lstStyle/>
          <a:p>
            <a:pPr defTabSz="914400" fontAlgn="base">
              <a:spcBef>
                <a:spcPct val="0"/>
              </a:spcBef>
              <a:spcAft>
                <a:spcPct val="0"/>
              </a:spcAft>
            </a:pPr>
            <a:fld id="{2CA19E67-C639-444B-B146-A806802EF2CF}" type="datetimeFigureOut">
              <a:rPr lang="en-US">
                <a:solidFill>
                  <a:prstClr val="black"/>
                </a:solidFill>
              </a:rPr>
              <a:pPr defTabSz="914400" fontAlgn="base">
                <a:spcBef>
                  <a:spcPct val="0"/>
                </a:spcBef>
                <a:spcAft>
                  <a:spcPct val="0"/>
                </a:spcAft>
              </a:pPr>
              <a:t>4/30/2019</a:t>
            </a:fld>
            <a:endParaRPr lang="en-US">
              <a:solidFill>
                <a:prstClr val="black"/>
              </a:solidFill>
            </a:endParaRPr>
          </a:p>
        </p:txBody>
      </p:sp>
      <p:sp>
        <p:nvSpPr>
          <p:cNvPr id="5" name="Footer Placeholder 4"/>
          <p:cNvSpPr>
            <a:spLocks noGrp="1"/>
          </p:cNvSpPr>
          <p:nvPr>
            <p:ph type="ftr" sz="quarter" idx="11"/>
          </p:nvPr>
        </p:nvSpPr>
        <p:spPr>
          <a:xfrm>
            <a:off x="4038601" y="6356358"/>
            <a:ext cx="4114800" cy="365125"/>
          </a:xfrm>
          <a:prstGeom prst="rect">
            <a:avLst/>
          </a:prstGeom>
        </p:spPr>
        <p:txBody>
          <a:bodyPr lIns="111063" tIns="55532" rIns="111063" bIns="55532"/>
          <a:lstStyle/>
          <a:p>
            <a:pPr defTabSz="914400" fontAlgn="base">
              <a:spcBef>
                <a:spcPct val="0"/>
              </a:spcBef>
              <a:spcAft>
                <a:spcPct val="0"/>
              </a:spcAft>
            </a:pPr>
            <a:endParaRPr lang="en-US">
              <a:solidFill>
                <a:prstClr val="black"/>
              </a:solidFill>
            </a:endParaRPr>
          </a:p>
        </p:txBody>
      </p:sp>
      <p:sp>
        <p:nvSpPr>
          <p:cNvPr id="6" name="Slide Number Placeholder 5"/>
          <p:cNvSpPr>
            <a:spLocks noGrp="1"/>
          </p:cNvSpPr>
          <p:nvPr>
            <p:ph type="sldNum" sz="quarter" idx="12"/>
          </p:nvPr>
        </p:nvSpPr>
        <p:spPr>
          <a:xfrm>
            <a:off x="8610599" y="6356358"/>
            <a:ext cx="2743201" cy="365125"/>
          </a:xfrm>
          <a:prstGeom prst="rect">
            <a:avLst/>
          </a:prstGeom>
        </p:spPr>
        <p:txBody>
          <a:bodyPr lIns="111063" tIns="55532" rIns="111063" bIns="55532"/>
          <a:lstStyle/>
          <a:p>
            <a:pPr defTabSz="914400" fontAlgn="base">
              <a:spcBef>
                <a:spcPct val="0"/>
              </a:spcBef>
              <a:spcAft>
                <a:spcPct val="0"/>
              </a:spcAft>
            </a:pPr>
            <a:fld id="{978E596B-AA80-4BB2-8707-B351070E738D}" type="slidenum">
              <a:rPr lang="en-US">
                <a:solidFill>
                  <a:prstClr val="black"/>
                </a:solidFill>
              </a:rPr>
              <a:pPr defTabSz="914400" fontAlgn="base">
                <a:spcBef>
                  <a:spcPct val="0"/>
                </a:spcBef>
                <a:spcAft>
                  <a:spcPct val="0"/>
                </a:spcAft>
              </a:pPr>
              <a:t>‹#›</a:t>
            </a:fld>
            <a:endParaRPr lang="en-US">
              <a:solidFill>
                <a:prstClr val="black"/>
              </a:solidFill>
            </a:endParaRPr>
          </a:p>
        </p:txBody>
      </p:sp>
    </p:spTree>
    <p:extLst>
      <p:ext uri="{BB962C8B-B14F-4D97-AF65-F5344CB8AC3E}">
        <p14:creationId xmlns:p14="http://schemas.microsoft.com/office/powerpoint/2010/main" val="308751172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64" y="2439170"/>
            <a:ext cx="10516004" cy="2123658"/>
          </a:xfrm>
        </p:spPr>
        <p:txBody>
          <a:bodyPr anchor="b"/>
          <a:lstStyle>
            <a:lvl1pPr>
              <a:defRPr sz="6900"/>
            </a:lvl1pPr>
          </a:lstStyle>
          <a:p>
            <a:r>
              <a:rPr lang="en-US"/>
              <a:t>Click to edit Master title style</a:t>
            </a:r>
          </a:p>
        </p:txBody>
      </p:sp>
      <p:sp>
        <p:nvSpPr>
          <p:cNvPr id="3" name="Text Placeholder 2"/>
          <p:cNvSpPr>
            <a:spLocks noGrp="1"/>
          </p:cNvSpPr>
          <p:nvPr>
            <p:ph type="body" idx="1"/>
          </p:nvPr>
        </p:nvSpPr>
        <p:spPr>
          <a:xfrm>
            <a:off x="831664" y="4589034"/>
            <a:ext cx="10516004" cy="415498"/>
          </a:xfrm>
        </p:spPr>
        <p:txBody>
          <a:bodyPr/>
          <a:lstStyle>
            <a:lvl1pPr marL="0" indent="0">
              <a:buNone/>
              <a:defRPr sz="2700"/>
            </a:lvl1pPr>
            <a:lvl2pPr marL="528623" indent="0">
              <a:buNone/>
              <a:defRPr sz="2400"/>
            </a:lvl2pPr>
            <a:lvl3pPr marL="1057246" indent="0">
              <a:buNone/>
              <a:defRPr sz="2100"/>
            </a:lvl3pPr>
            <a:lvl4pPr marL="1585856" indent="0">
              <a:buNone/>
              <a:defRPr sz="1800"/>
            </a:lvl4pPr>
            <a:lvl5pPr marL="2114487" indent="0">
              <a:buNone/>
              <a:defRPr sz="1800"/>
            </a:lvl5pPr>
            <a:lvl6pPr marL="2643114" indent="0">
              <a:buNone/>
              <a:defRPr sz="1800"/>
            </a:lvl6pPr>
            <a:lvl7pPr marL="3171731" indent="0">
              <a:buNone/>
              <a:defRPr sz="1800"/>
            </a:lvl7pPr>
            <a:lvl8pPr marL="3700353" indent="0">
              <a:buNone/>
              <a:defRPr sz="1800"/>
            </a:lvl8pPr>
            <a:lvl9pPr marL="4228980" indent="0">
              <a:buNone/>
              <a:defRPr sz="1800"/>
            </a:lvl9pPr>
          </a:lstStyle>
          <a:p>
            <a:pPr lvl="0"/>
            <a:r>
              <a:rPr lang="en-US"/>
              <a:t>Click to edit Master text styles</a:t>
            </a:r>
          </a:p>
        </p:txBody>
      </p:sp>
    </p:spTree>
    <p:extLst>
      <p:ext uri="{BB962C8B-B14F-4D97-AF65-F5344CB8AC3E}">
        <p14:creationId xmlns:p14="http://schemas.microsoft.com/office/powerpoint/2010/main" val="427507209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9B343-2453-43E9-8195-73A98301B0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x-none"/>
          </a:p>
        </p:txBody>
      </p:sp>
      <p:sp>
        <p:nvSpPr>
          <p:cNvPr id="3" name="Subtitle 2">
            <a:extLst>
              <a:ext uri="{FF2B5EF4-FFF2-40B4-BE49-F238E27FC236}">
                <a16:creationId xmlns:a16="http://schemas.microsoft.com/office/drawing/2014/main" id="{D790FD80-C43E-4604-AADA-1CE14B3333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x-none"/>
          </a:p>
        </p:txBody>
      </p:sp>
      <p:sp>
        <p:nvSpPr>
          <p:cNvPr id="4" name="Date Placeholder 3">
            <a:extLst>
              <a:ext uri="{FF2B5EF4-FFF2-40B4-BE49-F238E27FC236}">
                <a16:creationId xmlns:a16="http://schemas.microsoft.com/office/drawing/2014/main" id="{F95AFFB9-358F-4A63-AB13-8431FCF649CD}"/>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65333D52-93A2-4911-B72E-26B8853FF1C1}"/>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551B1424-596E-48C0-93F9-C56F534859D4}"/>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374833189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9F47E-B745-47C5-B646-7B23CF898A59}"/>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F58ED41D-0DBD-490A-8A43-B20B8631CB9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37E022CB-6CCA-40CF-AD22-E142D7F03BB0}"/>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D1DB1E2E-C51C-4377-B77E-6CF9A07DDD14}"/>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8D1F9CC3-7EB7-419C-B245-5DF83395CA0D}"/>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3613872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77BB4-6EC1-4411-A30F-E5CED8A9E56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id="{CF629ABD-4AFC-4B2E-8831-565FD791A69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55D003C-A49A-4F6A-847C-B3B44C97C32B}"/>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8010EC18-09CE-4846-BEA5-D4740E191F17}"/>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A11FDB46-45EE-4368-8DE5-E73206B24A74}"/>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4917534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0B8FE-2DFB-4A8E-B829-569A93482048}"/>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7996512C-6D02-4791-BB8A-3BA8C29FD02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id="{51060735-BCFA-4B1F-9BA5-160F40DE294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id="{2C834A32-EE87-4459-B961-47DA13F773A9}"/>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6" name="Footer Placeholder 5">
            <a:extLst>
              <a:ext uri="{FF2B5EF4-FFF2-40B4-BE49-F238E27FC236}">
                <a16:creationId xmlns:a16="http://schemas.microsoft.com/office/drawing/2014/main" id="{B0ACE846-7D61-498E-A4B0-6F8056D74DEC}"/>
              </a:ext>
            </a:extLst>
          </p:cNvPr>
          <p:cNvSpPr>
            <a:spLocks noGrp="1"/>
          </p:cNvSpPr>
          <p:nvPr>
            <p:ph type="ftr" sz="quarter" idx="11"/>
          </p:nvPr>
        </p:nvSpPr>
        <p:spPr/>
        <p:txBody>
          <a:bodyPr/>
          <a:lstStyle/>
          <a:p>
            <a:endParaRPr lang="x-none">
              <a:solidFill>
                <a:prstClr val="black">
                  <a:tint val="75000"/>
                </a:prstClr>
              </a:solidFill>
            </a:endParaRPr>
          </a:p>
        </p:txBody>
      </p:sp>
      <p:sp>
        <p:nvSpPr>
          <p:cNvPr id="7" name="Slide Number Placeholder 6">
            <a:extLst>
              <a:ext uri="{FF2B5EF4-FFF2-40B4-BE49-F238E27FC236}">
                <a16:creationId xmlns:a16="http://schemas.microsoft.com/office/drawing/2014/main" id="{3C9841F2-C438-4B52-9C12-FD8B8F2F97BE}"/>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234032457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69BD8-BEAF-46A5-800D-31A971FB1D0A}"/>
              </a:ext>
            </a:extLst>
          </p:cNvPr>
          <p:cNvSpPr>
            <a:spLocks noGrp="1"/>
          </p:cNvSpPr>
          <p:nvPr>
            <p:ph type="title"/>
          </p:nvPr>
        </p:nvSpPr>
        <p:spPr>
          <a:xfrm>
            <a:off x="839788" y="365125"/>
            <a:ext cx="10515600" cy="1325563"/>
          </a:xfrm>
        </p:spPr>
        <p:txBody>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A513C9C5-89F6-4313-943B-749563FE691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122A208-E256-4798-852F-E4B12CF3660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id="{E63E232E-97EA-44F0-A66F-95F8A62C61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5AD11E7-50AF-4C28-ADE3-8F00BF6002C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id="{99DE448C-830B-4010-A351-521E2E4EC3E0}"/>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8" name="Footer Placeholder 7">
            <a:extLst>
              <a:ext uri="{FF2B5EF4-FFF2-40B4-BE49-F238E27FC236}">
                <a16:creationId xmlns:a16="http://schemas.microsoft.com/office/drawing/2014/main" id="{4CF403E9-282E-468A-A3E5-243FC8511C06}"/>
              </a:ext>
            </a:extLst>
          </p:cNvPr>
          <p:cNvSpPr>
            <a:spLocks noGrp="1"/>
          </p:cNvSpPr>
          <p:nvPr>
            <p:ph type="ftr" sz="quarter" idx="11"/>
          </p:nvPr>
        </p:nvSpPr>
        <p:spPr/>
        <p:txBody>
          <a:bodyPr/>
          <a:lstStyle/>
          <a:p>
            <a:endParaRPr lang="x-none">
              <a:solidFill>
                <a:prstClr val="black">
                  <a:tint val="75000"/>
                </a:prstClr>
              </a:solidFill>
            </a:endParaRPr>
          </a:p>
        </p:txBody>
      </p:sp>
      <p:sp>
        <p:nvSpPr>
          <p:cNvPr id="9" name="Slide Number Placeholder 8">
            <a:extLst>
              <a:ext uri="{FF2B5EF4-FFF2-40B4-BE49-F238E27FC236}">
                <a16:creationId xmlns:a16="http://schemas.microsoft.com/office/drawing/2014/main" id="{BDFACD3A-72B8-44E5-A928-3D999DC87737}"/>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37701132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9618C-1A5E-41AE-BEA0-6CCB2B295662}"/>
              </a:ext>
            </a:extLst>
          </p:cNvPr>
          <p:cNvSpPr>
            <a:spLocks noGrp="1"/>
          </p:cNvSpPr>
          <p:nvPr>
            <p:ph type="title"/>
          </p:nvPr>
        </p:nvSpPr>
        <p:spPr/>
        <p:txBody>
          <a:bodyPr/>
          <a:lstStyle/>
          <a:p>
            <a:r>
              <a:rPr lang="en-US"/>
              <a:t>Click to edit Master title style</a:t>
            </a:r>
            <a:endParaRPr lang="x-none"/>
          </a:p>
        </p:txBody>
      </p:sp>
      <p:sp>
        <p:nvSpPr>
          <p:cNvPr id="3" name="Date Placeholder 2">
            <a:extLst>
              <a:ext uri="{FF2B5EF4-FFF2-40B4-BE49-F238E27FC236}">
                <a16:creationId xmlns:a16="http://schemas.microsoft.com/office/drawing/2014/main" id="{76B23A65-569B-4636-9796-126E45382516}"/>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4" name="Footer Placeholder 3">
            <a:extLst>
              <a:ext uri="{FF2B5EF4-FFF2-40B4-BE49-F238E27FC236}">
                <a16:creationId xmlns:a16="http://schemas.microsoft.com/office/drawing/2014/main" id="{65C57FF3-0F84-406D-A503-9EBB30ECBBA0}"/>
              </a:ext>
            </a:extLst>
          </p:cNvPr>
          <p:cNvSpPr>
            <a:spLocks noGrp="1"/>
          </p:cNvSpPr>
          <p:nvPr>
            <p:ph type="ftr" sz="quarter" idx="11"/>
          </p:nvPr>
        </p:nvSpPr>
        <p:spPr/>
        <p:txBody>
          <a:bodyPr/>
          <a:lstStyle/>
          <a:p>
            <a:endParaRPr lang="x-none">
              <a:solidFill>
                <a:prstClr val="black">
                  <a:tint val="75000"/>
                </a:prstClr>
              </a:solidFill>
            </a:endParaRPr>
          </a:p>
        </p:txBody>
      </p:sp>
      <p:sp>
        <p:nvSpPr>
          <p:cNvPr id="5" name="Slide Number Placeholder 4">
            <a:extLst>
              <a:ext uri="{FF2B5EF4-FFF2-40B4-BE49-F238E27FC236}">
                <a16:creationId xmlns:a16="http://schemas.microsoft.com/office/drawing/2014/main" id="{D0A64D6F-A533-4D7D-BDA7-BAEAD151A2E5}"/>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347465954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CAE6EE-65A5-4D5E-93C7-63C81C0751CE}"/>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3" name="Footer Placeholder 2">
            <a:extLst>
              <a:ext uri="{FF2B5EF4-FFF2-40B4-BE49-F238E27FC236}">
                <a16:creationId xmlns:a16="http://schemas.microsoft.com/office/drawing/2014/main" id="{5878ADD2-4A75-4AEC-A102-8C50414B7E04}"/>
              </a:ext>
            </a:extLst>
          </p:cNvPr>
          <p:cNvSpPr>
            <a:spLocks noGrp="1"/>
          </p:cNvSpPr>
          <p:nvPr>
            <p:ph type="ftr" sz="quarter" idx="11"/>
          </p:nvPr>
        </p:nvSpPr>
        <p:spPr/>
        <p:txBody>
          <a:bodyPr/>
          <a:lstStyle/>
          <a:p>
            <a:endParaRPr lang="x-none">
              <a:solidFill>
                <a:prstClr val="black">
                  <a:tint val="75000"/>
                </a:prstClr>
              </a:solidFill>
            </a:endParaRPr>
          </a:p>
        </p:txBody>
      </p:sp>
      <p:sp>
        <p:nvSpPr>
          <p:cNvPr id="4" name="Slide Number Placeholder 3">
            <a:extLst>
              <a:ext uri="{FF2B5EF4-FFF2-40B4-BE49-F238E27FC236}">
                <a16:creationId xmlns:a16="http://schemas.microsoft.com/office/drawing/2014/main" id="{3D4E2391-A1E2-4948-89D7-C3A2CF571972}"/>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42304073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4481E-9886-455F-A196-12DC383EEE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2B94F021-7F7E-4277-91F6-F9EA3E7CE64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id="{E5741220-6A92-4171-AF5C-210E92F194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3A5FD80-285A-4F38-9091-F3475BDCD12A}"/>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6" name="Footer Placeholder 5">
            <a:extLst>
              <a:ext uri="{FF2B5EF4-FFF2-40B4-BE49-F238E27FC236}">
                <a16:creationId xmlns:a16="http://schemas.microsoft.com/office/drawing/2014/main" id="{9BB793A5-A623-4FD3-9C47-D3CFDEA2C2F9}"/>
              </a:ext>
            </a:extLst>
          </p:cNvPr>
          <p:cNvSpPr>
            <a:spLocks noGrp="1"/>
          </p:cNvSpPr>
          <p:nvPr>
            <p:ph type="ftr" sz="quarter" idx="11"/>
          </p:nvPr>
        </p:nvSpPr>
        <p:spPr/>
        <p:txBody>
          <a:bodyPr/>
          <a:lstStyle/>
          <a:p>
            <a:endParaRPr lang="x-none">
              <a:solidFill>
                <a:prstClr val="black">
                  <a:tint val="75000"/>
                </a:prstClr>
              </a:solidFill>
            </a:endParaRPr>
          </a:p>
        </p:txBody>
      </p:sp>
      <p:sp>
        <p:nvSpPr>
          <p:cNvPr id="7" name="Slide Number Placeholder 6">
            <a:extLst>
              <a:ext uri="{FF2B5EF4-FFF2-40B4-BE49-F238E27FC236}">
                <a16:creationId xmlns:a16="http://schemas.microsoft.com/office/drawing/2014/main" id="{9358D031-CE68-4A00-80B9-25243B421449}"/>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37117115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007" indent="0">
              <a:buNone/>
              <a:defRPr sz="1900" b="1"/>
            </a:lvl2pPr>
            <a:lvl3pPr marL="914013" indent="0">
              <a:buNone/>
              <a:defRPr sz="1800" b="1"/>
            </a:lvl3pPr>
            <a:lvl4pPr marL="1371019" indent="0">
              <a:buNone/>
              <a:defRPr sz="1600" b="1"/>
            </a:lvl4pPr>
            <a:lvl5pPr marL="1828025" indent="0">
              <a:buNone/>
              <a:defRPr sz="1600" b="1"/>
            </a:lvl5pPr>
            <a:lvl6pPr marL="2285031" indent="0">
              <a:buNone/>
              <a:defRPr sz="1600" b="1"/>
            </a:lvl6pPr>
            <a:lvl7pPr marL="2742037" indent="0">
              <a:buNone/>
              <a:defRPr sz="1600" b="1"/>
            </a:lvl7pPr>
            <a:lvl8pPr marL="3199044" indent="0">
              <a:buNone/>
              <a:defRPr sz="1600" b="1"/>
            </a:lvl8pPr>
            <a:lvl9pPr marL="365605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8"/>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3" y="1681163"/>
            <a:ext cx="5183187" cy="823912"/>
          </a:xfrm>
        </p:spPr>
        <p:txBody>
          <a:bodyPr anchor="b"/>
          <a:lstStyle>
            <a:lvl1pPr marL="0" indent="0">
              <a:buNone/>
              <a:defRPr sz="2400" b="1"/>
            </a:lvl1pPr>
            <a:lvl2pPr marL="457007" indent="0">
              <a:buNone/>
              <a:defRPr sz="1900" b="1"/>
            </a:lvl2pPr>
            <a:lvl3pPr marL="914013" indent="0">
              <a:buNone/>
              <a:defRPr sz="1800" b="1"/>
            </a:lvl3pPr>
            <a:lvl4pPr marL="1371019" indent="0">
              <a:buNone/>
              <a:defRPr sz="1600" b="1"/>
            </a:lvl4pPr>
            <a:lvl5pPr marL="1828025" indent="0">
              <a:buNone/>
              <a:defRPr sz="1600" b="1"/>
            </a:lvl5pPr>
            <a:lvl6pPr marL="2285031" indent="0">
              <a:buNone/>
              <a:defRPr sz="1600" b="1"/>
            </a:lvl6pPr>
            <a:lvl7pPr marL="2742037" indent="0">
              <a:buNone/>
              <a:defRPr sz="1600" b="1"/>
            </a:lvl7pPr>
            <a:lvl8pPr marL="3199044" indent="0">
              <a:buNone/>
              <a:defRPr sz="1600" b="1"/>
            </a:lvl8pPr>
            <a:lvl9pPr marL="3656050" indent="0">
              <a:buNone/>
              <a:defRPr sz="1600" b="1"/>
            </a:lvl9pPr>
          </a:lstStyle>
          <a:p>
            <a:pPr lvl="0"/>
            <a:r>
              <a:rPr lang="en-US"/>
              <a:t>Edit Master text styles</a:t>
            </a:r>
          </a:p>
        </p:txBody>
      </p:sp>
      <p:sp>
        <p:nvSpPr>
          <p:cNvPr id="6" name="Content Placeholder 5"/>
          <p:cNvSpPr>
            <a:spLocks noGrp="1"/>
          </p:cNvSpPr>
          <p:nvPr>
            <p:ph sz="quarter" idx="4"/>
          </p:nvPr>
        </p:nvSpPr>
        <p:spPr>
          <a:xfrm>
            <a:off x="6172203" y="2505078"/>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BB08600-A308-4CF4-86A9-D8EE02111F1B}" type="datetime1">
              <a:rPr lang="en-US" smtClean="0">
                <a:solidFill>
                  <a:prstClr val="black"/>
                </a:solidFill>
              </a:rPr>
              <a:t>4/30/2019</a:t>
            </a:fld>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prstClr val="black"/>
              </a:solidFill>
            </a:endParaRPr>
          </a:p>
        </p:txBody>
      </p:sp>
      <p:sp>
        <p:nvSpPr>
          <p:cNvPr id="9" name="Slide Number Placeholder 8"/>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97335530"/>
      </p:ext>
    </p:extLst>
  </p:cSld>
  <p:clrMapOvr>
    <a:masterClrMapping/>
  </p:clrMapOvr>
  <p:extLst mod="1">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F19E7-0C6B-4C22-8F36-584AA3344B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id="{5BAAD192-CA2B-47B9-8344-F6D91C95C2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id="{8355C199-7D45-44A0-BD6D-1789CF2E23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4601B26-4124-4DD3-BCA8-26A11753F372}"/>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6" name="Footer Placeholder 5">
            <a:extLst>
              <a:ext uri="{FF2B5EF4-FFF2-40B4-BE49-F238E27FC236}">
                <a16:creationId xmlns:a16="http://schemas.microsoft.com/office/drawing/2014/main" id="{6208371B-A2B1-42A5-BE1A-EF2E7475B335}"/>
              </a:ext>
            </a:extLst>
          </p:cNvPr>
          <p:cNvSpPr>
            <a:spLocks noGrp="1"/>
          </p:cNvSpPr>
          <p:nvPr>
            <p:ph type="ftr" sz="quarter" idx="11"/>
          </p:nvPr>
        </p:nvSpPr>
        <p:spPr/>
        <p:txBody>
          <a:bodyPr/>
          <a:lstStyle/>
          <a:p>
            <a:endParaRPr lang="x-none">
              <a:solidFill>
                <a:prstClr val="black">
                  <a:tint val="75000"/>
                </a:prstClr>
              </a:solidFill>
            </a:endParaRPr>
          </a:p>
        </p:txBody>
      </p:sp>
      <p:sp>
        <p:nvSpPr>
          <p:cNvPr id="7" name="Slide Number Placeholder 6">
            <a:extLst>
              <a:ext uri="{FF2B5EF4-FFF2-40B4-BE49-F238E27FC236}">
                <a16:creationId xmlns:a16="http://schemas.microsoft.com/office/drawing/2014/main" id="{54DE23E2-E492-4A26-93F4-A82C1FE1DBC8}"/>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30821143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87A9C-AD64-4223-ABB0-397A97397809}"/>
              </a:ext>
            </a:extLst>
          </p:cNvPr>
          <p:cNvSpPr>
            <a:spLocks noGrp="1"/>
          </p:cNvSpPr>
          <p:nvPr>
            <p:ph type="title"/>
          </p:nvPr>
        </p:nvSpPr>
        <p:spPr/>
        <p:txBody>
          <a:bodyPr/>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A43710E2-8823-41BF-8B6E-45407EBBB8F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C02A4128-3906-43A0-B335-FC0C82D54958}"/>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BAB39100-A4F6-4A48-9A90-C9600DB8E0E2}"/>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9899073A-CA39-4C77-9E7C-B8F4AE989B25}"/>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306180398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3CF68E-7254-4074-86A3-DF30E9FA3A6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DA3434EE-8B41-4101-92B8-3F1AEA17A68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597BF82A-5A50-41CF-A6F3-51A9716DE819}"/>
              </a:ext>
            </a:extLst>
          </p:cNvPr>
          <p:cNvSpPr>
            <a:spLocks noGrp="1"/>
          </p:cNvSpPr>
          <p:nvPr>
            <p:ph type="dt" sz="half" idx="10"/>
          </p:nvPr>
        </p:nvSpPr>
        <p:spPr/>
        <p:txBody>
          <a:bodyPr/>
          <a:lstStyle/>
          <a:p>
            <a:fld id="{FC464507-62AF-4892-AF66-2D5200F57C74}" type="datetimeFigureOut">
              <a:rPr lang="x-none" smtClean="0">
                <a:solidFill>
                  <a:prstClr val="black">
                    <a:tint val="75000"/>
                  </a:prstClr>
                </a:solidFill>
              </a:rPr>
              <a:pPr/>
              <a:t>30/04/2019</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A884B299-7998-46DF-88CA-86F9DBBCAAE6}"/>
              </a:ext>
            </a:extLst>
          </p:cNvPr>
          <p:cNvSpPr>
            <a:spLocks noGrp="1"/>
          </p:cNvSpPr>
          <p:nvPr>
            <p:ph type="ftr" sz="quarter" idx="11"/>
          </p:nvPr>
        </p:nvSpPr>
        <p:spPr/>
        <p:txBody>
          <a:bodyPr/>
          <a:lstStyle/>
          <a:p>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EE7B15B7-DFD5-416E-9200-C852BD76EA6C}"/>
              </a:ext>
            </a:extLst>
          </p:cNvPr>
          <p:cNvSpPr>
            <a:spLocks noGrp="1"/>
          </p:cNvSpPr>
          <p:nvPr>
            <p:ph type="sldNum" sz="quarter" idx="12"/>
          </p:nvPr>
        </p:nvSpPr>
        <p:spPr/>
        <p:txBody>
          <a:bodyPr/>
          <a:lstStyle/>
          <a:p>
            <a:fld id="{AF31770C-CD7A-43F0-9DBF-D12F9D29BD79}"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161903498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2400" i="1">
                <a:solidFill>
                  <a:schemeClr val="bg2"/>
                </a:solidFill>
              </a:defRPr>
            </a:lvl1pPr>
          </a:lstStyle>
          <a:p>
            <a:r>
              <a:rPr lang="en-US"/>
              <a:t>Click to edit Master subtitle style</a:t>
            </a:r>
            <a:endParaRPr lang="en-US" dirty="0"/>
          </a:p>
        </p:txBody>
      </p:sp>
      <p:sp>
        <p:nvSpPr>
          <p:cNvPr id="266247" name="Rectangle 7"/>
          <p:cNvSpPr>
            <a:spLocks noGrp="1" noChangeArrowheads="1"/>
          </p:cNvSpPr>
          <p:nvPr>
            <p:ph type="ctrTitle" sz="quarter"/>
          </p:nvPr>
        </p:nvSpPr>
        <p:spPr bwMode="auto">
          <a:xfrm>
            <a:off x="914400" y="2210359"/>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11C70DEA-ED8A-DD43-A0FD-D69121D7D3B3}"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46677" y="4994812"/>
            <a:ext cx="1919491" cy="1315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Tree>
    <p:extLst>
      <p:ext uri="{BB962C8B-B14F-4D97-AF65-F5344CB8AC3E}">
        <p14:creationId xmlns:p14="http://schemas.microsoft.com/office/powerpoint/2010/main" val="289188644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7" name="Rectangle 7"/>
          <p:cNvSpPr>
            <a:spLocks noGrp="1" noChangeArrowheads="1"/>
          </p:cNvSpPr>
          <p:nvPr>
            <p:ph type="ctrTitle" sz="quarter"/>
          </p:nvPr>
        </p:nvSpPr>
        <p:spPr bwMode="auto">
          <a:xfrm>
            <a:off x="914400" y="2721345"/>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79885609-2C97-2545-B884-C23E69A35C7F}"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6"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a:defRPr/>
            </a:pPr>
            <a:fld id="{4A0ACF5A-AF10-48F9-8A78-5825A055A0E9}" type="slidenum">
              <a:rPr lang="en-US" smtClean="0">
                <a:ea typeface="MS PGothic" pitchFamily="34" charset="-128"/>
              </a:rPr>
              <a:pPr>
                <a:defRPr/>
              </a:pPr>
              <a:t>‹#›</a:t>
            </a:fld>
            <a:endParaRPr lang="en-US">
              <a:ea typeface="MS PGothic" pitchFamily="34" charset="-128"/>
            </a:endParaRPr>
          </a:p>
        </p:txBody>
      </p:sp>
      <p:pic>
        <p:nvPicPr>
          <p:cNvPr id="17" name="Picture 16"/>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038154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a:t>Click to edit Master title style</a:t>
            </a:r>
            <a:endParaRPr lang="en-US" dirty="0"/>
          </a:p>
        </p:txBody>
      </p:sp>
      <p:sp>
        <p:nvSpPr>
          <p:cNvPr id="4" name="Rectangle 4"/>
          <p:cNvSpPr>
            <a:spLocks noGrp="1" noChangeArrowheads="1"/>
          </p:cNvSpPr>
          <p:nvPr>
            <p:ph type="dt" sz="half" idx="10"/>
          </p:nvPr>
        </p:nvSpPr>
        <p:spPr>
          <a:xfrm>
            <a:off x="0" y="6618129"/>
            <a:ext cx="1625600" cy="223690"/>
          </a:xfrm>
          <a:ln/>
        </p:spPr>
        <p:txBody>
          <a:bodyPr/>
          <a:lstStyle>
            <a:lvl1pPr>
              <a:defRPr/>
            </a:lvl1pPr>
          </a:lstStyle>
          <a:p>
            <a:pPr>
              <a:defRPr/>
            </a:pPr>
            <a:fld id="{B2813B1C-F70A-9841-9CAA-23432FDD080E}" type="datetime1">
              <a:rPr lang="en-GB" smtClean="0"/>
              <a:pPr>
                <a:defRPr/>
              </a:pPr>
              <a:t>30/04/2019</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1FC17A9-1053-4EE0-8A3E-150254159B86}" type="slidenum">
              <a:rPr lang="en-US" smtClean="0"/>
              <a:pPr>
                <a:defRPr/>
              </a:pPr>
              <a:t>‹#›</a:t>
            </a:fld>
            <a:endParaRPr lang="en-US"/>
          </a:p>
        </p:txBody>
      </p:sp>
      <p:sp>
        <p:nvSpPr>
          <p:cNvPr id="7" name="Content Placeholder 2"/>
          <p:cNvSpPr>
            <a:spLocks noGrp="1"/>
          </p:cNvSpPr>
          <p:nvPr>
            <p:ph sz="half" idx="1"/>
          </p:nvPr>
        </p:nvSpPr>
        <p:spPr>
          <a:xfrm>
            <a:off x="609600" y="1219199"/>
            <a:ext cx="10972800" cy="4946904"/>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13681616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977306316"/>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758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304800"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dt" sz="half" idx="10"/>
          </p:nvPr>
        </p:nvSpPr>
        <p:spPr>
          <a:ln/>
        </p:spPr>
        <p:txBody>
          <a:bodyPr/>
          <a:lstStyle>
            <a:lvl1pPr>
              <a:defRPr/>
            </a:lvl1pPr>
          </a:lstStyle>
          <a:p>
            <a:pPr>
              <a:defRPr/>
            </a:pPr>
            <a:fld id="{6915ED1E-F197-5A45-8E80-1CA9BF57E0C4}" type="datetime1">
              <a:rPr lang="en-GB" smtClean="0"/>
              <a:pPr>
                <a:defRPr/>
              </a:pPr>
              <a:t>30/04/2019</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2488AE2-2149-41B9-BDAB-86D1134409E9}" type="slidenum">
              <a:rPr lang="en-US" smtClean="0"/>
              <a:pPr>
                <a:defRPr/>
              </a:pPr>
              <a:t>‹#›</a:t>
            </a:fld>
            <a:endParaRPr lang="en-US"/>
          </a:p>
        </p:txBody>
      </p:sp>
      <p:sp>
        <p:nvSpPr>
          <p:cNvPr id="8" name="Text Placeholder 2"/>
          <p:cNvSpPr>
            <a:spLocks noGrp="1"/>
          </p:cNvSpPr>
          <p:nvPr>
            <p:ph type="body" idx="13" hasCustomPrompt="1"/>
          </p:nvPr>
        </p:nvSpPr>
        <p:spPr>
          <a:xfrm>
            <a:off x="304800" y="1219200"/>
            <a:ext cx="5691717" cy="639762"/>
          </a:xfrm>
          <a:noFill/>
          <a:effectLst/>
        </p:spPr>
        <p:txBody>
          <a:bodyPr anchor="ctr"/>
          <a:lstStyle>
            <a:lvl1pPr marL="0" indent="0" algn="ctr">
              <a:buNone/>
              <a:defRPr sz="2200" b="1" cap="sm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p:cNvSpPr>
            <a:spLocks noGrp="1"/>
          </p:cNvSpPr>
          <p:nvPr>
            <p:ph type="body" sz="quarter" idx="3" hasCustomPrompt="1"/>
          </p:nvPr>
        </p:nvSpPr>
        <p:spPr>
          <a:xfrm>
            <a:off x="6193423" y="1219200"/>
            <a:ext cx="5693833" cy="639762"/>
          </a:xfrm>
          <a:noFill/>
        </p:spPr>
        <p:txBody>
          <a:bodyPr anchor="ctr"/>
          <a:lstStyle>
            <a:lvl1pPr marL="0" indent="0" algn="ctr">
              <a:buNone/>
              <a:defRPr lang="en-US" sz="2200" b="1" cap="small" baseline="0" dirty="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rtl="0" eaLnBrk="1" fontAlgn="base" hangingPunct="1">
              <a:spcBef>
                <a:spcPct val="20000"/>
              </a:spcBef>
              <a:spcAft>
                <a:spcPct val="0"/>
              </a:spcAft>
              <a:buNone/>
            </a:pPr>
            <a:r>
              <a:rPr lang="en-US" dirty="0"/>
              <a:t>Click to edit master text styles</a:t>
            </a:r>
          </a:p>
        </p:txBody>
      </p:sp>
      <p:graphicFrame>
        <p:nvGraphicFramePr>
          <p:cNvPr id="15" name="Object 14" hidden="1"/>
          <p:cNvGraphicFramePr>
            <a:graphicFrameLocks noChangeAspect="1"/>
          </p:cNvGraphicFramePr>
          <p:nvPr>
            <p:custDataLst>
              <p:tags r:id="rId3"/>
            </p:custDataLst>
            <p:extLst>
              <p:ext uri="{D42A27DB-BD31-4B8C-83A1-F6EECF244321}">
                <p14:modId xmlns:p14="http://schemas.microsoft.com/office/powerpoint/2010/main" val="3213520179"/>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7585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19" name="Content Placeholder 2"/>
          <p:cNvSpPr>
            <a:spLocks noGrp="1"/>
          </p:cNvSpPr>
          <p:nvPr>
            <p:ph sz="half" idx="14"/>
          </p:nvPr>
        </p:nvSpPr>
        <p:spPr>
          <a:xfrm>
            <a:off x="6193368"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1"/>
          <p:cNvSpPr>
            <a:spLocks noGrp="1"/>
          </p:cNvSpPr>
          <p:nvPr>
            <p:ph sz="quarter" idx="15"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40891951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a:reflection endPos="0" dir="5400000" sy="-100000" algn="bl" rotWithShape="0"/>
          </a:effectLst>
        </p:spPr>
        <p:txBody>
          <a:bodyPr/>
          <a:lstStyle>
            <a:lvl1pPr>
              <a:defRPr sz="2400"/>
            </a:lvl1pPr>
          </a:lstStyle>
          <a:p>
            <a:r>
              <a:rPr lang="en-US"/>
              <a:t>Click to edit Master title style</a:t>
            </a:r>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fld id="{1803007F-CA12-FA49-A8B1-0E255E9AA47F}" type="datetime1">
              <a:rPr lang="en-GB" smtClean="0"/>
              <a:pPr>
                <a:defRPr/>
              </a:pPr>
              <a:t>30/04/2019</a:t>
            </a:fld>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A14F054A-1A36-443C-BE9A-7E62A227BE57}" type="slidenum">
              <a:rPr lang="en-US" smtClean="0"/>
              <a:pPr>
                <a:defRPr/>
              </a:pPr>
              <a:t>‹#›</a:t>
            </a:fld>
            <a:endParaRPr lang="en-US"/>
          </a:p>
        </p:txBody>
      </p:sp>
      <p:sp>
        <p:nvSpPr>
          <p:cNvPr id="7"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16311663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pic>
        <p:nvPicPr>
          <p:cNvPr id="1146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7417344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4824EA-7FAF-4342-A063-EC9A77DA316E}" type="datetime1">
              <a:rPr lang="en-GB" smtClean="0"/>
              <a:pPr/>
              <a:t>30/0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1053372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A3C57430-0A87-40EA-A29D-CE87D7CEDFD7}" type="datetime1">
              <a:rPr lang="en-US" smtClean="0">
                <a:solidFill>
                  <a:prstClr val="black"/>
                </a:solidFill>
              </a:rPr>
              <a:t>4/30/2019</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graphicFrame>
        <p:nvGraphicFramePr>
          <p:cNvPr id="6" name="Object 5" hidden="1">
            <a:extLst>
              <a:ext uri="{FF2B5EF4-FFF2-40B4-BE49-F238E27FC236}">
                <a16:creationId xmlns:a16="http://schemas.microsoft.com/office/drawing/2014/main" id="{6A19570B-D9CE-4CA1-B311-4EFE466A2CBB}"/>
              </a:ext>
            </a:extLst>
          </p:cNvPr>
          <p:cNvGraphicFramePr>
            <a:graphicFrameLocks noChangeAspect="1"/>
          </p:cNvGraphicFramePr>
          <p:nvPr userDrawn="1">
            <p:custDataLst>
              <p:tags r:id="rId2"/>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3543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spTree>
    <p:extLst>
      <p:ext uri="{BB962C8B-B14F-4D97-AF65-F5344CB8AC3E}">
        <p14:creationId xmlns:p14="http://schemas.microsoft.com/office/powerpoint/2010/main" val="210143966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Content 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800"/>
            </a:lvl1pPr>
          </a:lstStyle>
          <a:p>
            <a:r>
              <a:rPr lang="en-US" noProof="0" dirty="0" err="1"/>
              <a:t>Titlemaster</a:t>
            </a:r>
            <a:endParaRPr lang="en-US" noProof="0" dirty="0"/>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pPr>
                <a:defRPr/>
              </a:pPr>
              <a:t>‹#›</a:t>
            </a:fld>
            <a:endParaRPr lang="en-US"/>
          </a:p>
        </p:txBody>
      </p:sp>
      <p:sp>
        <p:nvSpPr>
          <p:cNvPr id="6" name="Inhaltsplatzhalter 5"/>
          <p:cNvSpPr>
            <a:spLocks noGrp="1"/>
          </p:cNvSpPr>
          <p:nvPr>
            <p:ph sz="quarter" idx="12" hasCustomPrompt="1"/>
          </p:nvPr>
        </p:nvSpPr>
        <p:spPr/>
        <p:txBody>
          <a:bodyPr/>
          <a:lstStyle>
            <a:lvl1pPr>
              <a:defRPr sz="1050"/>
            </a:lvl1pPr>
            <a:lvl3pPr marL="271463" indent="-271463">
              <a:buFont typeface="Arial" panose="020B0604020202020204" pitchFamily="34" charset="0"/>
              <a:buChar char="•"/>
              <a:defRPr/>
            </a:lvl3pPr>
            <a:lvl4pPr>
              <a:defRPr sz="1950"/>
            </a:lvl4pPr>
            <a:lvl5pPr>
              <a:defRPr sz="1950"/>
            </a:lvl5pPr>
          </a:lstStyle>
          <a:p>
            <a:pPr lvl="0"/>
            <a:r>
              <a:rPr lang="en-US" noProof="0" dirty="0" err="1"/>
              <a:t>Textmaster</a:t>
            </a:r>
            <a:endParaRPr lang="en-US" noProof="0" dirty="0"/>
          </a:p>
          <a:p>
            <a:pPr lvl="1"/>
            <a:r>
              <a:rPr lang="en-US" noProof="0" dirty="0"/>
              <a:t>Second Layer</a:t>
            </a:r>
          </a:p>
          <a:p>
            <a:pPr lvl="2"/>
            <a:r>
              <a:rPr lang="en-US" noProof="0" dirty="0"/>
              <a:t>Third Layer</a:t>
            </a:r>
          </a:p>
          <a:p>
            <a:pPr lvl="3"/>
            <a:r>
              <a:rPr lang="en-US" noProof="0" dirty="0"/>
              <a:t>Fourth Layer</a:t>
            </a:r>
          </a:p>
          <a:p>
            <a:pPr lvl="4"/>
            <a:r>
              <a:rPr lang="en-US" noProof="0" dirty="0"/>
              <a:t>Fifth Layer</a:t>
            </a:r>
          </a:p>
          <a:p>
            <a:pPr lvl="5"/>
            <a:r>
              <a:rPr lang="en-US" noProof="0" dirty="0"/>
              <a:t>6</a:t>
            </a:r>
          </a:p>
        </p:txBody>
      </p:sp>
    </p:spTree>
    <p:extLst>
      <p:ext uri="{BB962C8B-B14F-4D97-AF65-F5344CB8AC3E}">
        <p14:creationId xmlns:p14="http://schemas.microsoft.com/office/powerpoint/2010/main" val="1806530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DFD5E19-6138-F141-B38B-DF07E6BB0533}" type="datetime1">
              <a:rPr lang="en-GB" smtClean="0"/>
              <a:pPr/>
              <a:t>30/0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185289073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A436B46-5F14-44D7-88A5-ABFE06A3D275}"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580395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965FFD6-2F89-42DF-A686-82ABCDF67E19}"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graphicFrame>
        <p:nvGraphicFramePr>
          <p:cNvPr id="7" name="Object 6" hidden="1">
            <a:extLst>
              <a:ext uri="{FF2B5EF4-FFF2-40B4-BE49-F238E27FC236}">
                <a16:creationId xmlns:a16="http://schemas.microsoft.com/office/drawing/2014/main" id="{AEC1B317-CA0D-4199-8734-5637E4D3993B}"/>
              </a:ext>
            </a:extLst>
          </p:cNvPr>
          <p:cNvGraphicFramePr>
            <a:graphicFrameLocks noChangeAspect="1"/>
          </p:cNvGraphicFramePr>
          <p:nvPr userDrawn="1">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6778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5022122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8B321D-3B61-4EB9-BB25-445ADD073FD6}"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556556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E731B34-539B-42D2-8D3F-3A4751793226}" type="datetime1">
              <a:rPr lang="en-US" smtClean="0">
                <a:solidFill>
                  <a:prstClr val="black">
                    <a:tint val="75000"/>
                  </a:prstClr>
                </a:solidFill>
              </a:rPr>
              <a:p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7835595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FC086D8-3962-43C8-93AC-B64DDC8B1F25}" type="datetime1">
              <a:rPr lang="en-US" smtClean="0">
                <a:solidFill>
                  <a:prstClr val="black">
                    <a:tint val="75000"/>
                  </a:prstClr>
                </a:solidFill>
              </a:rPr>
              <a:pPr/>
              <a:t>4/30/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095615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8F44D0E-119F-4AF6-AE40-7FE1E3AC638F}" type="datetime1">
              <a:rPr lang="en-US" smtClean="0">
                <a:solidFill>
                  <a:prstClr val="black">
                    <a:tint val="75000"/>
                  </a:prstClr>
                </a:solidFill>
              </a:rPr>
              <a:pPr/>
              <a:t>4/3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graphicFrame>
        <p:nvGraphicFramePr>
          <p:cNvPr id="6" name="Object 5" hidden="1">
            <a:extLst>
              <a:ext uri="{FF2B5EF4-FFF2-40B4-BE49-F238E27FC236}">
                <a16:creationId xmlns:a16="http://schemas.microsoft.com/office/drawing/2014/main" id="{501C3F41-B7CF-4F02-9A2A-DBAE151E6E6E}"/>
              </a:ext>
            </a:extLst>
          </p:cNvPr>
          <p:cNvGraphicFramePr>
            <a:graphicFrameLocks noChangeAspect="1"/>
          </p:cNvGraphicFramePr>
          <p:nvPr userDrawn="1">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6789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162150159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2F3126F-D1BA-444C-BAC2-FAE5EA365C80}" type="datetime1">
              <a:rPr lang="en-US" smtClean="0">
                <a:solidFill>
                  <a:prstClr val="black">
                    <a:tint val="75000"/>
                  </a:prstClr>
                </a:solidFill>
              </a:rPr>
              <a:pPr/>
              <a:t>4/30/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659594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0A200C7-032A-4523-A4F8-F45A65A54F20}" type="datetime1">
              <a:rPr lang="en-US" smtClean="0">
                <a:solidFill>
                  <a:prstClr val="black">
                    <a:tint val="75000"/>
                  </a:prstClr>
                </a:solidFill>
              </a:rPr>
              <a:p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82129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B86042-E81B-4F77-88D3-24ABB8AC0037}" type="datetime1">
              <a:rPr lang="en-US" smtClean="0">
                <a:solidFill>
                  <a:prstClr val="black"/>
                </a:solidFill>
              </a:rPr>
              <a:t>4/30/2019</a:t>
            </a:fld>
            <a:endParaRPr lang="en-US">
              <a:solidFill>
                <a:prstClr val="black"/>
              </a:solidFill>
            </a:endParaRPr>
          </a:p>
        </p:txBody>
      </p:sp>
      <p:sp>
        <p:nvSpPr>
          <p:cNvPr id="3" name="Footer Placeholder 2"/>
          <p:cNvSpPr>
            <a:spLocks noGrp="1"/>
          </p:cNvSpPr>
          <p:nvPr>
            <p:ph type="ftr" sz="quarter" idx="11"/>
          </p:nvPr>
        </p:nvSpPr>
        <p:spPr/>
        <p:txBody>
          <a:bodyPr/>
          <a:lstStyle/>
          <a:p>
            <a:endParaRPr lang="en-US">
              <a:solidFill>
                <a:prstClr val="black"/>
              </a:solidFill>
            </a:endParaRPr>
          </a:p>
        </p:txBody>
      </p:sp>
      <p:sp>
        <p:nvSpPr>
          <p:cNvPr id="4" name="Slide Number Placeholder 3"/>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95547255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13C1A55-C7AE-40BE-9AAA-3A8EF31C02E9}" type="datetime1">
              <a:rPr lang="en-US" smtClean="0">
                <a:solidFill>
                  <a:prstClr val="black">
                    <a:tint val="75000"/>
                  </a:prstClr>
                </a:solidFill>
              </a:rPr>
              <a:p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097729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3308BB-815E-45CD-A48F-63116946130B}"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35435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1C24D6-FE0D-44E1-841F-B4A1852F21EA}" type="datetime1">
              <a:rPr lang="en-US" smtClean="0">
                <a:solidFill>
                  <a:prstClr val="black">
                    <a:tint val="75000"/>
                  </a:prstClr>
                </a:solidFill>
              </a:rPr>
              <a:p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7308803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4" y="1122366"/>
            <a:ext cx="9144001"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4" y="3602040"/>
            <a:ext cx="9144001" cy="1655763"/>
          </a:xfrm>
        </p:spPr>
        <p:txBody>
          <a:bodyPr/>
          <a:lstStyle>
            <a:lvl1pPr marL="0" indent="0" algn="ctr">
              <a:buNone/>
              <a:defRPr sz="2400"/>
            </a:lvl1pPr>
            <a:lvl2pPr marL="456890" indent="0" algn="ctr">
              <a:buNone/>
              <a:defRPr sz="1900"/>
            </a:lvl2pPr>
            <a:lvl3pPr marL="913786" indent="0" algn="ctr">
              <a:buNone/>
              <a:defRPr sz="1900"/>
            </a:lvl3pPr>
            <a:lvl4pPr marL="1370680" indent="0" algn="ctr">
              <a:buNone/>
              <a:defRPr sz="1600"/>
            </a:lvl4pPr>
            <a:lvl5pPr marL="1827570" indent="0" algn="ctr">
              <a:buNone/>
              <a:defRPr sz="1600"/>
            </a:lvl5pPr>
            <a:lvl6pPr marL="2284471" indent="0" algn="ctr">
              <a:buNone/>
              <a:defRPr sz="1600"/>
            </a:lvl6pPr>
            <a:lvl7pPr marL="2741356" indent="0" algn="ctr">
              <a:buNone/>
              <a:defRPr sz="1600"/>
            </a:lvl7pPr>
            <a:lvl8pPr marL="3198245" indent="0" algn="ctr">
              <a:buNone/>
              <a:defRPr sz="1600"/>
            </a:lvl8pPr>
            <a:lvl9pPr marL="3655133"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A6634883-8D74-4EFF-8892-E7C2F03EF395}" type="datetime1">
              <a:rPr lang="en-US" smtClean="0">
                <a:solidFill>
                  <a:prstClr val="black"/>
                </a:solidFill>
              </a:rPr>
              <a:p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9368481" y="6500841"/>
            <a:ext cx="2743201" cy="365125"/>
          </a:xfrm>
          <a:prstGeom prst="rect">
            <a:avLst/>
          </a:prstGeom>
        </p:spPr>
        <p:txBody>
          <a:bodyPr lIns="91384" tIns="45698" rIns="91384" bIns="45698"/>
          <a:lstStyle>
            <a:lvl1pPr algn="ctr">
              <a:defRPr>
                <a:solidFill>
                  <a:schemeClr val="bg1"/>
                </a:solidFill>
              </a:defRPr>
            </a:lvl1pPr>
          </a:lstStyle>
          <a:p>
            <a:fld id="{978E596B-AA80-4BB2-8707-B351070E738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88435112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809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E6C81BEC-0A4F-47F7-9245-419A60B6C68D}" type="datetime1">
              <a:rPr lang="en-US" smtClean="0">
                <a:solidFill>
                  <a:prstClr val="black"/>
                </a:solidFill>
              </a:rPr>
              <a:p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9448799" y="6489937"/>
            <a:ext cx="2743201" cy="365125"/>
          </a:xfrm>
          <a:prstGeom prst="rect">
            <a:avLst/>
          </a:prstGeom>
        </p:spPr>
        <p:txBody>
          <a:bodyPr lIns="91384" tIns="45698" rIns="91384" bIns="45698"/>
          <a:lstStyle>
            <a:lvl1pPr algn="ctr">
              <a:defRPr>
                <a:solidFill>
                  <a:schemeClr val="bg1"/>
                </a:solidFill>
              </a:defRPr>
            </a:lvl1pPr>
          </a:lstStyle>
          <a:p>
            <a:fld id="{978E596B-AA80-4BB2-8707-B351070E738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75571684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61"/>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790"/>
            <a:ext cx="10515600" cy="1500187"/>
          </a:xfrm>
        </p:spPr>
        <p:txBody>
          <a:bodyPr/>
          <a:lstStyle>
            <a:lvl1pPr marL="0" indent="0">
              <a:buNone/>
              <a:defRPr sz="2400">
                <a:solidFill>
                  <a:schemeClr val="tx1">
                    <a:tint val="75000"/>
                  </a:schemeClr>
                </a:solidFill>
              </a:defRPr>
            </a:lvl1pPr>
            <a:lvl2pPr marL="456890" indent="0">
              <a:buNone/>
              <a:defRPr sz="1900">
                <a:solidFill>
                  <a:schemeClr val="tx1">
                    <a:tint val="75000"/>
                  </a:schemeClr>
                </a:solidFill>
              </a:defRPr>
            </a:lvl2pPr>
            <a:lvl3pPr marL="913786" indent="0">
              <a:buNone/>
              <a:defRPr sz="1900">
                <a:solidFill>
                  <a:schemeClr val="tx1">
                    <a:tint val="75000"/>
                  </a:schemeClr>
                </a:solidFill>
              </a:defRPr>
            </a:lvl3pPr>
            <a:lvl4pPr marL="1370680" indent="0">
              <a:buNone/>
              <a:defRPr sz="1600">
                <a:solidFill>
                  <a:schemeClr val="tx1">
                    <a:tint val="75000"/>
                  </a:schemeClr>
                </a:solidFill>
              </a:defRPr>
            </a:lvl4pPr>
            <a:lvl5pPr marL="1827570" indent="0">
              <a:buNone/>
              <a:defRPr sz="1600">
                <a:solidFill>
                  <a:schemeClr val="tx1">
                    <a:tint val="75000"/>
                  </a:schemeClr>
                </a:solidFill>
              </a:defRPr>
            </a:lvl5pPr>
            <a:lvl6pPr marL="2284471" indent="0">
              <a:buNone/>
              <a:defRPr sz="1600">
                <a:solidFill>
                  <a:schemeClr val="tx1">
                    <a:tint val="75000"/>
                  </a:schemeClr>
                </a:solidFill>
              </a:defRPr>
            </a:lvl6pPr>
            <a:lvl7pPr marL="2741356" indent="0">
              <a:buNone/>
              <a:defRPr sz="1600">
                <a:solidFill>
                  <a:schemeClr val="tx1">
                    <a:tint val="75000"/>
                  </a:schemeClr>
                </a:solidFill>
              </a:defRPr>
            </a:lvl7pPr>
            <a:lvl8pPr marL="3198245" indent="0">
              <a:buNone/>
              <a:defRPr sz="1600">
                <a:solidFill>
                  <a:schemeClr val="tx1">
                    <a:tint val="75000"/>
                  </a:schemeClr>
                </a:solidFill>
              </a:defRPr>
            </a:lvl8pPr>
            <a:lvl9pPr marL="365513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C7A42CF7-9EAD-4844-BA92-882C3241E5D4}" type="datetime1">
              <a:rPr lang="en-US" smtClean="0">
                <a:solidFill>
                  <a:prstClr val="black"/>
                </a:solidFill>
              </a:rPr>
              <a:p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2596793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2"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3"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677"/>
            <a:ext cx="2743201" cy="365125"/>
          </a:xfrm>
          <a:prstGeom prst="rect">
            <a:avLst/>
          </a:prstGeom>
        </p:spPr>
        <p:txBody>
          <a:bodyPr lIns="91384" tIns="45698" rIns="91384" bIns="45698"/>
          <a:lstStyle/>
          <a:p>
            <a:fld id="{1B38B59E-7D22-4BFB-9907-78031B1B6225}" type="datetime1">
              <a:rPr lang="en-US" smtClean="0">
                <a:solidFill>
                  <a:prstClr val="black"/>
                </a:solidFill>
              </a:rPr>
              <a:pPr/>
              <a:t>4/30/2019</a:t>
            </a:fld>
            <a:endParaRPr lang="en-US">
              <a:solidFill>
                <a:prstClr val="black"/>
              </a:solidFill>
            </a:endParaRPr>
          </a:p>
        </p:txBody>
      </p:sp>
      <p:sp>
        <p:nvSpPr>
          <p:cNvPr id="6" name="Footer Placeholder 5"/>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7" name="Slide Number Placeholder 6"/>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3254829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32"/>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6890" indent="0">
              <a:buNone/>
              <a:defRPr sz="1900" b="1"/>
            </a:lvl2pPr>
            <a:lvl3pPr marL="913786" indent="0">
              <a:buNone/>
              <a:defRPr sz="1900" b="1"/>
            </a:lvl3pPr>
            <a:lvl4pPr marL="1370680" indent="0">
              <a:buNone/>
              <a:defRPr sz="1600" b="1"/>
            </a:lvl4pPr>
            <a:lvl5pPr marL="1827570" indent="0">
              <a:buNone/>
              <a:defRPr sz="1600" b="1"/>
            </a:lvl5pPr>
            <a:lvl6pPr marL="2284471" indent="0">
              <a:buNone/>
              <a:defRPr sz="1600" b="1"/>
            </a:lvl6pPr>
            <a:lvl7pPr marL="2741356" indent="0">
              <a:buNone/>
              <a:defRPr sz="1600" b="1"/>
            </a:lvl7pPr>
            <a:lvl8pPr marL="3198245" indent="0">
              <a:buNone/>
              <a:defRPr sz="1600" b="1"/>
            </a:lvl8pPr>
            <a:lvl9pPr marL="3655133"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8"/>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7" cy="823912"/>
          </a:xfrm>
        </p:spPr>
        <p:txBody>
          <a:bodyPr anchor="b"/>
          <a:lstStyle>
            <a:lvl1pPr marL="0" indent="0">
              <a:buNone/>
              <a:defRPr sz="2400" b="1"/>
            </a:lvl1pPr>
            <a:lvl2pPr marL="456890" indent="0">
              <a:buNone/>
              <a:defRPr sz="1900" b="1"/>
            </a:lvl2pPr>
            <a:lvl3pPr marL="913786" indent="0">
              <a:buNone/>
              <a:defRPr sz="1900" b="1"/>
            </a:lvl3pPr>
            <a:lvl4pPr marL="1370680" indent="0">
              <a:buNone/>
              <a:defRPr sz="1600" b="1"/>
            </a:lvl4pPr>
            <a:lvl5pPr marL="1827570" indent="0">
              <a:buNone/>
              <a:defRPr sz="1600" b="1"/>
            </a:lvl5pPr>
            <a:lvl6pPr marL="2284471" indent="0">
              <a:buNone/>
              <a:defRPr sz="1600" b="1"/>
            </a:lvl6pPr>
            <a:lvl7pPr marL="2741356" indent="0">
              <a:buNone/>
              <a:defRPr sz="1600" b="1"/>
            </a:lvl7pPr>
            <a:lvl8pPr marL="3198245" indent="0">
              <a:buNone/>
              <a:defRPr sz="1600" b="1"/>
            </a:lvl8pPr>
            <a:lvl9pPr marL="3655133" indent="0">
              <a:buNone/>
              <a:defRPr sz="1600" b="1"/>
            </a:lvl9pPr>
          </a:lstStyle>
          <a:p>
            <a:pPr lvl="0"/>
            <a:r>
              <a:rPr lang="en-US"/>
              <a:t>Edit Master text styles</a:t>
            </a:r>
          </a:p>
        </p:txBody>
      </p:sp>
      <p:sp>
        <p:nvSpPr>
          <p:cNvPr id="6" name="Content Placeholder 5"/>
          <p:cNvSpPr>
            <a:spLocks noGrp="1"/>
          </p:cNvSpPr>
          <p:nvPr>
            <p:ph sz="quarter" idx="4"/>
          </p:nvPr>
        </p:nvSpPr>
        <p:spPr>
          <a:xfrm>
            <a:off x="6172203" y="2505078"/>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677"/>
            <a:ext cx="2743201" cy="365125"/>
          </a:xfrm>
          <a:prstGeom prst="rect">
            <a:avLst/>
          </a:prstGeom>
        </p:spPr>
        <p:txBody>
          <a:bodyPr lIns="91384" tIns="45698" rIns="91384" bIns="45698"/>
          <a:lstStyle/>
          <a:p>
            <a:fld id="{4E0156FE-5834-467D-A7CA-96F286988547}" type="datetime1">
              <a:rPr lang="en-US" smtClean="0">
                <a:solidFill>
                  <a:prstClr val="black"/>
                </a:solidFill>
              </a:rPr>
              <a:pPr/>
              <a:t>4/30/2019</a:t>
            </a:fld>
            <a:endParaRPr lang="en-US">
              <a:solidFill>
                <a:prstClr val="black"/>
              </a:solidFill>
            </a:endParaRPr>
          </a:p>
        </p:txBody>
      </p:sp>
      <p:sp>
        <p:nvSpPr>
          <p:cNvPr id="8" name="Footer Placeholder 7"/>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9" name="Slide Number Placeholder 8"/>
          <p:cNvSpPr>
            <a:spLocks noGrp="1"/>
          </p:cNvSpPr>
          <p:nvPr>
            <p:ph type="sldNum" sz="quarter" idx="12"/>
          </p:nvPr>
        </p:nvSpPr>
        <p:spPr>
          <a:xfrm>
            <a:off x="9448799" y="6476125"/>
            <a:ext cx="2743201" cy="365125"/>
          </a:xfrm>
          <a:prstGeom prst="rect">
            <a:avLst/>
          </a:prstGeom>
        </p:spPr>
        <p:txBody>
          <a:bodyPr lIns="91384" tIns="45698" rIns="91384" bIns="45698"/>
          <a:lstStyle>
            <a:lvl1pPr algn="ctr">
              <a:defRPr>
                <a:solidFill>
                  <a:schemeClr val="bg1"/>
                </a:solidFill>
              </a:defRPr>
            </a:lvl1pPr>
          </a:lstStyle>
          <a:p>
            <a:fld id="{978E596B-AA80-4BB2-8707-B351070E738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59610013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819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677"/>
            <a:ext cx="2743201" cy="365125"/>
          </a:xfrm>
          <a:prstGeom prst="rect">
            <a:avLst/>
          </a:prstGeom>
        </p:spPr>
        <p:txBody>
          <a:bodyPr lIns="91384" tIns="45698" rIns="91384" bIns="45698"/>
          <a:lstStyle/>
          <a:p>
            <a:fld id="{5D2A7F3A-511D-4F2C-BE28-AFB8E8A57F0F}" type="datetime1">
              <a:rPr lang="en-US" smtClean="0">
                <a:solidFill>
                  <a:prstClr val="black"/>
                </a:solidFill>
              </a:rPr>
              <a:pPr/>
              <a:t>4/30/2019</a:t>
            </a:fld>
            <a:endParaRPr lang="en-US">
              <a:solidFill>
                <a:prstClr val="black"/>
              </a:solidFill>
            </a:endParaRPr>
          </a:p>
        </p:txBody>
      </p:sp>
      <p:sp>
        <p:nvSpPr>
          <p:cNvPr id="4" name="Footer Placeholder 3"/>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5" name="Slide Number Placeholder 4"/>
          <p:cNvSpPr>
            <a:spLocks noGrp="1"/>
          </p:cNvSpPr>
          <p:nvPr>
            <p:ph type="sldNum" sz="quarter" idx="12"/>
          </p:nvPr>
        </p:nvSpPr>
        <p:spPr>
          <a:xfrm>
            <a:off x="9448799" y="6493190"/>
            <a:ext cx="2743201" cy="365125"/>
          </a:xfrm>
          <a:prstGeom prst="rect">
            <a:avLst/>
          </a:prstGeom>
        </p:spPr>
        <p:txBody>
          <a:bodyPr lIns="91384" tIns="45698" rIns="91384" bIns="45698"/>
          <a:lstStyle>
            <a:lvl1pPr algn="ctr">
              <a:defRPr>
                <a:solidFill>
                  <a:schemeClr val="bg1"/>
                </a:solidFill>
              </a:defRPr>
            </a:lvl1pPr>
          </a:lstStyle>
          <a:p>
            <a:fld id="{978E596B-AA80-4BB2-8707-B351070E738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2955969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677"/>
            <a:ext cx="2743201" cy="365125"/>
          </a:xfrm>
          <a:prstGeom prst="rect">
            <a:avLst/>
          </a:prstGeom>
        </p:spPr>
        <p:txBody>
          <a:bodyPr lIns="91384" tIns="45698" rIns="91384" bIns="45698"/>
          <a:lstStyle/>
          <a:p>
            <a:fld id="{90A73C67-EAD1-4BB0-B594-72810F3F3681}" type="datetime1">
              <a:rPr lang="en-US" smtClean="0">
                <a:solidFill>
                  <a:prstClr val="black"/>
                </a:solidFill>
              </a:rPr>
              <a:pPr/>
              <a:t>4/30/2019</a:t>
            </a:fld>
            <a:endParaRPr lang="en-US">
              <a:solidFill>
                <a:prstClr val="black"/>
              </a:solidFill>
            </a:endParaRPr>
          </a:p>
        </p:txBody>
      </p:sp>
      <p:sp>
        <p:nvSpPr>
          <p:cNvPr id="3" name="Footer Placeholder 2"/>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4" name="Slide Number Placeholder 3"/>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9231812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91" y="2057403"/>
            <a:ext cx="3932237" cy="3811588"/>
          </a:xfrm>
        </p:spPr>
        <p:txBody>
          <a:bodyPr/>
          <a:lstStyle>
            <a:lvl1pPr marL="0" indent="0">
              <a:buNone/>
              <a:defRPr sz="1600"/>
            </a:lvl1pPr>
            <a:lvl2pPr marL="457007" indent="0">
              <a:buNone/>
              <a:defRPr sz="1500"/>
            </a:lvl2pPr>
            <a:lvl3pPr marL="914013" indent="0">
              <a:buNone/>
              <a:defRPr sz="1200"/>
            </a:lvl3pPr>
            <a:lvl4pPr marL="1371019" indent="0">
              <a:buNone/>
              <a:defRPr sz="1000"/>
            </a:lvl4pPr>
            <a:lvl5pPr marL="1828025" indent="0">
              <a:buNone/>
              <a:defRPr sz="1000"/>
            </a:lvl5pPr>
            <a:lvl6pPr marL="2285031" indent="0">
              <a:buNone/>
              <a:defRPr sz="1000"/>
            </a:lvl6pPr>
            <a:lvl7pPr marL="2742037" indent="0">
              <a:buNone/>
              <a:defRPr sz="1000"/>
            </a:lvl7pPr>
            <a:lvl8pPr marL="3199044" indent="0">
              <a:buNone/>
              <a:defRPr sz="1000"/>
            </a:lvl8pPr>
            <a:lvl9pPr marL="365605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BD2CCEF-B4B4-4342-B19B-5CDD4036F466}" type="datetime1">
              <a:rPr lang="en-US" smtClean="0">
                <a:solidFill>
                  <a:prstClr val="black"/>
                </a:solidFill>
              </a:rPr>
              <a:t>4/30/2019</a:t>
            </a:fld>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prstClr val="black"/>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33900364"/>
      </p:ext>
    </p:extLst>
  </p:cSld>
  <p:clrMapOvr>
    <a:masterClrMapping/>
  </p:clrMapOvr>
  <p:extLst mod="1">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31"/>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1" y="2057405"/>
            <a:ext cx="3932237" cy="3811588"/>
          </a:xfrm>
        </p:spPr>
        <p:txBody>
          <a:bodyPr/>
          <a:lstStyle>
            <a:lvl1pPr marL="0" indent="0">
              <a:buNone/>
              <a:defRPr sz="1600"/>
            </a:lvl1pPr>
            <a:lvl2pPr marL="456890" indent="0">
              <a:buNone/>
              <a:defRPr sz="1500"/>
            </a:lvl2pPr>
            <a:lvl3pPr marL="913786" indent="0">
              <a:buNone/>
              <a:defRPr sz="1200"/>
            </a:lvl3pPr>
            <a:lvl4pPr marL="1370680" indent="0">
              <a:buNone/>
              <a:defRPr sz="1100"/>
            </a:lvl4pPr>
            <a:lvl5pPr marL="1827570" indent="0">
              <a:buNone/>
              <a:defRPr sz="1100"/>
            </a:lvl5pPr>
            <a:lvl6pPr marL="2284471" indent="0">
              <a:buNone/>
              <a:defRPr sz="1100"/>
            </a:lvl6pPr>
            <a:lvl7pPr marL="2741356" indent="0">
              <a:buNone/>
              <a:defRPr sz="1100"/>
            </a:lvl7pPr>
            <a:lvl8pPr marL="3198245" indent="0">
              <a:buNone/>
              <a:defRPr sz="1100"/>
            </a:lvl8pPr>
            <a:lvl9pPr marL="3655133" indent="0">
              <a:buNone/>
              <a:defRPr sz="1100"/>
            </a:lvl9pPr>
          </a:lstStyle>
          <a:p>
            <a:pPr lvl="0"/>
            <a:r>
              <a:rPr lang="en-US"/>
              <a:t>Edit Master text styles</a:t>
            </a:r>
          </a:p>
        </p:txBody>
      </p:sp>
      <p:sp>
        <p:nvSpPr>
          <p:cNvPr id="5" name="Date Placeholder 4"/>
          <p:cNvSpPr>
            <a:spLocks noGrp="1"/>
          </p:cNvSpPr>
          <p:nvPr>
            <p:ph type="dt" sz="half" idx="10"/>
          </p:nvPr>
        </p:nvSpPr>
        <p:spPr>
          <a:xfrm>
            <a:off x="838200" y="6356677"/>
            <a:ext cx="2743201" cy="365125"/>
          </a:xfrm>
          <a:prstGeom prst="rect">
            <a:avLst/>
          </a:prstGeom>
        </p:spPr>
        <p:txBody>
          <a:bodyPr lIns="91384" tIns="45698" rIns="91384" bIns="45698"/>
          <a:lstStyle/>
          <a:p>
            <a:fld id="{3F3F1B8C-EDDA-422A-A492-E4127B866C66}" type="datetime1">
              <a:rPr lang="en-US" smtClean="0">
                <a:solidFill>
                  <a:prstClr val="black"/>
                </a:solidFill>
              </a:rPr>
              <a:pPr/>
              <a:t>4/30/2019</a:t>
            </a:fld>
            <a:endParaRPr lang="en-US">
              <a:solidFill>
                <a:prstClr val="black"/>
              </a:solidFill>
            </a:endParaRPr>
          </a:p>
        </p:txBody>
      </p:sp>
      <p:sp>
        <p:nvSpPr>
          <p:cNvPr id="6" name="Footer Placeholder 5"/>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7" name="Slide Number Placeholder 6"/>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1835231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31"/>
            <a:ext cx="6172200" cy="4873625"/>
          </a:xfrm>
        </p:spPr>
        <p:txBody>
          <a:bodyPr/>
          <a:lstStyle>
            <a:lvl1pPr marL="0" indent="0">
              <a:buNone/>
              <a:defRPr sz="3200"/>
            </a:lvl1pPr>
            <a:lvl2pPr marL="456890" indent="0">
              <a:buNone/>
              <a:defRPr sz="2800"/>
            </a:lvl2pPr>
            <a:lvl3pPr marL="913786" indent="0">
              <a:buNone/>
              <a:defRPr sz="2400"/>
            </a:lvl3pPr>
            <a:lvl4pPr marL="1370680" indent="0">
              <a:buNone/>
              <a:defRPr sz="1900"/>
            </a:lvl4pPr>
            <a:lvl5pPr marL="1827570" indent="0">
              <a:buNone/>
              <a:defRPr sz="1900"/>
            </a:lvl5pPr>
            <a:lvl6pPr marL="2284471" indent="0">
              <a:buNone/>
              <a:defRPr sz="1900"/>
            </a:lvl6pPr>
            <a:lvl7pPr marL="2741356" indent="0">
              <a:buNone/>
              <a:defRPr sz="1900"/>
            </a:lvl7pPr>
            <a:lvl8pPr marL="3198245" indent="0">
              <a:buNone/>
              <a:defRPr sz="1900"/>
            </a:lvl8pPr>
            <a:lvl9pPr marL="3655133" indent="0">
              <a:buNone/>
              <a:defRPr sz="1900"/>
            </a:lvl9pPr>
          </a:lstStyle>
          <a:p>
            <a:endParaRPr lang="en-US"/>
          </a:p>
        </p:txBody>
      </p:sp>
      <p:sp>
        <p:nvSpPr>
          <p:cNvPr id="4" name="Text Placeholder 3"/>
          <p:cNvSpPr>
            <a:spLocks noGrp="1"/>
          </p:cNvSpPr>
          <p:nvPr>
            <p:ph type="body" sz="half" idx="2"/>
          </p:nvPr>
        </p:nvSpPr>
        <p:spPr>
          <a:xfrm>
            <a:off x="839791" y="2057405"/>
            <a:ext cx="3932237" cy="3811588"/>
          </a:xfrm>
        </p:spPr>
        <p:txBody>
          <a:bodyPr/>
          <a:lstStyle>
            <a:lvl1pPr marL="0" indent="0">
              <a:buNone/>
              <a:defRPr sz="1600"/>
            </a:lvl1pPr>
            <a:lvl2pPr marL="456890" indent="0">
              <a:buNone/>
              <a:defRPr sz="1500"/>
            </a:lvl2pPr>
            <a:lvl3pPr marL="913786" indent="0">
              <a:buNone/>
              <a:defRPr sz="1200"/>
            </a:lvl3pPr>
            <a:lvl4pPr marL="1370680" indent="0">
              <a:buNone/>
              <a:defRPr sz="1100"/>
            </a:lvl4pPr>
            <a:lvl5pPr marL="1827570" indent="0">
              <a:buNone/>
              <a:defRPr sz="1100"/>
            </a:lvl5pPr>
            <a:lvl6pPr marL="2284471" indent="0">
              <a:buNone/>
              <a:defRPr sz="1100"/>
            </a:lvl6pPr>
            <a:lvl7pPr marL="2741356" indent="0">
              <a:buNone/>
              <a:defRPr sz="1100"/>
            </a:lvl7pPr>
            <a:lvl8pPr marL="3198245" indent="0">
              <a:buNone/>
              <a:defRPr sz="1100"/>
            </a:lvl8pPr>
            <a:lvl9pPr marL="3655133" indent="0">
              <a:buNone/>
              <a:defRPr sz="1100"/>
            </a:lvl9pPr>
          </a:lstStyle>
          <a:p>
            <a:pPr lvl="0"/>
            <a:r>
              <a:rPr lang="en-US"/>
              <a:t>Edit Master text styles</a:t>
            </a:r>
          </a:p>
        </p:txBody>
      </p:sp>
      <p:sp>
        <p:nvSpPr>
          <p:cNvPr id="5" name="Date Placeholder 4"/>
          <p:cNvSpPr>
            <a:spLocks noGrp="1"/>
          </p:cNvSpPr>
          <p:nvPr>
            <p:ph type="dt" sz="half" idx="10"/>
          </p:nvPr>
        </p:nvSpPr>
        <p:spPr>
          <a:xfrm>
            <a:off x="838200" y="6356677"/>
            <a:ext cx="2743201" cy="365125"/>
          </a:xfrm>
          <a:prstGeom prst="rect">
            <a:avLst/>
          </a:prstGeom>
        </p:spPr>
        <p:txBody>
          <a:bodyPr lIns="91384" tIns="45698" rIns="91384" bIns="45698"/>
          <a:lstStyle/>
          <a:p>
            <a:fld id="{DDD46765-4AB1-496D-B51E-2505A016815F}" type="datetime1">
              <a:rPr lang="en-US" smtClean="0">
                <a:solidFill>
                  <a:prstClr val="black"/>
                </a:solidFill>
              </a:rPr>
              <a:pPr/>
              <a:t>4/30/2019</a:t>
            </a:fld>
            <a:endParaRPr lang="en-US">
              <a:solidFill>
                <a:prstClr val="black"/>
              </a:solidFill>
            </a:endParaRPr>
          </a:p>
        </p:txBody>
      </p:sp>
      <p:sp>
        <p:nvSpPr>
          <p:cNvPr id="6" name="Footer Placeholder 5"/>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7" name="Slide Number Placeholder 6"/>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6850131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4E77A199-A39B-45D1-B65B-DC2B8F2B5A0B}" type="datetime1">
              <a:rPr lang="en-US" smtClean="0">
                <a:solidFill>
                  <a:prstClr val="black"/>
                </a:solidFill>
              </a:rPr>
              <a:p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02175252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3" y="365127"/>
            <a:ext cx="2628900"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7"/>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D958534C-34D6-485B-804F-3CF0AA1A4B77}" type="datetime1">
              <a:rPr lang="en-US" smtClean="0">
                <a:solidFill>
                  <a:prstClr val="black"/>
                </a:solidFill>
              </a:rPr>
              <a:p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634220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4" y="1122366"/>
            <a:ext cx="9144001"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4" y="3602038"/>
            <a:ext cx="9144001" cy="1655762"/>
          </a:xfrm>
        </p:spPr>
        <p:txBody>
          <a:bodyPr/>
          <a:lstStyle>
            <a:lvl1pPr marL="0" indent="0" algn="ctr">
              <a:buNone/>
              <a:defRPr sz="2400"/>
            </a:lvl1pPr>
            <a:lvl2pPr marL="456994" indent="0" algn="ctr">
              <a:buNone/>
              <a:defRPr sz="1900"/>
            </a:lvl2pPr>
            <a:lvl3pPr marL="913990" indent="0" algn="ctr">
              <a:buNone/>
              <a:defRPr sz="1800"/>
            </a:lvl3pPr>
            <a:lvl4pPr marL="1370985" indent="0" algn="ctr">
              <a:buNone/>
              <a:defRPr sz="1600"/>
            </a:lvl4pPr>
            <a:lvl5pPr marL="1827979" indent="0" algn="ctr">
              <a:buNone/>
              <a:defRPr sz="1600"/>
            </a:lvl5pPr>
            <a:lvl6pPr marL="2284974" indent="0" algn="ctr">
              <a:buNone/>
              <a:defRPr sz="1600"/>
            </a:lvl6pPr>
            <a:lvl7pPr marL="2741968" indent="0" algn="ctr">
              <a:buNone/>
              <a:defRPr sz="1600"/>
            </a:lvl7pPr>
            <a:lvl8pPr marL="3198964" indent="0" algn="ctr">
              <a:buNone/>
              <a:defRPr sz="1600"/>
            </a:lvl8pPr>
            <a:lvl9pPr marL="365595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3B9D2DE1-69AF-4B82-8B8E-383A7303BF5B}" type="datetime1">
              <a:rPr lang="en-US" sz="1800" smtClean="0">
                <a:solidFill>
                  <a:prstClr val="black"/>
                </a:solidFill>
              </a:rPr>
              <a:pPr defTabSz="914013">
                <a:defRPr/>
              </a:pPr>
              <a:t>4/30/2019</a:t>
            </a:fld>
            <a:endParaRPr lang="en-US" sz="1800">
              <a:solidFill>
                <a:prstClr val="black"/>
              </a:solidFill>
            </a:endParaRPr>
          </a:p>
        </p:txBody>
      </p:sp>
      <p:sp>
        <p:nvSpPr>
          <p:cNvPr id="5" name="Footer Placeholder 4"/>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6" name="Slide Number Placeholder 5"/>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79191307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869398325"/>
              </p:ex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840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E6425577-E5C0-4932-802F-5B12BF80E15D}" type="datetime1">
              <a:rPr lang="en-US" sz="1800" smtClean="0">
                <a:solidFill>
                  <a:prstClr val="black"/>
                </a:solidFill>
              </a:rPr>
              <a:pPr defTabSz="914013">
                <a:defRPr/>
              </a:pPr>
              <a:t>4/30/2019</a:t>
            </a:fld>
            <a:endParaRPr lang="en-US" sz="1800">
              <a:solidFill>
                <a:prstClr val="black"/>
              </a:solidFill>
            </a:endParaRPr>
          </a:p>
        </p:txBody>
      </p:sp>
      <p:sp>
        <p:nvSpPr>
          <p:cNvPr id="5" name="Footer Placeholder 4"/>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6" name="Slide Number Placeholder 5"/>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357448223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94"/>
            <a:ext cx="10515600" cy="1500187"/>
          </a:xfrm>
        </p:spPr>
        <p:txBody>
          <a:bodyPr/>
          <a:lstStyle>
            <a:lvl1pPr marL="0" indent="0">
              <a:buNone/>
              <a:defRPr sz="2400">
                <a:solidFill>
                  <a:schemeClr val="tx1">
                    <a:tint val="75000"/>
                  </a:schemeClr>
                </a:solidFill>
              </a:defRPr>
            </a:lvl1pPr>
            <a:lvl2pPr marL="456994" indent="0">
              <a:buNone/>
              <a:defRPr sz="1900">
                <a:solidFill>
                  <a:schemeClr val="tx1">
                    <a:tint val="75000"/>
                  </a:schemeClr>
                </a:solidFill>
              </a:defRPr>
            </a:lvl2pPr>
            <a:lvl3pPr marL="913990" indent="0">
              <a:buNone/>
              <a:defRPr sz="1800">
                <a:solidFill>
                  <a:schemeClr val="tx1">
                    <a:tint val="75000"/>
                  </a:schemeClr>
                </a:solidFill>
              </a:defRPr>
            </a:lvl3pPr>
            <a:lvl4pPr marL="1370985" indent="0">
              <a:buNone/>
              <a:defRPr sz="1600">
                <a:solidFill>
                  <a:schemeClr val="tx1">
                    <a:tint val="75000"/>
                  </a:schemeClr>
                </a:solidFill>
              </a:defRPr>
            </a:lvl4pPr>
            <a:lvl5pPr marL="1827979" indent="0">
              <a:buNone/>
              <a:defRPr sz="1600">
                <a:solidFill>
                  <a:schemeClr val="tx1">
                    <a:tint val="75000"/>
                  </a:schemeClr>
                </a:solidFill>
              </a:defRPr>
            </a:lvl5pPr>
            <a:lvl6pPr marL="2284974" indent="0">
              <a:buNone/>
              <a:defRPr sz="1600">
                <a:solidFill>
                  <a:schemeClr val="tx1">
                    <a:tint val="75000"/>
                  </a:schemeClr>
                </a:solidFill>
              </a:defRPr>
            </a:lvl6pPr>
            <a:lvl7pPr marL="2741968" indent="0">
              <a:buNone/>
              <a:defRPr sz="1600">
                <a:solidFill>
                  <a:schemeClr val="tx1">
                    <a:tint val="75000"/>
                  </a:schemeClr>
                </a:solidFill>
              </a:defRPr>
            </a:lvl7pPr>
            <a:lvl8pPr marL="3198964" indent="0">
              <a:buNone/>
              <a:defRPr sz="1600">
                <a:solidFill>
                  <a:schemeClr val="tx1">
                    <a:tint val="75000"/>
                  </a:schemeClr>
                </a:solidFill>
              </a:defRPr>
            </a:lvl8pPr>
            <a:lvl9pPr marL="3655959"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5E48E097-4643-411C-8D58-A5174C6A3C3B}" type="datetime1">
              <a:rPr lang="en-US" sz="1800" smtClean="0">
                <a:solidFill>
                  <a:prstClr val="black"/>
                </a:solidFill>
              </a:rPr>
              <a:pPr defTabSz="914013">
                <a:defRPr/>
              </a:pPr>
              <a:t>4/30/2019</a:t>
            </a:fld>
            <a:endParaRPr lang="en-US" sz="1800">
              <a:solidFill>
                <a:prstClr val="black"/>
              </a:solidFill>
            </a:endParaRPr>
          </a:p>
        </p:txBody>
      </p:sp>
      <p:sp>
        <p:nvSpPr>
          <p:cNvPr id="5" name="Footer Placeholder 4"/>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6" name="Slide Number Placeholder 5"/>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45823519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2"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3"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3A0C4256-136A-4A64-ADD5-86F06957194C}" type="datetime1">
              <a:rPr lang="en-US" sz="1800" smtClean="0">
                <a:solidFill>
                  <a:prstClr val="black"/>
                </a:solidFill>
              </a:rPr>
              <a:pPr defTabSz="914013">
                <a:defRPr/>
              </a:pPr>
              <a:t>4/30/2019</a:t>
            </a:fld>
            <a:endParaRPr lang="en-US" sz="1800">
              <a:solidFill>
                <a:prstClr val="black"/>
              </a:solidFill>
            </a:endParaRPr>
          </a:p>
        </p:txBody>
      </p:sp>
      <p:sp>
        <p:nvSpPr>
          <p:cNvPr id="6" name="Footer Placeholder 5"/>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7" name="Slide Number Placeholder 6"/>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192049061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32"/>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6994" indent="0">
              <a:buNone/>
              <a:defRPr sz="1900" b="1"/>
            </a:lvl2pPr>
            <a:lvl3pPr marL="913990" indent="0">
              <a:buNone/>
              <a:defRPr sz="1800" b="1"/>
            </a:lvl3pPr>
            <a:lvl4pPr marL="1370985" indent="0">
              <a:buNone/>
              <a:defRPr sz="1600" b="1"/>
            </a:lvl4pPr>
            <a:lvl5pPr marL="1827979" indent="0">
              <a:buNone/>
              <a:defRPr sz="1600" b="1"/>
            </a:lvl5pPr>
            <a:lvl6pPr marL="2284974" indent="0">
              <a:buNone/>
              <a:defRPr sz="1600" b="1"/>
            </a:lvl6pPr>
            <a:lvl7pPr marL="2741968" indent="0">
              <a:buNone/>
              <a:defRPr sz="1600" b="1"/>
            </a:lvl7pPr>
            <a:lvl8pPr marL="3198964" indent="0">
              <a:buNone/>
              <a:defRPr sz="1600" b="1"/>
            </a:lvl8pPr>
            <a:lvl9pPr marL="365595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8"/>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7" cy="823912"/>
          </a:xfrm>
        </p:spPr>
        <p:txBody>
          <a:bodyPr anchor="b"/>
          <a:lstStyle>
            <a:lvl1pPr marL="0" indent="0">
              <a:buNone/>
              <a:defRPr sz="2400" b="1"/>
            </a:lvl1pPr>
            <a:lvl2pPr marL="456994" indent="0">
              <a:buNone/>
              <a:defRPr sz="1900" b="1"/>
            </a:lvl2pPr>
            <a:lvl3pPr marL="913990" indent="0">
              <a:buNone/>
              <a:defRPr sz="1800" b="1"/>
            </a:lvl3pPr>
            <a:lvl4pPr marL="1370985" indent="0">
              <a:buNone/>
              <a:defRPr sz="1600" b="1"/>
            </a:lvl4pPr>
            <a:lvl5pPr marL="1827979" indent="0">
              <a:buNone/>
              <a:defRPr sz="1600" b="1"/>
            </a:lvl5pPr>
            <a:lvl6pPr marL="2284974" indent="0">
              <a:buNone/>
              <a:defRPr sz="1600" b="1"/>
            </a:lvl6pPr>
            <a:lvl7pPr marL="2741968" indent="0">
              <a:buNone/>
              <a:defRPr sz="1600" b="1"/>
            </a:lvl7pPr>
            <a:lvl8pPr marL="3198964" indent="0">
              <a:buNone/>
              <a:defRPr sz="1600" b="1"/>
            </a:lvl8pPr>
            <a:lvl9pPr marL="3655959" indent="0">
              <a:buNone/>
              <a:defRPr sz="1600" b="1"/>
            </a:lvl9pPr>
          </a:lstStyle>
          <a:p>
            <a:pPr lvl="0"/>
            <a:r>
              <a:rPr lang="en-US"/>
              <a:t>Edit Master text styles</a:t>
            </a:r>
          </a:p>
        </p:txBody>
      </p:sp>
      <p:sp>
        <p:nvSpPr>
          <p:cNvPr id="6" name="Content Placeholder 5"/>
          <p:cNvSpPr>
            <a:spLocks noGrp="1"/>
          </p:cNvSpPr>
          <p:nvPr>
            <p:ph sz="quarter" idx="4"/>
          </p:nvPr>
        </p:nvSpPr>
        <p:spPr>
          <a:xfrm>
            <a:off x="6172203" y="2505078"/>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ED89E8B5-B8D0-42E7-920E-031B349AC103}" type="datetime1">
              <a:rPr lang="en-US" sz="1800" smtClean="0">
                <a:solidFill>
                  <a:prstClr val="black"/>
                </a:solidFill>
              </a:rPr>
              <a:pPr defTabSz="914013">
                <a:defRPr/>
              </a:pPr>
              <a:t>4/30/2019</a:t>
            </a:fld>
            <a:endParaRPr lang="en-US" sz="1800">
              <a:solidFill>
                <a:prstClr val="black"/>
              </a:solidFill>
            </a:endParaRPr>
          </a:p>
        </p:txBody>
      </p:sp>
      <p:sp>
        <p:nvSpPr>
          <p:cNvPr id="8" name="Footer Placeholder 7"/>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9" name="Slide Number Placeholder 8"/>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40120734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850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C09F0574-77B0-4EBA-BD6A-9EDEC3608233}" type="datetime1">
              <a:rPr lang="en-US" sz="1800" smtClean="0">
                <a:solidFill>
                  <a:prstClr val="black"/>
                </a:solidFill>
              </a:rPr>
              <a:pPr defTabSz="914013">
                <a:defRPr/>
              </a:pPr>
              <a:t>4/30/2019</a:t>
            </a:fld>
            <a:endParaRPr lang="en-US" sz="1800">
              <a:solidFill>
                <a:prstClr val="black"/>
              </a:solidFill>
            </a:endParaRPr>
          </a:p>
        </p:txBody>
      </p:sp>
      <p:sp>
        <p:nvSpPr>
          <p:cNvPr id="4" name="Footer Placeholder 3"/>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5" name="Slide Number Placeholder 4"/>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956200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3A25E5F-CB3C-4F07-A26A-448BE4F975D8}"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graphicFrame>
        <p:nvGraphicFramePr>
          <p:cNvPr id="7" name="Object 6" hidden="1">
            <a:extLst>
              <a:ext uri="{FF2B5EF4-FFF2-40B4-BE49-F238E27FC236}">
                <a16:creationId xmlns:a16="http://schemas.microsoft.com/office/drawing/2014/main" id="{AEC1B317-CA0D-4199-8734-5637E4D3993B}"/>
              </a:ext>
            </a:extLst>
          </p:cNvPr>
          <p:cNvGraphicFramePr>
            <a:graphicFrameLocks noChangeAspect="1"/>
          </p:cNvGraphicFramePr>
          <p:nvPr userDrawn="1">
            <p:custDataLst>
              <p:tags r:id="rId2"/>
            </p:custDataLst>
            <p:extLst>
              <p:ext uri="{D42A27DB-BD31-4B8C-83A1-F6EECF244321}">
                <p14:modId xmlns:p14="http://schemas.microsoft.com/office/powerpoint/2010/main" val="2836604306"/>
              </p:ex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769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616"/>
                        <a:ext cx="1586" cy="1587"/>
                      </a:xfrm>
                      <a:prstGeom prst="rect">
                        <a:avLst/>
                      </a:prstGeom>
                    </p:spPr>
                  </p:pic>
                </p:oleObj>
              </mc:Fallback>
            </mc:AlternateContent>
          </a:graphicData>
        </a:graphic>
      </p:graphicFrame>
    </p:spTree>
    <p:extLst>
      <p:ext uri="{BB962C8B-B14F-4D97-AF65-F5344CB8AC3E}">
        <p14:creationId xmlns:p14="http://schemas.microsoft.com/office/powerpoint/2010/main" val="794001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6"/>
            <a:ext cx="6172200" cy="4873625"/>
          </a:xfrm>
        </p:spPr>
        <p:txBody>
          <a:bodyPr/>
          <a:lstStyle>
            <a:lvl1pPr marL="0" indent="0">
              <a:buNone/>
              <a:defRPr sz="3200"/>
            </a:lvl1pPr>
            <a:lvl2pPr marL="457007" indent="0">
              <a:buNone/>
              <a:defRPr sz="2800"/>
            </a:lvl2pPr>
            <a:lvl3pPr marL="914013" indent="0">
              <a:buNone/>
              <a:defRPr sz="2400"/>
            </a:lvl3pPr>
            <a:lvl4pPr marL="1371019" indent="0">
              <a:buNone/>
              <a:defRPr sz="1900"/>
            </a:lvl4pPr>
            <a:lvl5pPr marL="1828025" indent="0">
              <a:buNone/>
              <a:defRPr sz="1900"/>
            </a:lvl5pPr>
            <a:lvl6pPr marL="2285031" indent="0">
              <a:buNone/>
              <a:defRPr sz="1900"/>
            </a:lvl6pPr>
            <a:lvl7pPr marL="2742037" indent="0">
              <a:buNone/>
              <a:defRPr sz="1900"/>
            </a:lvl7pPr>
            <a:lvl8pPr marL="3199044" indent="0">
              <a:buNone/>
              <a:defRPr sz="1900"/>
            </a:lvl8pPr>
            <a:lvl9pPr marL="3656050" indent="0">
              <a:buNone/>
              <a:defRPr sz="1900"/>
            </a:lvl9pPr>
          </a:lstStyle>
          <a:p>
            <a:endParaRPr lang="en-GB"/>
          </a:p>
        </p:txBody>
      </p:sp>
      <p:sp>
        <p:nvSpPr>
          <p:cNvPr id="4" name="Text Placeholder 3"/>
          <p:cNvSpPr>
            <a:spLocks noGrp="1"/>
          </p:cNvSpPr>
          <p:nvPr>
            <p:ph type="body" sz="half" idx="2"/>
          </p:nvPr>
        </p:nvSpPr>
        <p:spPr>
          <a:xfrm>
            <a:off x="839791" y="2057403"/>
            <a:ext cx="3932237" cy="3811588"/>
          </a:xfrm>
        </p:spPr>
        <p:txBody>
          <a:bodyPr/>
          <a:lstStyle>
            <a:lvl1pPr marL="0" indent="0">
              <a:buNone/>
              <a:defRPr sz="1600"/>
            </a:lvl1pPr>
            <a:lvl2pPr marL="457007" indent="0">
              <a:buNone/>
              <a:defRPr sz="1500"/>
            </a:lvl2pPr>
            <a:lvl3pPr marL="914013" indent="0">
              <a:buNone/>
              <a:defRPr sz="1200"/>
            </a:lvl3pPr>
            <a:lvl4pPr marL="1371019" indent="0">
              <a:buNone/>
              <a:defRPr sz="1000"/>
            </a:lvl4pPr>
            <a:lvl5pPr marL="1828025" indent="0">
              <a:buNone/>
              <a:defRPr sz="1000"/>
            </a:lvl5pPr>
            <a:lvl6pPr marL="2285031" indent="0">
              <a:buNone/>
              <a:defRPr sz="1000"/>
            </a:lvl6pPr>
            <a:lvl7pPr marL="2742037" indent="0">
              <a:buNone/>
              <a:defRPr sz="1000"/>
            </a:lvl7pPr>
            <a:lvl8pPr marL="3199044" indent="0">
              <a:buNone/>
              <a:defRPr sz="1000"/>
            </a:lvl8pPr>
            <a:lvl9pPr marL="365605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D3A2186-A044-4F93-B9B5-E6360561CC35}" type="datetime1">
              <a:rPr lang="en-US" smtClean="0">
                <a:solidFill>
                  <a:prstClr val="black"/>
                </a:solidFill>
              </a:rPr>
              <a:t>4/30/2019</a:t>
            </a:fld>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prstClr val="black"/>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8759413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C0AEE386-603F-49E2-9A64-F169B40B6026}" type="datetime1">
              <a:rPr lang="en-US" sz="1800" smtClean="0">
                <a:solidFill>
                  <a:prstClr val="black"/>
                </a:solidFill>
              </a:rPr>
              <a:pPr defTabSz="914013">
                <a:defRPr/>
              </a:pPr>
              <a:t>4/30/2019</a:t>
            </a:fld>
            <a:endParaRPr lang="en-US" sz="1800">
              <a:solidFill>
                <a:prstClr val="black"/>
              </a:solidFill>
            </a:endParaRPr>
          </a:p>
        </p:txBody>
      </p:sp>
      <p:sp>
        <p:nvSpPr>
          <p:cNvPr id="3" name="Footer Placeholder 2"/>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4" name="Slide Number Placeholder 3"/>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40368375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31"/>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1" y="2057403"/>
            <a:ext cx="3932237" cy="3811588"/>
          </a:xfrm>
        </p:spPr>
        <p:txBody>
          <a:bodyPr/>
          <a:lstStyle>
            <a:lvl1pPr marL="0" indent="0">
              <a:buNone/>
              <a:defRPr sz="1600"/>
            </a:lvl1pPr>
            <a:lvl2pPr marL="456994" indent="0">
              <a:buNone/>
              <a:defRPr sz="1500"/>
            </a:lvl2pPr>
            <a:lvl3pPr marL="913990" indent="0">
              <a:buNone/>
              <a:defRPr sz="1200"/>
            </a:lvl3pPr>
            <a:lvl4pPr marL="1370985" indent="0">
              <a:buNone/>
              <a:defRPr sz="1000"/>
            </a:lvl4pPr>
            <a:lvl5pPr marL="1827979" indent="0">
              <a:buNone/>
              <a:defRPr sz="1000"/>
            </a:lvl5pPr>
            <a:lvl6pPr marL="2284974" indent="0">
              <a:buNone/>
              <a:defRPr sz="1000"/>
            </a:lvl6pPr>
            <a:lvl7pPr marL="2741968" indent="0">
              <a:buNone/>
              <a:defRPr sz="1000"/>
            </a:lvl7pPr>
            <a:lvl8pPr marL="3198964" indent="0">
              <a:buNone/>
              <a:defRPr sz="1000"/>
            </a:lvl8pPr>
            <a:lvl9pPr marL="3655959"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61DEE53B-7814-4108-9CAC-7521495865C0}" type="datetime1">
              <a:rPr lang="en-US" sz="1800" smtClean="0">
                <a:solidFill>
                  <a:prstClr val="black"/>
                </a:solidFill>
              </a:rPr>
              <a:pPr defTabSz="914013">
                <a:defRPr/>
              </a:pPr>
              <a:t>4/30/2019</a:t>
            </a:fld>
            <a:endParaRPr lang="en-US" sz="1800">
              <a:solidFill>
                <a:prstClr val="black"/>
              </a:solidFill>
            </a:endParaRPr>
          </a:p>
        </p:txBody>
      </p:sp>
      <p:sp>
        <p:nvSpPr>
          <p:cNvPr id="6" name="Footer Placeholder 5"/>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7" name="Slide Number Placeholder 6"/>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38354486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31"/>
            <a:ext cx="6172200" cy="4873625"/>
          </a:xfrm>
        </p:spPr>
        <p:txBody>
          <a:bodyPr/>
          <a:lstStyle>
            <a:lvl1pPr marL="0" indent="0">
              <a:buNone/>
              <a:defRPr sz="3200"/>
            </a:lvl1pPr>
            <a:lvl2pPr marL="456994" indent="0">
              <a:buNone/>
              <a:defRPr sz="2800"/>
            </a:lvl2pPr>
            <a:lvl3pPr marL="913990" indent="0">
              <a:buNone/>
              <a:defRPr sz="2400"/>
            </a:lvl3pPr>
            <a:lvl4pPr marL="1370985" indent="0">
              <a:buNone/>
              <a:defRPr sz="1900"/>
            </a:lvl4pPr>
            <a:lvl5pPr marL="1827979" indent="0">
              <a:buNone/>
              <a:defRPr sz="1900"/>
            </a:lvl5pPr>
            <a:lvl6pPr marL="2284974" indent="0">
              <a:buNone/>
              <a:defRPr sz="1900"/>
            </a:lvl6pPr>
            <a:lvl7pPr marL="2741968" indent="0">
              <a:buNone/>
              <a:defRPr sz="1900"/>
            </a:lvl7pPr>
            <a:lvl8pPr marL="3198964" indent="0">
              <a:buNone/>
              <a:defRPr sz="1900"/>
            </a:lvl8pPr>
            <a:lvl9pPr marL="3655959" indent="0">
              <a:buNone/>
              <a:defRPr sz="1900"/>
            </a:lvl9pPr>
          </a:lstStyle>
          <a:p>
            <a:endParaRPr lang="en-US"/>
          </a:p>
        </p:txBody>
      </p:sp>
      <p:sp>
        <p:nvSpPr>
          <p:cNvPr id="4" name="Text Placeholder 3"/>
          <p:cNvSpPr>
            <a:spLocks noGrp="1"/>
          </p:cNvSpPr>
          <p:nvPr>
            <p:ph type="body" sz="half" idx="2"/>
          </p:nvPr>
        </p:nvSpPr>
        <p:spPr>
          <a:xfrm>
            <a:off x="839791" y="2057403"/>
            <a:ext cx="3932237" cy="3811588"/>
          </a:xfrm>
        </p:spPr>
        <p:txBody>
          <a:bodyPr/>
          <a:lstStyle>
            <a:lvl1pPr marL="0" indent="0">
              <a:buNone/>
              <a:defRPr sz="1600"/>
            </a:lvl1pPr>
            <a:lvl2pPr marL="456994" indent="0">
              <a:buNone/>
              <a:defRPr sz="1500"/>
            </a:lvl2pPr>
            <a:lvl3pPr marL="913990" indent="0">
              <a:buNone/>
              <a:defRPr sz="1200"/>
            </a:lvl3pPr>
            <a:lvl4pPr marL="1370985" indent="0">
              <a:buNone/>
              <a:defRPr sz="1000"/>
            </a:lvl4pPr>
            <a:lvl5pPr marL="1827979" indent="0">
              <a:buNone/>
              <a:defRPr sz="1000"/>
            </a:lvl5pPr>
            <a:lvl6pPr marL="2284974" indent="0">
              <a:buNone/>
              <a:defRPr sz="1000"/>
            </a:lvl6pPr>
            <a:lvl7pPr marL="2741968" indent="0">
              <a:buNone/>
              <a:defRPr sz="1000"/>
            </a:lvl7pPr>
            <a:lvl8pPr marL="3198964" indent="0">
              <a:buNone/>
              <a:defRPr sz="1000"/>
            </a:lvl8pPr>
            <a:lvl9pPr marL="3655959"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C5591519-1849-496E-AB75-8CFF6AE84DBA}" type="datetime1">
              <a:rPr lang="en-US" sz="1800" smtClean="0">
                <a:solidFill>
                  <a:prstClr val="black"/>
                </a:solidFill>
              </a:rPr>
              <a:pPr defTabSz="914013">
                <a:defRPr/>
              </a:pPr>
              <a:t>4/30/2019</a:t>
            </a:fld>
            <a:endParaRPr lang="en-US" sz="1800">
              <a:solidFill>
                <a:prstClr val="black"/>
              </a:solidFill>
            </a:endParaRPr>
          </a:p>
        </p:txBody>
      </p:sp>
      <p:sp>
        <p:nvSpPr>
          <p:cNvPr id="6" name="Footer Placeholder 5"/>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7" name="Slide Number Placeholder 6"/>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368493913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900ECA4F-D141-422E-AE6A-A77DC2D490DA}" type="datetime1">
              <a:rPr lang="en-US" sz="1800" smtClean="0">
                <a:solidFill>
                  <a:prstClr val="black"/>
                </a:solidFill>
              </a:rPr>
              <a:pPr defTabSz="914013">
                <a:defRPr/>
              </a:pPr>
              <a:t>4/30/2019</a:t>
            </a:fld>
            <a:endParaRPr lang="en-US" sz="1800">
              <a:solidFill>
                <a:prstClr val="black"/>
              </a:solidFill>
            </a:endParaRPr>
          </a:p>
        </p:txBody>
      </p:sp>
      <p:sp>
        <p:nvSpPr>
          <p:cNvPr id="5" name="Footer Placeholder 4"/>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6" name="Slide Number Placeholder 5"/>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245540603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3"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81"/>
            <a:ext cx="2743201" cy="365125"/>
          </a:xfrm>
          <a:prstGeom prst="rect">
            <a:avLst/>
          </a:prstGeom>
        </p:spPr>
        <p:txBody>
          <a:bodyPr lIns="91401" tIns="45702" rIns="91401" bIns="45702"/>
          <a:lstStyle/>
          <a:p>
            <a:pPr defTabSz="914013">
              <a:defRPr/>
            </a:pPr>
            <a:fld id="{D58C6776-17DF-41FC-B963-3EEB22F55F81}" type="datetime1">
              <a:rPr lang="en-US" sz="1800" smtClean="0">
                <a:solidFill>
                  <a:prstClr val="black"/>
                </a:solidFill>
              </a:rPr>
              <a:pPr defTabSz="914013">
                <a:defRPr/>
              </a:pPr>
              <a:t>4/30/2019</a:t>
            </a:fld>
            <a:endParaRPr lang="en-US" sz="1800">
              <a:solidFill>
                <a:prstClr val="black"/>
              </a:solidFill>
            </a:endParaRPr>
          </a:p>
        </p:txBody>
      </p:sp>
      <p:sp>
        <p:nvSpPr>
          <p:cNvPr id="5" name="Footer Placeholder 4"/>
          <p:cNvSpPr>
            <a:spLocks noGrp="1"/>
          </p:cNvSpPr>
          <p:nvPr>
            <p:ph type="ftr" sz="quarter" idx="11"/>
          </p:nvPr>
        </p:nvSpPr>
        <p:spPr>
          <a:xfrm>
            <a:off x="4038601" y="6356381"/>
            <a:ext cx="4114800" cy="365125"/>
          </a:xfrm>
          <a:prstGeom prst="rect">
            <a:avLst/>
          </a:prstGeom>
        </p:spPr>
        <p:txBody>
          <a:bodyPr lIns="91401" tIns="45702" rIns="91401" bIns="45702"/>
          <a:lstStyle/>
          <a:p>
            <a:pPr defTabSz="914013">
              <a:defRPr/>
            </a:pPr>
            <a:endParaRPr lang="en-US" sz="1800">
              <a:solidFill>
                <a:prstClr val="black"/>
              </a:solidFill>
            </a:endParaRPr>
          </a:p>
        </p:txBody>
      </p:sp>
      <p:sp>
        <p:nvSpPr>
          <p:cNvPr id="6" name="Slide Number Placeholder 5"/>
          <p:cNvSpPr>
            <a:spLocks noGrp="1"/>
          </p:cNvSpPr>
          <p:nvPr>
            <p:ph type="sldNum" sz="quarter" idx="12"/>
          </p:nvPr>
        </p:nvSpPr>
        <p:spPr>
          <a:xfrm>
            <a:off x="8610599" y="6356381"/>
            <a:ext cx="2743201" cy="365125"/>
          </a:xfrm>
          <a:prstGeom prst="rect">
            <a:avLst/>
          </a:prstGeom>
        </p:spPr>
        <p:txBody>
          <a:bodyPr lIns="91401" tIns="45702" rIns="91401" bIns="45702"/>
          <a:lstStyle/>
          <a:p>
            <a:pPr defTabSz="914013">
              <a:defRPr/>
            </a:pPr>
            <a:fld id="{978E596B-AA80-4BB2-8707-B351070E738D}" type="slidenum">
              <a:rPr lang="en-US" sz="1800" smtClean="0">
                <a:solidFill>
                  <a:prstClr val="black"/>
                </a:solidFill>
              </a:rPr>
              <a:pPr defTabSz="914013">
                <a:defRPr/>
              </a:pPr>
              <a:t>‹#›</a:t>
            </a:fld>
            <a:endParaRPr lang="en-US" sz="1800">
              <a:solidFill>
                <a:prstClr val="black"/>
              </a:solidFill>
            </a:endParaRPr>
          </a:p>
        </p:txBody>
      </p:sp>
    </p:spTree>
    <p:extLst>
      <p:ext uri="{BB962C8B-B14F-4D97-AF65-F5344CB8AC3E}">
        <p14:creationId xmlns:p14="http://schemas.microsoft.com/office/powerpoint/2010/main" val="78639999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398152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11485169" y="36513"/>
            <a:ext cx="402167" cy="125412"/>
          </a:xfrm>
          <a:prstGeom prst="rect">
            <a:avLst/>
          </a:prstGeom>
          <a:noFill/>
          <a:ln w="9525">
            <a:noFill/>
            <a:miter lim="800000"/>
            <a:headEnd/>
            <a:tailEnd/>
          </a:ln>
          <a:effectLst/>
        </p:spPr>
        <p:txBody>
          <a:bodyPr wrap="none" lIns="0" tIns="0" rIns="0" bIns="0"/>
          <a:lstStyle/>
          <a:p>
            <a:pPr algn="r" defTabSz="914400" fontAlgn="base">
              <a:spcBef>
                <a:spcPct val="0"/>
              </a:spcBef>
              <a:spcAft>
                <a:spcPct val="0"/>
              </a:spcAft>
              <a:defRPr/>
            </a:pPr>
            <a:endParaRPr lang="ru-RU" sz="800">
              <a:solidFill>
                <a:srgbClr val="000000"/>
              </a:solidFill>
              <a:cs typeface="Arial" charset="0"/>
            </a:endParaRPr>
          </a:p>
        </p:txBody>
      </p:sp>
      <p:grpSp>
        <p:nvGrpSpPr>
          <p:cNvPr id="2" name="McK Title Elements"/>
          <p:cNvGrpSpPr>
            <a:grpSpLocks/>
          </p:cNvGrpSpPr>
          <p:nvPr/>
        </p:nvGrpSpPr>
        <p:grpSpPr bwMode="auto">
          <a:xfrm>
            <a:off x="20" y="0"/>
            <a:ext cx="12187767" cy="6859588"/>
            <a:chOff x="0" y="0"/>
            <a:chExt cx="5643" cy="4235"/>
          </a:xfrm>
        </p:grpSpPr>
        <p:sp>
          <p:nvSpPr>
            <p:cNvPr id="6"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914400" fontAlgn="base">
                <a:spcBef>
                  <a:spcPct val="0"/>
                </a:spcBef>
                <a:spcAft>
                  <a:spcPct val="0"/>
                </a:spcAft>
                <a:defRPr/>
              </a:pPr>
              <a:r>
                <a:rPr lang="en-US" sz="1400">
                  <a:solidFill>
                    <a:srgbClr val="000000"/>
                  </a:solidFill>
                  <a:cs typeface="Arial" charset="0"/>
                </a:rPr>
                <a:t>Document type</a:t>
              </a:r>
            </a:p>
          </p:txBody>
        </p:sp>
        <p:sp>
          <p:nvSpPr>
            <p:cNvPr id="7"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914400" fontAlgn="base">
                <a:spcBef>
                  <a:spcPct val="0"/>
                </a:spcBef>
                <a:spcAft>
                  <a:spcPct val="0"/>
                </a:spcAft>
                <a:defRPr/>
              </a:pPr>
              <a:r>
                <a:rPr lang="en-US" sz="1400">
                  <a:solidFill>
                    <a:srgbClr val="000000"/>
                  </a:solidFill>
                  <a:cs typeface="Arial" charset="0"/>
                </a:rPr>
                <a:t>Date</a:t>
              </a:r>
            </a:p>
          </p:txBody>
        </p:sp>
        <p:sp>
          <p:nvSpPr>
            <p:cNvPr id="8" name="McK Disclaimer" hidden="1"/>
            <p:cNvSpPr>
              <a:spLocks noChangeArrowheads="1"/>
            </p:cNvSpPr>
            <p:nvPr userDrawn="1"/>
          </p:nvSpPr>
          <p:spPr bwMode="auto">
            <a:xfrm>
              <a:off x="1663" y="3711"/>
              <a:ext cx="2773" cy="155"/>
            </a:xfrm>
            <a:prstGeom prst="rect">
              <a:avLst/>
            </a:prstGeom>
            <a:noFill/>
            <a:ln w="9525">
              <a:noFill/>
              <a:miter lim="800000"/>
              <a:headEnd/>
              <a:tailEnd/>
            </a:ln>
            <a:effectLst/>
          </p:spPr>
          <p:txBody>
            <a:bodyPr lIns="0" tIns="0" rIns="0" bIns="0" anchor="b">
              <a:spAutoFit/>
            </a:bodyPr>
            <a:lstStyle/>
            <a:p>
              <a:pPr defTabSz="820041" eaLnBrk="0" fontAlgn="base" hangingPunct="0">
                <a:spcBef>
                  <a:spcPct val="0"/>
                </a:spcBef>
                <a:spcAft>
                  <a:spcPct val="0"/>
                </a:spcAft>
                <a:defRPr/>
              </a:pPr>
              <a:r>
                <a:rPr lang="en-US" sz="800">
                  <a:solidFill>
                    <a:srgbClr val="000000"/>
                  </a:solidFill>
                  <a:cs typeface="Arial" charset="0"/>
                </a:rPr>
                <a:t>CONFIDENTIAL AND PROPRIETARY</a:t>
              </a:r>
            </a:p>
            <a:p>
              <a:pPr defTabSz="820041"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914400" fontAlgn="base">
                <a:spcBef>
                  <a:spcPct val="0"/>
                </a:spcBef>
                <a:spcAft>
                  <a:spcPct val="0"/>
                </a:spcAft>
                <a:defRPr/>
              </a:pPr>
              <a:endParaRPr lang="en-US" sz="1800">
                <a:solidFill>
                  <a:srgbClr val="000000"/>
                </a:solidFill>
                <a:cs typeface="Arial" charset="0"/>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914400" fontAlgn="base">
                <a:spcBef>
                  <a:spcPct val="0"/>
                </a:spcBef>
                <a:spcAft>
                  <a:spcPct val="0"/>
                </a:spcAft>
                <a:defRPr/>
              </a:pPr>
              <a:endParaRPr lang="en-US" sz="1800">
                <a:solidFill>
                  <a:srgbClr val="000000"/>
                </a:solidFill>
                <a:cs typeface="Arial" charset="0"/>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914400" fontAlgn="base">
                <a:spcBef>
                  <a:spcPct val="0"/>
                </a:spcBef>
                <a:spcAft>
                  <a:spcPct val="0"/>
                </a:spcAft>
                <a:defRPr/>
              </a:pPr>
              <a:endParaRPr lang="en-US" sz="1800">
                <a:solidFill>
                  <a:srgbClr val="000000"/>
                </a:solidFill>
                <a:cs typeface="Arial" charset="0"/>
              </a:endParaRPr>
            </a:p>
          </p:txBody>
        </p:sp>
      </p:grpSp>
      <p:pic>
        <p:nvPicPr>
          <p:cNvPr id="12" name="TitleBottomBarBW" hidden="1"/>
          <p:cNvPicPr>
            <a:picLocks noChangeAspect="1" noChangeArrowheads="1"/>
          </p:cNvPicPr>
          <p:nvPr/>
        </p:nvPicPr>
        <p:blipFill>
          <a:blip r:embed="rId2" cstate="print"/>
          <a:srcRect/>
          <a:stretch>
            <a:fillRect/>
          </a:stretch>
        </p:blipFill>
        <p:spPr bwMode="auto">
          <a:xfrm>
            <a:off x="9759956" y="6573838"/>
            <a:ext cx="2226733" cy="196850"/>
          </a:xfrm>
          <a:prstGeom prst="rect">
            <a:avLst/>
          </a:prstGeom>
          <a:noFill/>
          <a:ln w="9525">
            <a:noFill/>
            <a:miter lim="800000"/>
            <a:headEnd/>
            <a:tailEnd/>
          </a:ln>
        </p:spPr>
      </p:pic>
      <p:grpSp>
        <p:nvGrpSpPr>
          <p:cNvPr id="3" name="McK Title Elements"/>
          <p:cNvGrpSpPr>
            <a:grpSpLocks/>
          </p:cNvGrpSpPr>
          <p:nvPr userDrawn="1"/>
        </p:nvGrpSpPr>
        <p:grpSpPr bwMode="auto">
          <a:xfrm>
            <a:off x="20" y="0"/>
            <a:ext cx="12187767" cy="6859588"/>
            <a:chOff x="0" y="0"/>
            <a:chExt cx="5643" cy="4235"/>
          </a:xfrm>
        </p:grpSpPr>
        <p:sp>
          <p:nvSpPr>
            <p:cNvPr id="14"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914400" fontAlgn="base">
                <a:spcBef>
                  <a:spcPct val="0"/>
                </a:spcBef>
                <a:spcAft>
                  <a:spcPct val="0"/>
                </a:spcAft>
                <a:defRPr/>
              </a:pPr>
              <a:r>
                <a:rPr lang="en-US" sz="1400">
                  <a:solidFill>
                    <a:srgbClr val="000000"/>
                  </a:solidFill>
                  <a:cs typeface="Arial" charset="0"/>
                </a:rPr>
                <a:t>Document type</a:t>
              </a:r>
            </a:p>
          </p:txBody>
        </p:sp>
        <p:sp>
          <p:nvSpPr>
            <p:cNvPr id="15"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914400" fontAlgn="base">
                <a:spcBef>
                  <a:spcPct val="0"/>
                </a:spcBef>
                <a:spcAft>
                  <a:spcPct val="0"/>
                </a:spcAft>
                <a:defRPr/>
              </a:pPr>
              <a:r>
                <a:rPr lang="en-US" sz="1400">
                  <a:solidFill>
                    <a:srgbClr val="000000"/>
                  </a:solidFill>
                  <a:cs typeface="Arial" charset="0"/>
                </a:rPr>
                <a:t>Date</a:t>
              </a:r>
            </a:p>
          </p:txBody>
        </p:sp>
        <p:sp>
          <p:nvSpPr>
            <p:cNvPr id="16" name="McK Disclaimer" hidden="1"/>
            <p:cNvSpPr>
              <a:spLocks noChangeArrowheads="1"/>
            </p:cNvSpPr>
            <p:nvPr userDrawn="1"/>
          </p:nvSpPr>
          <p:spPr bwMode="auto">
            <a:xfrm>
              <a:off x="1663" y="3717"/>
              <a:ext cx="2772" cy="155"/>
            </a:xfrm>
            <a:prstGeom prst="rect">
              <a:avLst/>
            </a:prstGeom>
            <a:noFill/>
            <a:ln w="9525">
              <a:noFill/>
              <a:miter lim="800000"/>
              <a:headEnd/>
              <a:tailEnd/>
            </a:ln>
            <a:effectLst/>
          </p:spPr>
          <p:txBody>
            <a:bodyPr lIns="0" tIns="0" rIns="0" bIns="0" anchor="b">
              <a:spAutoFit/>
            </a:bodyPr>
            <a:lstStyle/>
            <a:p>
              <a:pPr defTabSz="819605" eaLnBrk="0" fontAlgn="base" hangingPunct="0">
                <a:spcBef>
                  <a:spcPct val="0"/>
                </a:spcBef>
                <a:spcAft>
                  <a:spcPct val="0"/>
                </a:spcAft>
                <a:defRPr/>
              </a:pPr>
              <a:r>
                <a:rPr lang="en-US" sz="800">
                  <a:solidFill>
                    <a:srgbClr val="000000"/>
                  </a:solidFill>
                  <a:cs typeface="Arial" charset="0"/>
                </a:rPr>
                <a:t>CONFIDENTIAL AND PROPRIETARY</a:t>
              </a:r>
            </a:p>
            <a:p>
              <a:pPr defTabSz="819605"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914400" fontAlgn="base">
                <a:spcBef>
                  <a:spcPct val="0"/>
                </a:spcBef>
                <a:spcAft>
                  <a:spcPct val="0"/>
                </a:spcAft>
                <a:defRPr/>
              </a:pPr>
              <a:endParaRPr lang="en-US" sz="1600">
                <a:solidFill>
                  <a:srgbClr val="000000"/>
                </a:solidFill>
                <a:cs typeface="Arial" charset="0"/>
              </a:endParaRPr>
            </a:p>
          </p:txBody>
        </p:sp>
        <p:sp>
          <p:nvSpPr>
            <p:cNvPr id="18"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914400" fontAlgn="base">
                <a:spcBef>
                  <a:spcPct val="0"/>
                </a:spcBef>
                <a:spcAft>
                  <a:spcPct val="0"/>
                </a:spcAft>
                <a:defRPr/>
              </a:pPr>
              <a:endParaRPr lang="en-US" sz="1600">
                <a:solidFill>
                  <a:srgbClr val="000000"/>
                </a:solidFill>
                <a:cs typeface="Arial" charset="0"/>
              </a:endParaRPr>
            </a:p>
          </p:txBody>
        </p:sp>
        <p:sp>
          <p:nvSpPr>
            <p:cNvPr id="19"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914400" fontAlgn="base">
                <a:spcBef>
                  <a:spcPct val="0"/>
                </a:spcBef>
                <a:spcAft>
                  <a:spcPct val="0"/>
                </a:spcAft>
                <a:defRPr/>
              </a:pPr>
              <a:endParaRPr lang="en-US" sz="1600">
                <a:solidFill>
                  <a:srgbClr val="000000"/>
                </a:solidFill>
                <a:cs typeface="Arial" charset="0"/>
              </a:endParaRPr>
            </a:p>
          </p:txBody>
        </p:sp>
      </p:grpSp>
      <p:sp>
        <p:nvSpPr>
          <p:cNvPr id="13314" name="Rectangle 1026"/>
          <p:cNvSpPr>
            <a:spLocks noGrp="1" noChangeArrowheads="1"/>
          </p:cNvSpPr>
          <p:nvPr>
            <p:ph type="ctrTitle"/>
          </p:nvPr>
        </p:nvSpPr>
        <p:spPr>
          <a:xfrm>
            <a:off x="3591726" y="2177134"/>
            <a:ext cx="6714779" cy="538609"/>
          </a:xfrm>
          <a:prstGeom prst="rect">
            <a:avLst/>
          </a:prstGeom>
        </p:spPr>
        <p:txBody>
          <a:bodyPr lIns="91363" tIns="45681" rIns="91363" bIns="45681"/>
          <a:lstStyle>
            <a:lvl1pPr>
              <a:defRPr sz="3500" b="0"/>
            </a:lvl1pPr>
          </a:lstStyle>
          <a:p>
            <a:r>
              <a:rPr lang="en-US"/>
              <a:t>Click to edit Master title</a:t>
            </a:r>
          </a:p>
        </p:txBody>
      </p:sp>
      <p:sp>
        <p:nvSpPr>
          <p:cNvPr id="13315" name="Rectangle 1027"/>
          <p:cNvSpPr>
            <a:spLocks noGrp="1" noChangeArrowheads="1"/>
          </p:cNvSpPr>
          <p:nvPr>
            <p:ph type="subTitle" idx="1"/>
          </p:nvPr>
        </p:nvSpPr>
        <p:spPr>
          <a:xfrm>
            <a:off x="3591726" y="3945699"/>
            <a:ext cx="6714779" cy="219820"/>
          </a:xfrm>
        </p:spPr>
        <p:txBody>
          <a:bodyPr>
            <a:spAutoFit/>
          </a:bodyPr>
          <a:lstStyle>
            <a:lvl1pPr>
              <a:defRPr sz="1400"/>
            </a:lvl1pPr>
          </a:lstStyle>
          <a:p>
            <a:r>
              <a:rPr lang="en-US"/>
              <a:t>Click to edit Master subtitle style</a:t>
            </a:r>
          </a:p>
        </p:txBody>
      </p:sp>
      <p:pic>
        <p:nvPicPr>
          <p:cNvPr id="20" name="Picture 9" descr="http://vaccines.procon.org/files/1-vaccines-images/vaccine_syringe_vials.jpg"/>
          <p:cNvPicPr>
            <a:picLocks noChangeAspect="1" noChangeArrowheads="1"/>
          </p:cNvPicPr>
          <p:nvPr userDrawn="1"/>
        </p:nvPicPr>
        <p:blipFill>
          <a:blip r:embed="rId3" cstate="print"/>
          <a:srcRect/>
          <a:stretch>
            <a:fillRect/>
          </a:stretch>
        </p:blipFill>
        <p:spPr bwMode="auto">
          <a:xfrm>
            <a:off x="7729739" y="2859116"/>
            <a:ext cx="4102537" cy="2141525"/>
          </a:xfrm>
          <a:prstGeom prst="rect">
            <a:avLst/>
          </a:prstGeom>
          <a:noFill/>
        </p:spPr>
      </p:pic>
      <p:pic>
        <p:nvPicPr>
          <p:cNvPr id="21" name="Picture 3"/>
          <p:cNvPicPr>
            <a:picLocks noChangeAspect="1" noChangeArrowheads="1"/>
          </p:cNvPicPr>
          <p:nvPr userDrawn="1"/>
        </p:nvPicPr>
        <p:blipFill>
          <a:blip r:embed="rId4" cstate="print">
            <a:duotone>
              <a:prstClr val="black"/>
              <a:schemeClr val="accent1">
                <a:tint val="45000"/>
                <a:satMod val="400000"/>
              </a:schemeClr>
            </a:duotone>
          </a:blip>
          <a:srcRect/>
          <a:stretch>
            <a:fillRect/>
          </a:stretch>
        </p:blipFill>
        <p:spPr bwMode="auto">
          <a:xfrm>
            <a:off x="-8467" y="-57766"/>
            <a:ext cx="12208933" cy="6864350"/>
          </a:xfrm>
          <a:prstGeom prst="rect">
            <a:avLst/>
          </a:prstGeom>
          <a:noFill/>
          <a:ln w="9525">
            <a:noFill/>
            <a:miter lim="800000"/>
            <a:headEnd/>
            <a:tailEnd/>
          </a:ln>
          <a:effectLst/>
        </p:spPr>
      </p:pic>
      <p:sp>
        <p:nvSpPr>
          <p:cNvPr id="22" name="Rectangle 2"/>
          <p:cNvSpPr txBox="1">
            <a:spLocks noChangeArrowheads="1"/>
          </p:cNvSpPr>
          <p:nvPr userDrawn="1"/>
        </p:nvSpPr>
        <p:spPr>
          <a:xfrm>
            <a:off x="497387" y="857234"/>
            <a:ext cx="11334792" cy="553998"/>
          </a:xfrm>
          <a:prstGeom prst="rect">
            <a:avLst/>
          </a:prstGeom>
        </p:spPr>
        <p:txBody>
          <a:bodyPr wrap="square" lIns="0" rIns="107943">
            <a:spAutoFit/>
          </a:bodyPr>
          <a:lstStyle/>
          <a:p>
            <a:pPr defTabSz="911713" fontAlgn="base">
              <a:spcBef>
                <a:spcPct val="0"/>
              </a:spcBef>
              <a:spcAft>
                <a:spcPct val="0"/>
              </a:spcAft>
              <a:defRPr/>
            </a:pPr>
            <a:r>
              <a:rPr lang="en-GB" sz="3000" b="1" kern="0">
                <a:solidFill>
                  <a:srgbClr val="003300"/>
                </a:solidFill>
              </a:rPr>
              <a:t>Northern states routine immunization systems strengthening</a:t>
            </a:r>
            <a:endParaRPr lang="en-US" sz="3000" b="1" kern="0" dirty="0">
              <a:solidFill>
                <a:srgbClr val="003300"/>
              </a:solidFill>
            </a:endParaRPr>
          </a:p>
        </p:txBody>
      </p:sp>
      <p:pic>
        <p:nvPicPr>
          <p:cNvPr id="6147" name="Picture 3"/>
          <p:cNvPicPr>
            <a:picLocks noChangeAspect="1" noChangeArrowheads="1"/>
          </p:cNvPicPr>
          <p:nvPr userDrawn="1"/>
        </p:nvPicPr>
        <p:blipFill rotWithShape="1">
          <a:blip r:embed="rId5" cstate="print"/>
          <a:srcRect l="68271" t="12501" r="1224" b="7954"/>
          <a:stretch/>
        </p:blipFill>
        <p:spPr bwMode="auto">
          <a:xfrm>
            <a:off x="5552152" y="2859296"/>
            <a:ext cx="1536400" cy="1074463"/>
          </a:xfrm>
          <a:prstGeom prst="rect">
            <a:avLst/>
          </a:prstGeom>
          <a:noFill/>
          <a:ln w="9525">
            <a:noFill/>
            <a:miter lim="800000"/>
            <a:headEnd/>
            <a:tailEnd/>
          </a:ln>
          <a:effectLst/>
        </p:spPr>
      </p:pic>
      <p:pic>
        <p:nvPicPr>
          <p:cNvPr id="37" name="Picture 8" descr="http://upload.wikimedia.org/wikipedia/commons/thumb/0/0c/BillMelindaGatesFoundation.svg/175px-BillMelindaGatesFoundation.svg.png"/>
          <p:cNvPicPr>
            <a:picLocks noChangeAspect="1" noChangeArrowheads="1"/>
          </p:cNvPicPr>
          <p:nvPr userDrawn="1"/>
        </p:nvPicPr>
        <p:blipFill>
          <a:blip r:embed="rId6" cstate="print"/>
          <a:srcRect/>
          <a:stretch>
            <a:fillRect/>
          </a:stretch>
        </p:blipFill>
        <p:spPr bwMode="auto">
          <a:xfrm>
            <a:off x="388220" y="2673806"/>
            <a:ext cx="1734967" cy="1306831"/>
          </a:xfrm>
          <a:prstGeom prst="rect">
            <a:avLst/>
          </a:prstGeom>
          <a:noFill/>
        </p:spPr>
      </p:pic>
      <p:pic>
        <p:nvPicPr>
          <p:cNvPr id="38" name="Picture 3" descr="C:\Users\Nnaemeka.Solina\Desktop\images.jpg"/>
          <p:cNvPicPr>
            <a:picLocks noChangeAspect="1" noChangeArrowheads="1"/>
          </p:cNvPicPr>
          <p:nvPr userDrawn="1"/>
        </p:nvPicPr>
        <p:blipFill>
          <a:blip r:embed="rId7" cstate="print">
            <a:clrChange>
              <a:clrFrom>
                <a:srgbClr val="FFFFFF"/>
              </a:clrFrom>
              <a:clrTo>
                <a:srgbClr val="FFFFFF">
                  <a:alpha val="0"/>
                </a:srgbClr>
              </a:clrTo>
            </a:clrChange>
          </a:blip>
          <a:srcRect l="5654" t="8989" r="6714" b="10112"/>
          <a:stretch>
            <a:fillRect/>
          </a:stretch>
        </p:blipFill>
        <p:spPr bwMode="auto">
          <a:xfrm>
            <a:off x="2171525" y="2839757"/>
            <a:ext cx="1543711" cy="981742"/>
          </a:xfrm>
          <a:prstGeom prst="rect">
            <a:avLst/>
          </a:prstGeom>
          <a:noFill/>
        </p:spPr>
      </p:pic>
      <p:pic>
        <p:nvPicPr>
          <p:cNvPr id="39" name="Picture 5" descr="C:\Users\Nnaemeka.Solina\Desktop\USAID.jpg"/>
          <p:cNvPicPr>
            <a:picLocks noChangeAspect="1" noChangeArrowheads="1"/>
          </p:cNvPicPr>
          <p:nvPr userDrawn="1"/>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849847" y="2839942"/>
            <a:ext cx="1574240" cy="981741"/>
          </a:xfrm>
          <a:prstGeom prst="rect">
            <a:avLst/>
          </a:prstGeom>
          <a:noFill/>
        </p:spPr>
      </p:pic>
      <p:sp>
        <p:nvSpPr>
          <p:cNvPr id="40" name="Rectangle 39"/>
          <p:cNvSpPr/>
          <p:nvPr userDrawn="1"/>
        </p:nvSpPr>
        <p:spPr>
          <a:xfrm rot="5400000">
            <a:off x="628830" y="2497768"/>
            <a:ext cx="1243262" cy="1651731"/>
          </a:xfrm>
          <a:prstGeom prst="rect">
            <a:avLst/>
          </a:prstGeom>
          <a:noFill/>
          <a:ln w="3175">
            <a:solidFill>
              <a:srgbClr val="A42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sp>
        <p:nvSpPr>
          <p:cNvPr id="41" name="Rectangle 40"/>
          <p:cNvSpPr/>
          <p:nvPr userDrawn="1"/>
        </p:nvSpPr>
        <p:spPr>
          <a:xfrm rot="5400000">
            <a:off x="2311704" y="2501263"/>
            <a:ext cx="1243262" cy="1651731"/>
          </a:xfrm>
          <a:prstGeom prst="rect">
            <a:avLst/>
          </a:prstGeom>
          <a:noFill/>
          <a:ln w="3175">
            <a:solidFill>
              <a:srgbClr val="A42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sp>
        <p:nvSpPr>
          <p:cNvPr id="42" name="Rectangle 41"/>
          <p:cNvSpPr/>
          <p:nvPr userDrawn="1"/>
        </p:nvSpPr>
        <p:spPr>
          <a:xfrm rot="5400000">
            <a:off x="4012774" y="2501263"/>
            <a:ext cx="1243262" cy="1651731"/>
          </a:xfrm>
          <a:prstGeom prst="rect">
            <a:avLst/>
          </a:prstGeom>
          <a:noFill/>
          <a:ln w="3175">
            <a:solidFill>
              <a:srgbClr val="A42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sp>
        <p:nvSpPr>
          <p:cNvPr id="43" name="Rectangle 42"/>
          <p:cNvSpPr/>
          <p:nvPr userDrawn="1"/>
        </p:nvSpPr>
        <p:spPr>
          <a:xfrm rot="5400000">
            <a:off x="5695648" y="2501263"/>
            <a:ext cx="1243262" cy="1651731"/>
          </a:xfrm>
          <a:prstGeom prst="rect">
            <a:avLst/>
          </a:prstGeom>
          <a:noFill/>
          <a:ln w="3175">
            <a:solidFill>
              <a:srgbClr val="A420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srgbClr val="FFFFFF"/>
              </a:solidFill>
            </a:endParaRPr>
          </a:p>
        </p:txBody>
      </p:sp>
    </p:spTree>
    <p:extLst>
      <p:ext uri="{BB962C8B-B14F-4D97-AF65-F5344CB8AC3E}">
        <p14:creationId xmlns:p14="http://schemas.microsoft.com/office/powerpoint/2010/main" val="17124542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11800048" y="6634186"/>
            <a:ext cx="260349"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pic>
        <p:nvPicPr>
          <p:cNvPr id="4" name="Picture 9" descr="http://vaccines.procon.org/files/1-vaccines-images/vaccine_syringe_vials.jpg"/>
          <p:cNvPicPr>
            <a:picLocks noChangeAspect="1" noChangeArrowheads="1"/>
          </p:cNvPicPr>
          <p:nvPr userDrawn="1"/>
        </p:nvPicPr>
        <p:blipFill>
          <a:blip r:embed="rId2" cstate="print"/>
          <a:srcRect/>
          <a:stretch>
            <a:fillRect/>
          </a:stretch>
        </p:blipFill>
        <p:spPr bwMode="auto">
          <a:xfrm>
            <a:off x="10477533" y="5843789"/>
            <a:ext cx="1449899" cy="756847"/>
          </a:xfrm>
          <a:prstGeom prst="rect">
            <a:avLst/>
          </a:prstGeom>
          <a:noFill/>
        </p:spPr>
      </p:pic>
    </p:spTree>
    <p:extLst>
      <p:ext uri="{BB962C8B-B14F-4D97-AF65-F5344CB8AC3E}">
        <p14:creationId xmlns:p14="http://schemas.microsoft.com/office/powerpoint/2010/main" val="204419774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93255"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title"/>
          </p:nvPr>
        </p:nvSpPr>
        <p:spPr>
          <a:xfrm>
            <a:off x="162984" y="234954"/>
            <a:ext cx="11724216"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199966726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114219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44FA784-E560-4048-919A-0401E1B845E9}"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99124075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94279"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2119" y="1592"/>
                        <a:ext cx="2116" cy="1587"/>
                      </a:xfrm>
                      <a:prstGeom prst="rect">
                        <a:avLst/>
                      </a:prstGeom>
                    </p:spPr>
                  </p:pic>
                </p:oleObj>
              </mc:Fallback>
            </mc:AlternateContent>
          </a:graphicData>
        </a:graphic>
      </p:graphicFrame>
    </p:spTree>
    <p:extLst>
      <p:ext uri="{BB962C8B-B14F-4D97-AF65-F5344CB8AC3E}">
        <p14:creationId xmlns:p14="http://schemas.microsoft.com/office/powerpoint/2010/main" val="88024780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63" y="1625"/>
          <a:ext cx="2157" cy="1619"/>
        </p:xfrm>
        <a:graphic>
          <a:graphicData uri="http://schemas.openxmlformats.org/presentationml/2006/ole">
            <mc:AlternateContent xmlns:mc="http://schemas.openxmlformats.org/markup-compatibility/2006">
              <mc:Choice xmlns:v="urn:schemas-microsoft-com:vml" Requires="v">
                <p:oleObj spid="_x0000_s6953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3" y="1625"/>
                        <a:ext cx="2157" cy="1619"/>
                      </a:xfrm>
                      <a:prstGeom prst="rect">
                        <a:avLst/>
                      </a:prstGeom>
                    </p:spPr>
                  </p:pic>
                </p:oleObj>
              </mc:Fallback>
            </mc:AlternateContent>
          </a:graphicData>
        </a:graphic>
      </p:graphicFrame>
      <p:sp>
        <p:nvSpPr>
          <p:cNvPr id="2" name="Holder 2"/>
          <p:cNvSpPr>
            <a:spLocks noGrp="1"/>
          </p:cNvSpPr>
          <p:nvPr>
            <p:ph type="title"/>
          </p:nvPr>
        </p:nvSpPr>
        <p:spPr>
          <a:xfrm>
            <a:off x="233275" y="234888"/>
            <a:ext cx="11725484" cy="298327"/>
          </a:xfrm>
          <a:prstGeom prst="rect">
            <a:avLst/>
          </a:prstGeom>
        </p:spPr>
        <p:txBody>
          <a:bodyPr lIns="0" tIns="0" rIns="0" bIns="0"/>
          <a:lstStyle>
            <a:lvl1pPr>
              <a:defRPr sz="1900" b="1" i="0">
                <a:solidFill>
                  <a:srgbClr val="25734D"/>
                </a:solidFill>
                <a:latin typeface="Arial"/>
                <a:cs typeface="Arial"/>
              </a:defRPr>
            </a:lvl1pPr>
          </a:lstStyle>
          <a:p>
            <a:endParaRPr lang="en-US" dirty="0"/>
          </a:p>
        </p:txBody>
      </p:sp>
      <p:sp>
        <p:nvSpPr>
          <p:cNvPr id="3" name="Holder 3"/>
          <p:cNvSpPr>
            <a:spLocks noGrp="1"/>
          </p:cNvSpPr>
          <p:nvPr>
            <p:ph type="body" idx="1"/>
          </p:nvPr>
        </p:nvSpPr>
        <p:spPr>
          <a:xfrm>
            <a:off x="1976213" y="1990693"/>
            <a:ext cx="5853024" cy="512961"/>
          </a:xfrm>
        </p:spPr>
        <p:txBody>
          <a:bodyPr lIns="0" tIns="0" rIns="0" bIns="0"/>
          <a:lstStyle>
            <a:lvl1pPr>
              <a:defRPr sz="3300" b="0" i="0">
                <a:solidFill>
                  <a:schemeClr val="bg1"/>
                </a:solidFill>
                <a:latin typeface="Arial"/>
                <a:cs typeface="Arial"/>
              </a:defRPr>
            </a:lvl1pPr>
          </a:lstStyle>
          <a:p>
            <a:endParaRPr lang="en-US" dirty="0"/>
          </a:p>
        </p:txBody>
      </p:sp>
      <p:sp>
        <p:nvSpPr>
          <p:cNvPr id="8" name="Holder 6"/>
          <p:cNvSpPr>
            <a:spLocks noGrp="1"/>
          </p:cNvSpPr>
          <p:nvPr>
            <p:ph type="sldNum" sz="quarter" idx="4"/>
          </p:nvPr>
        </p:nvSpPr>
        <p:spPr>
          <a:xfrm>
            <a:off x="11591392" y="6575412"/>
            <a:ext cx="268533" cy="143861"/>
          </a:xfrm>
          <a:prstGeom prst="rect">
            <a:avLst/>
          </a:prstGeom>
        </p:spPr>
        <p:txBody>
          <a:bodyPr lIns="0" tIns="0" rIns="0" bIns="0"/>
          <a:lstStyle>
            <a:lvl1pPr>
              <a:defRPr sz="1100" b="0" i="0">
                <a:solidFill>
                  <a:srgbClr val="1F1F1F"/>
                </a:solidFill>
                <a:latin typeface="Arial"/>
                <a:cs typeface="Arial"/>
              </a:defRPr>
            </a:lvl1pPr>
          </a:lstStyle>
          <a:p>
            <a:pPr marL="25873" defTabSz="913228" fontAlgn="base">
              <a:lnSpc>
                <a:spcPts val="1137"/>
              </a:lnSpc>
              <a:spcBef>
                <a:spcPct val="0"/>
              </a:spcBef>
              <a:spcAft>
                <a:spcPct val="0"/>
              </a:spcAft>
            </a:pPr>
            <a:fld id="{81D60167-4931-47E6-BA6A-407CBD079E47}" type="slidenum">
              <a:rPr lang="en-US" smtClean="0"/>
              <a:pPr marL="25873" defTabSz="913228" fontAlgn="base">
                <a:lnSpc>
                  <a:spcPts val="1137"/>
                </a:lnSpc>
                <a:spcBef>
                  <a:spcPct val="0"/>
                </a:spcBef>
                <a:spcAft>
                  <a:spcPct val="0"/>
                </a:spcAft>
              </a:pPr>
              <a:t>‹#›</a:t>
            </a:fld>
            <a:endParaRPr lang="en-US" dirty="0"/>
          </a:p>
        </p:txBody>
      </p:sp>
    </p:spTree>
    <p:extLst>
      <p:ext uri="{BB962C8B-B14F-4D97-AF65-F5344CB8AC3E}">
        <p14:creationId xmlns:p14="http://schemas.microsoft.com/office/powerpoint/2010/main" val="154522735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2400" i="1">
                <a:solidFill>
                  <a:schemeClr val="bg2"/>
                </a:solidFill>
              </a:defRPr>
            </a:lvl1pPr>
          </a:lstStyle>
          <a:p>
            <a:r>
              <a:rPr lang="en-US"/>
              <a:t>Click to edit Master subtitle style</a:t>
            </a:r>
            <a:endParaRPr lang="en-US" dirty="0"/>
          </a:p>
        </p:txBody>
      </p:sp>
      <p:sp>
        <p:nvSpPr>
          <p:cNvPr id="266247" name="Rectangle 7"/>
          <p:cNvSpPr>
            <a:spLocks noGrp="1" noChangeArrowheads="1"/>
          </p:cNvSpPr>
          <p:nvPr>
            <p:ph type="ctrTitle" sz="quarter"/>
          </p:nvPr>
        </p:nvSpPr>
        <p:spPr bwMode="auto">
          <a:xfrm>
            <a:off x="914400" y="2210359"/>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11C70DEA-ED8A-DD43-A0FD-D69121D7D3B3}"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46677" y="4994812"/>
            <a:ext cx="1919491" cy="1315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Tree>
    <p:extLst>
      <p:ext uri="{BB962C8B-B14F-4D97-AF65-F5344CB8AC3E}">
        <p14:creationId xmlns:p14="http://schemas.microsoft.com/office/powerpoint/2010/main" val="329433424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7" name="Rectangle 7"/>
          <p:cNvSpPr>
            <a:spLocks noGrp="1" noChangeArrowheads="1"/>
          </p:cNvSpPr>
          <p:nvPr>
            <p:ph type="ctrTitle" sz="quarter"/>
          </p:nvPr>
        </p:nvSpPr>
        <p:spPr bwMode="auto">
          <a:xfrm>
            <a:off x="914400" y="2721345"/>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79885609-2C97-2545-B884-C23E69A35C7F}"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6"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a:defRPr/>
            </a:pPr>
            <a:fld id="{4A0ACF5A-AF10-48F9-8A78-5825A055A0E9}" type="slidenum">
              <a:rPr lang="en-US" smtClean="0">
                <a:ea typeface="MS PGothic" pitchFamily="34" charset="-128"/>
              </a:rPr>
              <a:pPr>
                <a:defRPr/>
              </a:pPr>
              <a:t>‹#›</a:t>
            </a:fld>
            <a:endParaRPr lang="en-US">
              <a:ea typeface="MS PGothic" pitchFamily="34" charset="-128"/>
            </a:endParaRPr>
          </a:p>
        </p:txBody>
      </p:sp>
      <p:pic>
        <p:nvPicPr>
          <p:cNvPr id="17" name="Picture 16"/>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165215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a:t>Click to edit Master title style</a:t>
            </a:r>
            <a:endParaRPr lang="en-US" dirty="0"/>
          </a:p>
        </p:txBody>
      </p:sp>
      <p:sp>
        <p:nvSpPr>
          <p:cNvPr id="4" name="Rectangle 4"/>
          <p:cNvSpPr>
            <a:spLocks noGrp="1" noChangeArrowheads="1"/>
          </p:cNvSpPr>
          <p:nvPr>
            <p:ph type="dt" sz="half" idx="10"/>
          </p:nvPr>
        </p:nvSpPr>
        <p:spPr>
          <a:xfrm>
            <a:off x="0" y="6618129"/>
            <a:ext cx="1625600" cy="223690"/>
          </a:xfrm>
          <a:ln/>
        </p:spPr>
        <p:txBody>
          <a:bodyPr/>
          <a:lstStyle>
            <a:lvl1pPr>
              <a:defRPr/>
            </a:lvl1pPr>
          </a:lstStyle>
          <a:p>
            <a:pPr>
              <a:defRPr/>
            </a:pPr>
            <a:fld id="{B2813B1C-F70A-9841-9CAA-23432FDD080E}" type="datetime1">
              <a:rPr lang="en-GB" smtClean="0"/>
              <a:pPr>
                <a:defRPr/>
              </a:pPr>
              <a:t>30/04/2019</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1FC17A9-1053-4EE0-8A3E-150254159B86}" type="slidenum">
              <a:rPr lang="en-US" smtClean="0"/>
              <a:pPr>
                <a:defRPr/>
              </a:pPr>
              <a:t>‹#›</a:t>
            </a:fld>
            <a:endParaRPr lang="en-US"/>
          </a:p>
        </p:txBody>
      </p:sp>
      <p:sp>
        <p:nvSpPr>
          <p:cNvPr id="7" name="Content Placeholder 2"/>
          <p:cNvSpPr>
            <a:spLocks noGrp="1"/>
          </p:cNvSpPr>
          <p:nvPr>
            <p:ph sz="half" idx="1"/>
          </p:nvPr>
        </p:nvSpPr>
        <p:spPr>
          <a:xfrm>
            <a:off x="609600" y="1219199"/>
            <a:ext cx="10972800" cy="4946904"/>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116007431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98372"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304800"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dt" sz="half" idx="10"/>
          </p:nvPr>
        </p:nvSpPr>
        <p:spPr>
          <a:ln/>
        </p:spPr>
        <p:txBody>
          <a:bodyPr/>
          <a:lstStyle>
            <a:lvl1pPr>
              <a:defRPr/>
            </a:lvl1pPr>
          </a:lstStyle>
          <a:p>
            <a:pPr>
              <a:defRPr/>
            </a:pPr>
            <a:fld id="{6915ED1E-F197-5A45-8E80-1CA9BF57E0C4}" type="datetime1">
              <a:rPr lang="en-GB" smtClean="0"/>
              <a:pPr>
                <a:defRPr/>
              </a:pPr>
              <a:t>30/04/2019</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2488AE2-2149-41B9-BDAB-86D1134409E9}" type="slidenum">
              <a:rPr lang="en-US" smtClean="0"/>
              <a:pPr>
                <a:defRPr/>
              </a:pPr>
              <a:t>‹#›</a:t>
            </a:fld>
            <a:endParaRPr lang="en-US"/>
          </a:p>
        </p:txBody>
      </p:sp>
      <p:sp>
        <p:nvSpPr>
          <p:cNvPr id="8" name="Text Placeholder 2"/>
          <p:cNvSpPr>
            <a:spLocks noGrp="1"/>
          </p:cNvSpPr>
          <p:nvPr>
            <p:ph type="body" idx="13" hasCustomPrompt="1"/>
          </p:nvPr>
        </p:nvSpPr>
        <p:spPr>
          <a:xfrm>
            <a:off x="304800" y="1219200"/>
            <a:ext cx="5691717" cy="639762"/>
          </a:xfrm>
          <a:noFill/>
          <a:effectLst/>
        </p:spPr>
        <p:txBody>
          <a:bodyPr anchor="ctr"/>
          <a:lstStyle>
            <a:lvl1pPr marL="0" indent="0" algn="ctr">
              <a:buNone/>
              <a:defRPr sz="2200" b="1" cap="sm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p:cNvSpPr>
            <a:spLocks noGrp="1"/>
          </p:cNvSpPr>
          <p:nvPr>
            <p:ph type="body" sz="quarter" idx="3" hasCustomPrompt="1"/>
          </p:nvPr>
        </p:nvSpPr>
        <p:spPr>
          <a:xfrm>
            <a:off x="6193423" y="1219200"/>
            <a:ext cx="5693833" cy="639762"/>
          </a:xfrm>
          <a:noFill/>
        </p:spPr>
        <p:txBody>
          <a:bodyPr anchor="ctr"/>
          <a:lstStyle>
            <a:lvl1pPr marL="0" indent="0" algn="ctr">
              <a:buNone/>
              <a:defRPr lang="en-US" sz="2200" b="1" cap="small" baseline="0" dirty="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rtl="0" eaLnBrk="1" fontAlgn="base" hangingPunct="1">
              <a:spcBef>
                <a:spcPct val="20000"/>
              </a:spcBef>
              <a:spcAft>
                <a:spcPct val="0"/>
              </a:spcAft>
              <a:buNone/>
            </a:pPr>
            <a:r>
              <a:rPr lang="en-US" dirty="0"/>
              <a:t>Click to edit master text styles</a:t>
            </a:r>
          </a:p>
        </p:txBody>
      </p:sp>
      <p:graphicFrame>
        <p:nvGraphicFramePr>
          <p:cNvPr id="15" name="Object 14" hidden="1"/>
          <p:cNvGraphicFramePr>
            <a:graphicFrameLocks noChangeAspect="1"/>
          </p:cNvGraphicFramePr>
          <p:nvPr>
            <p:custDataLst>
              <p:tags r:id="rId3"/>
            </p:custDataLs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98373" name="think-cell Slide" r:id="rId7" imgW="270" imgH="270" progId="TCLayout.ActiveDocument.1">
                  <p:embed/>
                </p:oleObj>
              </mc:Choice>
              <mc:Fallback>
                <p:oleObj name="think-cell Slide" r:id="rId7" imgW="270" imgH="270" progId="TCLayout.ActiveDocument.1">
                  <p:embed/>
                  <p:pic>
                    <p:nvPicPr>
                      <p:cNvPr id="15" name="Object 14" hidden="1"/>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19" name="Content Placeholder 2"/>
          <p:cNvSpPr>
            <a:spLocks noGrp="1"/>
          </p:cNvSpPr>
          <p:nvPr>
            <p:ph sz="half" idx="14"/>
          </p:nvPr>
        </p:nvSpPr>
        <p:spPr>
          <a:xfrm>
            <a:off x="6193368"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1"/>
          <p:cNvSpPr>
            <a:spLocks noGrp="1"/>
          </p:cNvSpPr>
          <p:nvPr>
            <p:ph sz="quarter" idx="15"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160040013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a:reflection endPos="0" dir="5400000" sy="-100000" algn="bl" rotWithShape="0"/>
          </a:effectLst>
        </p:spPr>
        <p:txBody>
          <a:bodyPr/>
          <a:lstStyle>
            <a:lvl1pPr>
              <a:defRPr sz="2400"/>
            </a:lvl1pPr>
          </a:lstStyle>
          <a:p>
            <a:r>
              <a:rPr lang="en-US"/>
              <a:t>Click to edit Master title style</a:t>
            </a:r>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fld id="{1803007F-CA12-FA49-A8B1-0E255E9AA47F}" type="datetime1">
              <a:rPr lang="en-GB" smtClean="0"/>
              <a:pPr>
                <a:defRPr/>
              </a:pPr>
              <a:t>30/04/2019</a:t>
            </a:fld>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A14F054A-1A36-443C-BE9A-7E62A227BE57}" type="slidenum">
              <a:rPr lang="en-US" smtClean="0"/>
              <a:pPr>
                <a:defRPr/>
              </a:pPr>
              <a:t>‹#›</a:t>
            </a:fld>
            <a:endParaRPr lang="en-US"/>
          </a:p>
        </p:txBody>
      </p:sp>
      <p:sp>
        <p:nvSpPr>
          <p:cNvPr id="7"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91319078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pic>
        <p:nvPicPr>
          <p:cNvPr id="1146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9"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217529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46F85F44-694F-CB45-B26C-A8F3EEC802CB}" type="datetime1">
              <a:rPr lang="en-GB" smtClean="0">
                <a:ea typeface="MS PGothic" pitchFamily="34" charset="-128"/>
              </a:rPr>
              <a:pPr>
                <a:defRPr/>
              </a:pPr>
              <a:t>30/04/2019</a:t>
            </a:fld>
            <a:endParaRPr lang="en-US">
              <a:ea typeface="MS PGothic" pitchFamily="34" charset="-128"/>
            </a:endParaRPr>
          </a:p>
        </p:txBody>
      </p:sp>
      <p:sp>
        <p:nvSpPr>
          <p:cNvPr id="5" name="Footer Placeholder 4"/>
          <p:cNvSpPr>
            <a:spLocks noGrp="1"/>
          </p:cNvSpPr>
          <p:nvPr>
            <p:ph type="ftr" sz="quarter" idx="11"/>
          </p:nvPr>
        </p:nvSpPr>
        <p:spPr/>
        <p:txBody>
          <a:bodyPr/>
          <a:lstStyle/>
          <a:p>
            <a:pPr>
              <a:defRPr/>
            </a:pPr>
            <a:endParaRPr lang="en-US">
              <a:ea typeface="MS PGothic" pitchFamily="34" charset="-128"/>
            </a:endParaRPr>
          </a:p>
        </p:txBody>
      </p:sp>
      <p:sp>
        <p:nvSpPr>
          <p:cNvPr id="6" name="Slide Number Placeholder 5"/>
          <p:cNvSpPr>
            <a:spLocks noGrp="1"/>
          </p:cNvSpPr>
          <p:nvPr>
            <p:ph type="sldNum" sz="quarter" idx="12"/>
          </p:nvPr>
        </p:nvSpPr>
        <p:spPr/>
        <p:txBody>
          <a:bodyPr/>
          <a:lstStyle/>
          <a:p>
            <a:pPr>
              <a:defRPr/>
            </a:pPr>
            <a:fld id="{4A0ACF5A-AF10-48F9-8A78-5825A055A0E9}" type="slidenum">
              <a:rPr lang="en-US" smtClean="0">
                <a:ea typeface="MS PGothic" pitchFamily="34" charset="-128"/>
              </a:rPr>
              <a:pPr>
                <a:defRPr/>
              </a:pPr>
              <a:t>‹#›</a:t>
            </a:fld>
            <a:endParaRPr lang="en-US">
              <a:ea typeface="MS PGothic" pitchFamily="34" charset="-128"/>
            </a:endParaRPr>
          </a:p>
        </p:txBody>
      </p:sp>
    </p:spTree>
    <p:extLst>
      <p:ext uri="{BB962C8B-B14F-4D97-AF65-F5344CB8AC3E}">
        <p14:creationId xmlns:p14="http://schemas.microsoft.com/office/powerpoint/2010/main" val="131085527"/>
      </p:ext>
    </p:extLst>
  </p:cSld>
  <p:clrMapOvr>
    <a:masterClrMapping/>
  </p:clrMapOvr>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4824EA-7FAF-4342-A063-EC9A77DA316E}" type="datetime1">
              <a:rPr lang="en-GB" smtClean="0"/>
              <a:pPr/>
              <a:t>30/0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20565844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3"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DCCBEAF-94E4-4321-9434-01FC0BCA3DC9}"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7473080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Content 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800"/>
            </a:lvl1pPr>
          </a:lstStyle>
          <a:p>
            <a:r>
              <a:rPr lang="en-US" noProof="0" dirty="0" err="1"/>
              <a:t>Titlemaster</a:t>
            </a:r>
            <a:endParaRPr lang="en-US" noProof="0" dirty="0"/>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pPr>
                <a:defRPr/>
              </a:pPr>
              <a:t>‹#›</a:t>
            </a:fld>
            <a:endParaRPr lang="en-US"/>
          </a:p>
        </p:txBody>
      </p:sp>
      <p:sp>
        <p:nvSpPr>
          <p:cNvPr id="6" name="Inhaltsplatzhalter 5"/>
          <p:cNvSpPr>
            <a:spLocks noGrp="1"/>
          </p:cNvSpPr>
          <p:nvPr>
            <p:ph sz="quarter" idx="12" hasCustomPrompt="1"/>
          </p:nvPr>
        </p:nvSpPr>
        <p:spPr/>
        <p:txBody>
          <a:bodyPr/>
          <a:lstStyle>
            <a:lvl1pPr>
              <a:defRPr sz="1050"/>
            </a:lvl1pPr>
            <a:lvl3pPr marL="271463" indent="-271463">
              <a:buFont typeface="Arial" panose="020B0604020202020204" pitchFamily="34" charset="0"/>
              <a:buChar char="•"/>
              <a:defRPr/>
            </a:lvl3pPr>
            <a:lvl4pPr>
              <a:defRPr sz="1950"/>
            </a:lvl4pPr>
            <a:lvl5pPr>
              <a:defRPr sz="1950"/>
            </a:lvl5pPr>
          </a:lstStyle>
          <a:p>
            <a:pPr lvl="0"/>
            <a:r>
              <a:rPr lang="en-US" noProof="0" dirty="0" err="1"/>
              <a:t>Textmaster</a:t>
            </a:r>
            <a:endParaRPr lang="en-US" noProof="0" dirty="0"/>
          </a:p>
          <a:p>
            <a:pPr lvl="1"/>
            <a:r>
              <a:rPr lang="en-US" noProof="0" dirty="0"/>
              <a:t>Second Layer</a:t>
            </a:r>
          </a:p>
          <a:p>
            <a:pPr lvl="2"/>
            <a:r>
              <a:rPr lang="en-US" noProof="0" dirty="0"/>
              <a:t>Third Layer</a:t>
            </a:r>
          </a:p>
          <a:p>
            <a:pPr lvl="3"/>
            <a:r>
              <a:rPr lang="en-US" noProof="0" dirty="0"/>
              <a:t>Fourth Layer</a:t>
            </a:r>
          </a:p>
          <a:p>
            <a:pPr lvl="4"/>
            <a:r>
              <a:rPr lang="en-US" noProof="0" dirty="0"/>
              <a:t>Fifth Layer</a:t>
            </a:r>
          </a:p>
          <a:p>
            <a:pPr lvl="5"/>
            <a:r>
              <a:rPr lang="en-US" noProof="0" dirty="0"/>
              <a:t>6</a:t>
            </a:r>
          </a:p>
        </p:txBody>
      </p:sp>
    </p:spTree>
    <p:extLst>
      <p:ext uri="{BB962C8B-B14F-4D97-AF65-F5344CB8AC3E}">
        <p14:creationId xmlns:p14="http://schemas.microsoft.com/office/powerpoint/2010/main" val="269195133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DFD5E19-6138-F141-B38B-DF07E6BB0533}" type="datetime1">
              <a:rPr lang="en-GB" smtClean="0"/>
              <a:pPr/>
              <a:t>30/0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48603C5-498D-FF4C-9808-010DB3C08050}" type="slidenum">
              <a:rPr lang="en-US" smtClean="0"/>
              <a:pPr/>
              <a:t>‹#›</a:t>
            </a:fld>
            <a:endParaRPr lang="en-US"/>
          </a:p>
        </p:txBody>
      </p:sp>
    </p:spTree>
    <p:extLst>
      <p:ext uri="{BB962C8B-B14F-4D97-AF65-F5344CB8AC3E}">
        <p14:creationId xmlns:p14="http://schemas.microsoft.com/office/powerpoint/2010/main" val="4075588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75"/>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39" y="3602037"/>
            <a:ext cx="9144001" cy="1655763"/>
          </a:xfrm>
        </p:spPr>
        <p:txBody>
          <a:bodyPr/>
          <a:lstStyle>
            <a:lvl1pPr marL="0" indent="0" algn="ctr">
              <a:buNone/>
              <a:defRPr sz="2400"/>
            </a:lvl1pPr>
            <a:lvl2pPr marL="456175" indent="0" algn="ctr">
              <a:buNone/>
              <a:defRPr sz="2000"/>
            </a:lvl2pPr>
            <a:lvl3pPr marL="912355" indent="0" algn="ctr">
              <a:buNone/>
              <a:defRPr sz="1900"/>
            </a:lvl3pPr>
            <a:lvl4pPr marL="1368534" indent="0" algn="ctr">
              <a:buNone/>
              <a:defRPr sz="1600"/>
            </a:lvl4pPr>
            <a:lvl5pPr marL="1824712" indent="0" algn="ctr">
              <a:buNone/>
              <a:defRPr sz="1600"/>
            </a:lvl5pPr>
            <a:lvl6pPr marL="2280894" indent="0" algn="ctr">
              <a:buNone/>
              <a:defRPr sz="1600"/>
            </a:lvl6pPr>
            <a:lvl7pPr marL="2737070" indent="0" algn="ctr">
              <a:buNone/>
              <a:defRPr sz="1600"/>
            </a:lvl7pPr>
            <a:lvl8pPr marL="3193242" indent="0" algn="ctr">
              <a:buNone/>
              <a:defRPr sz="1600"/>
            </a:lvl8pPr>
            <a:lvl9pPr marL="3649415"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5C731E3-F37B-46BB-B57F-A9CE1C5502AD}"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01831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7F07F66-F0F5-4133-A96A-752C938553D7}"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graphicFrame>
        <p:nvGraphicFramePr>
          <p:cNvPr id="7" name="Object 6" hidden="1">
            <a:extLst>
              <a:ext uri="{FF2B5EF4-FFF2-40B4-BE49-F238E27FC236}">
                <a16:creationId xmlns:a16="http://schemas.microsoft.com/office/drawing/2014/main" id="{AEC1B317-CA0D-4199-8734-5637E4D3993B}"/>
              </a:ext>
            </a:extLst>
          </p:cNvPr>
          <p:cNvGraphicFramePr>
            <a:graphicFrameLocks noChangeAspect="1"/>
          </p:cNvGraphicFramePr>
          <p:nvPr userDrawn="1">
            <p:custDataLst>
              <p:tags r:id="rId2"/>
            </p:custDataLst>
            <p:extLst/>
          </p:nvPr>
        </p:nvGraphicFramePr>
        <p:xfrm>
          <a:off x="1589" y="1613"/>
          <a:ext cx="1587" cy="1587"/>
        </p:xfrm>
        <a:graphic>
          <a:graphicData uri="http://schemas.openxmlformats.org/presentationml/2006/ole">
            <mc:AlternateContent xmlns:mc="http://schemas.openxmlformats.org/markup-compatibility/2006">
              <mc:Choice xmlns:v="urn:schemas-microsoft-com:vml" Requires="v">
                <p:oleObj spid="_x0000_s700418" name="think-cell Slide" r:id="rId4" imgW="270" imgH="270" progId="TCLayout.ActiveDocument.1">
                  <p:embed/>
                </p:oleObj>
              </mc:Choice>
              <mc:Fallback>
                <p:oleObj name="think-cell Slide" r:id="rId4" imgW="270" imgH="270" progId="TCLayout.ActiveDocument.1">
                  <p:embed/>
                  <p:pic>
                    <p:nvPicPr>
                      <p:cNvPr id="7" name="Object 6" hidden="1">
                        <a:extLst>
                          <a:ext uri="{FF2B5EF4-FFF2-40B4-BE49-F238E27FC236}">
                            <a16:creationId xmlns:a16="http://schemas.microsoft.com/office/drawing/2014/main" id="{AEC1B317-CA0D-4199-8734-5637E4D3993B}"/>
                          </a:ext>
                        </a:extLst>
                      </p:cNvPr>
                      <p:cNvPicPr/>
                      <p:nvPr/>
                    </p:nvPicPr>
                    <p:blipFill>
                      <a:blip r:embed="rId5"/>
                      <a:stretch>
                        <a:fillRect/>
                      </a:stretch>
                    </p:blipFill>
                    <p:spPr>
                      <a:xfrm>
                        <a:off x="1589" y="1613"/>
                        <a:ext cx="1587" cy="1587"/>
                      </a:xfrm>
                      <a:prstGeom prst="rect">
                        <a:avLst/>
                      </a:prstGeom>
                    </p:spPr>
                  </p:pic>
                </p:oleObj>
              </mc:Fallback>
            </mc:AlternateContent>
          </a:graphicData>
        </a:graphic>
      </p:graphicFrame>
    </p:spTree>
    <p:extLst>
      <p:ext uri="{BB962C8B-B14F-4D97-AF65-F5344CB8AC3E}">
        <p14:creationId xmlns:p14="http://schemas.microsoft.com/office/powerpoint/2010/main" val="74442951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3"/>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889"/>
            <a:ext cx="10515600" cy="1500187"/>
          </a:xfrm>
        </p:spPr>
        <p:txBody>
          <a:bodyPr/>
          <a:lstStyle>
            <a:lvl1pPr marL="0" indent="0">
              <a:buNone/>
              <a:defRPr sz="2400">
                <a:solidFill>
                  <a:schemeClr val="tx1"/>
                </a:solidFill>
              </a:defRPr>
            </a:lvl1pPr>
            <a:lvl2pPr marL="456175" indent="0">
              <a:buNone/>
              <a:defRPr sz="2000">
                <a:solidFill>
                  <a:schemeClr val="tx1">
                    <a:tint val="75000"/>
                  </a:schemeClr>
                </a:solidFill>
              </a:defRPr>
            </a:lvl2pPr>
            <a:lvl3pPr marL="912355" indent="0">
              <a:buNone/>
              <a:defRPr sz="1900">
                <a:solidFill>
                  <a:schemeClr val="tx1">
                    <a:tint val="75000"/>
                  </a:schemeClr>
                </a:solidFill>
              </a:defRPr>
            </a:lvl3pPr>
            <a:lvl4pPr marL="1368534" indent="0">
              <a:buNone/>
              <a:defRPr sz="1600">
                <a:solidFill>
                  <a:schemeClr val="tx1">
                    <a:tint val="75000"/>
                  </a:schemeClr>
                </a:solidFill>
              </a:defRPr>
            </a:lvl4pPr>
            <a:lvl5pPr marL="1824712" indent="0">
              <a:buNone/>
              <a:defRPr sz="1600">
                <a:solidFill>
                  <a:schemeClr val="tx1">
                    <a:tint val="75000"/>
                  </a:schemeClr>
                </a:solidFill>
              </a:defRPr>
            </a:lvl5pPr>
            <a:lvl6pPr marL="2280894" indent="0">
              <a:buNone/>
              <a:defRPr sz="1600">
                <a:solidFill>
                  <a:schemeClr val="tx1">
                    <a:tint val="75000"/>
                  </a:schemeClr>
                </a:solidFill>
              </a:defRPr>
            </a:lvl6pPr>
            <a:lvl7pPr marL="2737070" indent="0">
              <a:buNone/>
              <a:defRPr sz="1600">
                <a:solidFill>
                  <a:schemeClr val="tx1">
                    <a:tint val="75000"/>
                  </a:schemeClr>
                </a:solidFill>
              </a:defRPr>
            </a:lvl7pPr>
            <a:lvl8pPr marL="3193242" indent="0">
              <a:buNone/>
              <a:defRPr sz="1600">
                <a:solidFill>
                  <a:schemeClr val="tx1">
                    <a:tint val="75000"/>
                  </a:schemeClr>
                </a:solidFill>
              </a:defRPr>
            </a:lvl8pPr>
            <a:lvl9pPr marL="3649415"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E1CE17A-89DD-403F-8ADB-1A205840BF81}"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467313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25" y="1825624"/>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4"/>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9E4D95B-FF94-46F5-8461-029A758A0E5E}"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4526915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6175" indent="0">
              <a:buNone/>
              <a:defRPr sz="2000" b="1"/>
            </a:lvl2pPr>
            <a:lvl3pPr marL="912355" indent="0">
              <a:buNone/>
              <a:defRPr sz="1900" b="1"/>
            </a:lvl3pPr>
            <a:lvl4pPr marL="1368534" indent="0">
              <a:buNone/>
              <a:defRPr sz="1600" b="1"/>
            </a:lvl4pPr>
            <a:lvl5pPr marL="1824712" indent="0">
              <a:buNone/>
              <a:defRPr sz="1600" b="1"/>
            </a:lvl5pPr>
            <a:lvl6pPr marL="2280894" indent="0">
              <a:buNone/>
              <a:defRPr sz="1600" b="1"/>
            </a:lvl6pPr>
            <a:lvl7pPr marL="2737070" indent="0">
              <a:buNone/>
              <a:defRPr sz="1600" b="1"/>
            </a:lvl7pPr>
            <a:lvl8pPr marL="3193242" indent="0">
              <a:buNone/>
              <a:defRPr sz="1600" b="1"/>
            </a:lvl8pPr>
            <a:lvl9pPr marL="3649415"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83"/>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15" y="1681163"/>
            <a:ext cx="5183188" cy="823912"/>
          </a:xfrm>
        </p:spPr>
        <p:txBody>
          <a:bodyPr anchor="b"/>
          <a:lstStyle>
            <a:lvl1pPr marL="0" indent="0">
              <a:buNone/>
              <a:defRPr sz="2400" b="1"/>
            </a:lvl1pPr>
            <a:lvl2pPr marL="456175" indent="0">
              <a:buNone/>
              <a:defRPr sz="2000" b="1"/>
            </a:lvl2pPr>
            <a:lvl3pPr marL="912355" indent="0">
              <a:buNone/>
              <a:defRPr sz="1900" b="1"/>
            </a:lvl3pPr>
            <a:lvl4pPr marL="1368534" indent="0">
              <a:buNone/>
              <a:defRPr sz="1600" b="1"/>
            </a:lvl4pPr>
            <a:lvl5pPr marL="1824712" indent="0">
              <a:buNone/>
              <a:defRPr sz="1600" b="1"/>
            </a:lvl5pPr>
            <a:lvl6pPr marL="2280894" indent="0">
              <a:buNone/>
              <a:defRPr sz="1600" b="1"/>
            </a:lvl6pPr>
            <a:lvl7pPr marL="2737070" indent="0">
              <a:buNone/>
              <a:defRPr sz="1600" b="1"/>
            </a:lvl7pPr>
            <a:lvl8pPr marL="3193242" indent="0">
              <a:buNone/>
              <a:defRPr sz="1600" b="1"/>
            </a:lvl8pPr>
            <a:lvl9pPr marL="3649415" indent="0">
              <a:buNone/>
              <a:defRPr sz="1600" b="1"/>
            </a:lvl9pPr>
          </a:lstStyle>
          <a:p>
            <a:pPr lvl="0"/>
            <a:r>
              <a:rPr lang="en-US"/>
              <a:t>Edit Master text styles</a:t>
            </a:r>
          </a:p>
        </p:txBody>
      </p:sp>
      <p:sp>
        <p:nvSpPr>
          <p:cNvPr id="6" name="Content Placeholder 5"/>
          <p:cNvSpPr>
            <a:spLocks noGrp="1"/>
          </p:cNvSpPr>
          <p:nvPr>
            <p:ph sz="quarter" idx="4"/>
          </p:nvPr>
        </p:nvSpPr>
        <p:spPr>
          <a:xfrm>
            <a:off x="6172215" y="2505083"/>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73C4516-B7A6-4CC3-9447-0498F4D91578}" type="datetime1">
              <a:rPr lang="en-US" smtClean="0">
                <a:solidFill>
                  <a:prstClr val="black">
                    <a:tint val="75000"/>
                  </a:prstClr>
                </a:solidFill>
              </a:rPr>
              <a:t>4/30/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17432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1C3F41-B7CF-4F02-9A2A-DBAE151E6E6E}"/>
              </a:ext>
            </a:extLst>
          </p:cNvPr>
          <p:cNvGraphicFramePr>
            <a:graphicFrameLocks noChangeAspect="1"/>
          </p:cNvGraphicFramePr>
          <p:nvPr userDrawn="1">
            <p:custDataLst>
              <p:tags r:id="rId2"/>
            </p:custDataLst>
            <p:extLst/>
          </p:nvPr>
        </p:nvGraphicFramePr>
        <p:xfrm>
          <a:off x="1589" y="1613"/>
          <a:ext cx="1587" cy="1587"/>
        </p:xfrm>
        <a:graphic>
          <a:graphicData uri="http://schemas.openxmlformats.org/presentationml/2006/ole">
            <mc:AlternateContent xmlns:mc="http://schemas.openxmlformats.org/markup-compatibility/2006">
              <mc:Choice xmlns:v="urn:schemas-microsoft-com:vml" Requires="v">
                <p:oleObj spid="_x0000_s701442" name="think-cell Slide" r:id="rId5" imgW="270" imgH="270" progId="TCLayout.ActiveDocument.1">
                  <p:embed/>
                </p:oleObj>
              </mc:Choice>
              <mc:Fallback>
                <p:oleObj name="think-cell Slide" r:id="rId5" imgW="270" imgH="270" progId="TCLayout.ActiveDocument.1">
                  <p:embed/>
                  <p:pic>
                    <p:nvPicPr>
                      <p:cNvPr id="6" name="Object 5" hidden="1">
                        <a:extLst>
                          <a:ext uri="{FF2B5EF4-FFF2-40B4-BE49-F238E27FC236}">
                            <a16:creationId xmlns:a16="http://schemas.microsoft.com/office/drawing/2014/main" id="{501C3F41-B7CF-4F02-9A2A-DBAE151E6E6E}"/>
                          </a:ext>
                        </a:extLst>
                      </p:cNvPr>
                      <p:cNvPicPr/>
                      <p:nvPr/>
                    </p:nvPicPr>
                    <p:blipFill>
                      <a:blip r:embed="rId6"/>
                      <a:stretch>
                        <a:fillRect/>
                      </a:stretch>
                    </p:blipFill>
                    <p:spPr>
                      <a:xfrm>
                        <a:off x="1589" y="1613"/>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C2BBB7C-55A1-45DD-8160-7C767E36EC18}"/>
              </a:ext>
            </a:extLst>
          </p:cNvPr>
          <p:cNvSpPr/>
          <p:nvPr userDrawn="1">
            <p:custDataLst>
              <p:tags r:id="rId3"/>
            </p:custDataLst>
          </p:nvPr>
        </p:nvSpPr>
        <p:spPr>
          <a:xfrm>
            <a:off x="18" y="1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2355">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0C171DE-96A1-4CBB-9C05-4C3C0AED1488}" type="datetime1">
              <a:rPr lang="en-US" smtClean="0">
                <a:solidFill>
                  <a:prstClr val="black">
                    <a:tint val="75000"/>
                  </a:prstClr>
                </a:solidFill>
              </a:rPr>
              <a:t>4/3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300831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7C7374-FD5C-4F44-8430-FE39F77FD7E7}" type="datetime1">
              <a:rPr lang="en-US" smtClean="0">
                <a:solidFill>
                  <a:prstClr val="black">
                    <a:tint val="75000"/>
                  </a:prstClr>
                </a:solidFill>
              </a:rPr>
              <a:t>4/30/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0462085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7"/>
            <a:ext cx="3932237" cy="3811588"/>
          </a:xfrm>
        </p:spPr>
        <p:txBody>
          <a:bodyPr/>
          <a:lstStyle>
            <a:lvl1pPr marL="0" indent="0">
              <a:buNone/>
              <a:defRPr sz="1600"/>
            </a:lvl1pPr>
            <a:lvl2pPr marL="456175" indent="0">
              <a:buNone/>
              <a:defRPr sz="1500"/>
            </a:lvl2pPr>
            <a:lvl3pPr marL="912355" indent="0">
              <a:buNone/>
              <a:defRPr sz="1200"/>
            </a:lvl3pPr>
            <a:lvl4pPr marL="1368534" indent="0">
              <a:buNone/>
              <a:defRPr sz="1100"/>
            </a:lvl4pPr>
            <a:lvl5pPr marL="1824712" indent="0">
              <a:buNone/>
              <a:defRPr sz="1100"/>
            </a:lvl5pPr>
            <a:lvl6pPr marL="2280894" indent="0">
              <a:buNone/>
              <a:defRPr sz="1100"/>
            </a:lvl6pPr>
            <a:lvl7pPr marL="2737070" indent="0">
              <a:buNone/>
              <a:defRPr sz="1100"/>
            </a:lvl7pPr>
            <a:lvl8pPr marL="3193242" indent="0">
              <a:buNone/>
              <a:defRPr sz="1100"/>
            </a:lvl8pPr>
            <a:lvl9pPr marL="3649415"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D63DFFB0-5511-4F3F-87DA-B425DD5A9523}"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63971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75"/>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43" y="3602040"/>
            <a:ext cx="9144001" cy="1655763"/>
          </a:xfrm>
        </p:spPr>
        <p:txBody>
          <a:bodyPr/>
          <a:lstStyle>
            <a:lvl1pPr marL="0" indent="0" algn="ctr">
              <a:buNone/>
              <a:defRPr sz="2400"/>
            </a:lvl1pPr>
            <a:lvl2pPr marL="455981" indent="0" algn="ctr">
              <a:buNone/>
              <a:defRPr sz="1900"/>
            </a:lvl2pPr>
            <a:lvl3pPr marL="911969" indent="0" algn="ctr">
              <a:buNone/>
              <a:defRPr sz="1900"/>
            </a:lvl3pPr>
            <a:lvl4pPr marL="1367953" indent="0" algn="ctr">
              <a:buNone/>
              <a:defRPr sz="1600"/>
            </a:lvl4pPr>
            <a:lvl5pPr marL="1823939" indent="0" algn="ctr">
              <a:buNone/>
              <a:defRPr sz="1600"/>
            </a:lvl5pPr>
            <a:lvl6pPr marL="2279928" indent="0" algn="ctr">
              <a:buNone/>
              <a:defRPr sz="1600"/>
            </a:lvl6pPr>
            <a:lvl7pPr marL="2735910" indent="0" algn="ctr">
              <a:buNone/>
              <a:defRPr sz="1600"/>
            </a:lvl7pPr>
            <a:lvl8pPr marL="3191889" indent="0" algn="ctr">
              <a:buNone/>
              <a:defRPr sz="1600"/>
            </a:lvl8pPr>
            <a:lvl9pPr marL="364786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5C731E3-F37B-46BB-B57F-A9CE1C5502AD}"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0044193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6175" indent="0">
              <a:buNone/>
              <a:defRPr sz="2800"/>
            </a:lvl2pPr>
            <a:lvl3pPr marL="912355" indent="0">
              <a:buNone/>
              <a:defRPr sz="2400"/>
            </a:lvl3pPr>
            <a:lvl4pPr marL="1368534" indent="0">
              <a:buNone/>
              <a:defRPr sz="2000"/>
            </a:lvl4pPr>
            <a:lvl5pPr marL="1824712" indent="0">
              <a:buNone/>
              <a:defRPr sz="2000"/>
            </a:lvl5pPr>
            <a:lvl6pPr marL="2280894" indent="0">
              <a:buNone/>
              <a:defRPr sz="2000"/>
            </a:lvl6pPr>
            <a:lvl7pPr marL="2737070" indent="0">
              <a:buNone/>
              <a:defRPr sz="2000"/>
            </a:lvl7pPr>
            <a:lvl8pPr marL="3193242" indent="0">
              <a:buNone/>
              <a:defRPr sz="2000"/>
            </a:lvl8pPr>
            <a:lvl9pPr marL="3649415"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7"/>
            <a:ext cx="3932237" cy="3811588"/>
          </a:xfrm>
        </p:spPr>
        <p:txBody>
          <a:bodyPr/>
          <a:lstStyle>
            <a:lvl1pPr marL="0" indent="0">
              <a:buNone/>
              <a:defRPr sz="1600"/>
            </a:lvl1pPr>
            <a:lvl2pPr marL="456175" indent="0">
              <a:buNone/>
              <a:defRPr sz="1500"/>
            </a:lvl2pPr>
            <a:lvl3pPr marL="912355" indent="0">
              <a:buNone/>
              <a:defRPr sz="1200"/>
            </a:lvl3pPr>
            <a:lvl4pPr marL="1368534" indent="0">
              <a:buNone/>
              <a:defRPr sz="1100"/>
            </a:lvl4pPr>
            <a:lvl5pPr marL="1824712" indent="0">
              <a:buNone/>
              <a:defRPr sz="1100"/>
            </a:lvl5pPr>
            <a:lvl6pPr marL="2280894" indent="0">
              <a:buNone/>
              <a:defRPr sz="1100"/>
            </a:lvl6pPr>
            <a:lvl7pPr marL="2737070" indent="0">
              <a:buNone/>
              <a:defRPr sz="1100"/>
            </a:lvl7pPr>
            <a:lvl8pPr marL="3193242" indent="0">
              <a:buNone/>
              <a:defRPr sz="1100"/>
            </a:lvl8pPr>
            <a:lvl9pPr marL="3649415"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9B836F78-B572-42E2-83CB-193B4835E119}"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670278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55D1CB6-5625-49C2-BAEC-7D7B6B4C0755}"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043349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7" y="365124"/>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365124"/>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9115FC5-6BA5-403E-8B62-810DA83CF8FE}"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117295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7F07F66-F0F5-4133-A96A-752C938553D7}"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graphicFrame>
        <p:nvGraphicFramePr>
          <p:cNvPr id="7" name="Object 6" hidden="1">
            <a:extLst>
              <a:ext uri="{FF2B5EF4-FFF2-40B4-BE49-F238E27FC236}">
                <a16:creationId xmlns:a16="http://schemas.microsoft.com/office/drawing/2014/main" id="{AEC1B317-CA0D-4199-8734-5637E4D3993B}"/>
              </a:ext>
            </a:extLst>
          </p:cNvPr>
          <p:cNvGraphicFramePr>
            <a:graphicFrameLocks noChangeAspect="1"/>
          </p:cNvGraphicFramePr>
          <p:nvPr userDrawn="1">
            <p:custDataLst>
              <p:tags r:id="rId2"/>
            </p:custDataLs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3574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616"/>
                        <a:ext cx="1586" cy="1587"/>
                      </a:xfrm>
                      <a:prstGeom prst="rect">
                        <a:avLst/>
                      </a:prstGeom>
                    </p:spPr>
                  </p:pic>
                </p:oleObj>
              </mc:Fallback>
            </mc:AlternateContent>
          </a:graphicData>
        </a:graphic>
      </p:graphicFrame>
    </p:spTree>
    <p:extLst>
      <p:ext uri="{BB962C8B-B14F-4D97-AF65-F5344CB8AC3E}">
        <p14:creationId xmlns:p14="http://schemas.microsoft.com/office/powerpoint/2010/main" val="38330487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3"/>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911"/>
            <a:ext cx="10515600" cy="1500187"/>
          </a:xfrm>
        </p:spPr>
        <p:txBody>
          <a:bodyPr/>
          <a:lstStyle>
            <a:lvl1pPr marL="0" indent="0">
              <a:buNone/>
              <a:defRPr sz="2400">
                <a:solidFill>
                  <a:schemeClr val="tx1"/>
                </a:solidFill>
              </a:defRPr>
            </a:lvl1pPr>
            <a:lvl2pPr marL="455981" indent="0">
              <a:buNone/>
              <a:defRPr sz="1900">
                <a:solidFill>
                  <a:schemeClr val="tx1">
                    <a:tint val="75000"/>
                  </a:schemeClr>
                </a:solidFill>
              </a:defRPr>
            </a:lvl2pPr>
            <a:lvl3pPr marL="911969" indent="0">
              <a:buNone/>
              <a:defRPr sz="1900">
                <a:solidFill>
                  <a:schemeClr val="tx1">
                    <a:tint val="75000"/>
                  </a:schemeClr>
                </a:solidFill>
              </a:defRPr>
            </a:lvl3pPr>
            <a:lvl4pPr marL="1367953" indent="0">
              <a:buNone/>
              <a:defRPr sz="1600">
                <a:solidFill>
                  <a:schemeClr val="tx1">
                    <a:tint val="75000"/>
                  </a:schemeClr>
                </a:solidFill>
              </a:defRPr>
            </a:lvl4pPr>
            <a:lvl5pPr marL="1823939" indent="0">
              <a:buNone/>
              <a:defRPr sz="1600">
                <a:solidFill>
                  <a:schemeClr val="tx1">
                    <a:tint val="75000"/>
                  </a:schemeClr>
                </a:solidFill>
              </a:defRPr>
            </a:lvl5pPr>
            <a:lvl6pPr marL="2279928" indent="0">
              <a:buNone/>
              <a:defRPr sz="1600">
                <a:solidFill>
                  <a:schemeClr val="tx1">
                    <a:tint val="75000"/>
                  </a:schemeClr>
                </a:solidFill>
              </a:defRPr>
            </a:lvl6pPr>
            <a:lvl7pPr marL="2735910" indent="0">
              <a:buNone/>
              <a:defRPr sz="1600">
                <a:solidFill>
                  <a:schemeClr val="tx1">
                    <a:tint val="75000"/>
                  </a:schemeClr>
                </a:solidFill>
              </a:defRPr>
            </a:lvl7pPr>
            <a:lvl8pPr marL="3191889" indent="0">
              <a:buNone/>
              <a:defRPr sz="1600">
                <a:solidFill>
                  <a:schemeClr val="tx1">
                    <a:tint val="75000"/>
                  </a:schemeClr>
                </a:solidFill>
              </a:defRPr>
            </a:lvl8pPr>
            <a:lvl9pPr marL="3647869"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E1CE17A-89DD-403F-8ADB-1A205840BF81}"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1720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25"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3"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9E4D95B-FF94-46F5-8461-029A758A0E5E}"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60548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5981" indent="0">
              <a:buNone/>
              <a:defRPr sz="1900" b="1"/>
            </a:lvl2pPr>
            <a:lvl3pPr marL="911969" indent="0">
              <a:buNone/>
              <a:defRPr sz="1900" b="1"/>
            </a:lvl3pPr>
            <a:lvl4pPr marL="1367953" indent="0">
              <a:buNone/>
              <a:defRPr sz="1600" b="1"/>
            </a:lvl4pPr>
            <a:lvl5pPr marL="1823939" indent="0">
              <a:buNone/>
              <a:defRPr sz="1600" b="1"/>
            </a:lvl5pPr>
            <a:lvl6pPr marL="2279928" indent="0">
              <a:buNone/>
              <a:defRPr sz="1600" b="1"/>
            </a:lvl6pPr>
            <a:lvl7pPr marL="2735910" indent="0">
              <a:buNone/>
              <a:defRPr sz="1600" b="1"/>
            </a:lvl7pPr>
            <a:lvl8pPr marL="3191889" indent="0">
              <a:buNone/>
              <a:defRPr sz="1600" b="1"/>
            </a:lvl8pPr>
            <a:lvl9pPr marL="364786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83"/>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15" y="1681163"/>
            <a:ext cx="5183187" cy="823912"/>
          </a:xfrm>
        </p:spPr>
        <p:txBody>
          <a:bodyPr anchor="b"/>
          <a:lstStyle>
            <a:lvl1pPr marL="0" indent="0">
              <a:buNone/>
              <a:defRPr sz="2400" b="1"/>
            </a:lvl1pPr>
            <a:lvl2pPr marL="455981" indent="0">
              <a:buNone/>
              <a:defRPr sz="1900" b="1"/>
            </a:lvl2pPr>
            <a:lvl3pPr marL="911969" indent="0">
              <a:buNone/>
              <a:defRPr sz="1900" b="1"/>
            </a:lvl3pPr>
            <a:lvl4pPr marL="1367953" indent="0">
              <a:buNone/>
              <a:defRPr sz="1600" b="1"/>
            </a:lvl4pPr>
            <a:lvl5pPr marL="1823939" indent="0">
              <a:buNone/>
              <a:defRPr sz="1600" b="1"/>
            </a:lvl5pPr>
            <a:lvl6pPr marL="2279928" indent="0">
              <a:buNone/>
              <a:defRPr sz="1600" b="1"/>
            </a:lvl6pPr>
            <a:lvl7pPr marL="2735910" indent="0">
              <a:buNone/>
              <a:defRPr sz="1600" b="1"/>
            </a:lvl7pPr>
            <a:lvl8pPr marL="3191889" indent="0">
              <a:buNone/>
              <a:defRPr sz="1600" b="1"/>
            </a:lvl8pPr>
            <a:lvl9pPr marL="3647869" indent="0">
              <a:buNone/>
              <a:defRPr sz="1600" b="1"/>
            </a:lvl9pPr>
          </a:lstStyle>
          <a:p>
            <a:pPr lvl="0"/>
            <a:r>
              <a:rPr lang="en-US"/>
              <a:t>Edit Master text styles</a:t>
            </a:r>
          </a:p>
        </p:txBody>
      </p:sp>
      <p:sp>
        <p:nvSpPr>
          <p:cNvPr id="6" name="Content Placeholder 5"/>
          <p:cNvSpPr>
            <a:spLocks noGrp="1"/>
          </p:cNvSpPr>
          <p:nvPr>
            <p:ph sz="quarter" idx="4"/>
          </p:nvPr>
        </p:nvSpPr>
        <p:spPr>
          <a:xfrm>
            <a:off x="6172215" y="2505083"/>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73C4516-B7A6-4CC3-9447-0498F4D91578}" type="datetime1">
              <a:rPr lang="en-US" smtClean="0">
                <a:solidFill>
                  <a:prstClr val="black">
                    <a:tint val="75000"/>
                  </a:prstClr>
                </a:solidFill>
              </a:rPr>
              <a:t>4/30/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334833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1C3F41-B7CF-4F02-9A2A-DBAE151E6E6E}"/>
              </a:ext>
            </a:extLst>
          </p:cNvPr>
          <p:cNvGraphicFramePr>
            <a:graphicFrameLocks noChangeAspect="1"/>
          </p:cNvGraphicFramePr>
          <p:nvPr userDrawn="1">
            <p:custDataLst>
              <p:tags r:id="rId2"/>
            </p:custDataLs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3584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1" y="1616"/>
                        <a:ext cx="158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C2BBB7C-55A1-45DD-8160-7C767E36EC18}"/>
              </a:ext>
            </a:extLst>
          </p:cNvPr>
          <p:cNvSpPr/>
          <p:nvPr userDrawn="1">
            <p:custDataLst>
              <p:tags r:id="rId3"/>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1969">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0C171DE-96A1-4CBB-9C05-4C3C0AED1488}" type="datetime1">
              <a:rPr lang="en-US" smtClean="0">
                <a:solidFill>
                  <a:prstClr val="black">
                    <a:tint val="75000"/>
                  </a:prstClr>
                </a:solidFill>
              </a:rPr>
              <a:t>4/3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78261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7C7374-FD5C-4F44-8430-FE39F77FD7E7}" type="datetime1">
              <a:rPr lang="en-US" smtClean="0">
                <a:solidFill>
                  <a:prstClr val="black">
                    <a:tint val="75000"/>
                  </a:prstClr>
                </a:solidFill>
              </a:rPr>
              <a:t>4/30/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2547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3"/>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911"/>
            <a:ext cx="10515600" cy="1500187"/>
          </a:xfrm>
        </p:spPr>
        <p:txBody>
          <a:bodyPr/>
          <a:lstStyle>
            <a:lvl1pPr marL="0" indent="0">
              <a:buNone/>
              <a:defRPr sz="2400">
                <a:solidFill>
                  <a:schemeClr val="tx1"/>
                </a:solidFill>
              </a:defRPr>
            </a:lvl1pPr>
            <a:lvl2pPr marL="455981" indent="0">
              <a:buNone/>
              <a:defRPr sz="1900">
                <a:solidFill>
                  <a:schemeClr val="tx1">
                    <a:tint val="75000"/>
                  </a:schemeClr>
                </a:solidFill>
              </a:defRPr>
            </a:lvl2pPr>
            <a:lvl3pPr marL="911969" indent="0">
              <a:buNone/>
              <a:defRPr sz="1900">
                <a:solidFill>
                  <a:schemeClr val="tx1">
                    <a:tint val="75000"/>
                  </a:schemeClr>
                </a:solidFill>
              </a:defRPr>
            </a:lvl3pPr>
            <a:lvl4pPr marL="1367953" indent="0">
              <a:buNone/>
              <a:defRPr sz="1600">
                <a:solidFill>
                  <a:schemeClr val="tx1">
                    <a:tint val="75000"/>
                  </a:schemeClr>
                </a:solidFill>
              </a:defRPr>
            </a:lvl4pPr>
            <a:lvl5pPr marL="1823939" indent="0">
              <a:buNone/>
              <a:defRPr sz="1600">
                <a:solidFill>
                  <a:schemeClr val="tx1">
                    <a:tint val="75000"/>
                  </a:schemeClr>
                </a:solidFill>
              </a:defRPr>
            </a:lvl5pPr>
            <a:lvl6pPr marL="2279928" indent="0">
              <a:buNone/>
              <a:defRPr sz="1600">
                <a:solidFill>
                  <a:schemeClr val="tx1">
                    <a:tint val="75000"/>
                  </a:schemeClr>
                </a:solidFill>
              </a:defRPr>
            </a:lvl6pPr>
            <a:lvl7pPr marL="2735910" indent="0">
              <a:buNone/>
              <a:defRPr sz="1600">
                <a:solidFill>
                  <a:schemeClr val="tx1">
                    <a:tint val="75000"/>
                  </a:schemeClr>
                </a:solidFill>
              </a:defRPr>
            </a:lvl7pPr>
            <a:lvl8pPr marL="3191889" indent="0">
              <a:buNone/>
              <a:defRPr sz="1600">
                <a:solidFill>
                  <a:schemeClr val="tx1">
                    <a:tint val="75000"/>
                  </a:schemeClr>
                </a:solidFill>
              </a:defRPr>
            </a:lvl8pPr>
            <a:lvl9pPr marL="3647869"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865BCB5-7D71-4C2C-BB04-37FDB074955B}"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839588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91" y="2057407"/>
            <a:ext cx="3932237" cy="3811588"/>
          </a:xfrm>
        </p:spPr>
        <p:txBody>
          <a:bodyPr/>
          <a:lstStyle>
            <a:lvl1pPr marL="0" indent="0">
              <a:buNone/>
              <a:defRPr sz="1600"/>
            </a:lvl1pPr>
            <a:lvl2pPr marL="455981" indent="0">
              <a:buNone/>
              <a:defRPr sz="1500"/>
            </a:lvl2pPr>
            <a:lvl3pPr marL="911969" indent="0">
              <a:buNone/>
              <a:defRPr sz="1200"/>
            </a:lvl3pPr>
            <a:lvl4pPr marL="1367953" indent="0">
              <a:buNone/>
              <a:defRPr sz="1100"/>
            </a:lvl4pPr>
            <a:lvl5pPr marL="1823939" indent="0">
              <a:buNone/>
              <a:defRPr sz="1100"/>
            </a:lvl5pPr>
            <a:lvl6pPr marL="2279928" indent="0">
              <a:buNone/>
              <a:defRPr sz="1100"/>
            </a:lvl6pPr>
            <a:lvl7pPr marL="2735910" indent="0">
              <a:buNone/>
              <a:defRPr sz="1100"/>
            </a:lvl7pPr>
            <a:lvl8pPr marL="3191889" indent="0">
              <a:buNone/>
              <a:defRPr sz="1100"/>
            </a:lvl8pPr>
            <a:lvl9pPr marL="3647869"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D63DFFB0-5511-4F3F-87DA-B425DD5A9523}"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13626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5981" indent="0">
              <a:buNone/>
              <a:defRPr sz="2800"/>
            </a:lvl2pPr>
            <a:lvl3pPr marL="911969" indent="0">
              <a:buNone/>
              <a:defRPr sz="2400"/>
            </a:lvl3pPr>
            <a:lvl4pPr marL="1367953" indent="0">
              <a:buNone/>
              <a:defRPr sz="1900"/>
            </a:lvl4pPr>
            <a:lvl5pPr marL="1823939" indent="0">
              <a:buNone/>
              <a:defRPr sz="1900"/>
            </a:lvl5pPr>
            <a:lvl6pPr marL="2279928" indent="0">
              <a:buNone/>
              <a:defRPr sz="1900"/>
            </a:lvl6pPr>
            <a:lvl7pPr marL="2735910" indent="0">
              <a:buNone/>
              <a:defRPr sz="1900"/>
            </a:lvl7pPr>
            <a:lvl8pPr marL="3191889" indent="0">
              <a:buNone/>
              <a:defRPr sz="1900"/>
            </a:lvl8pPr>
            <a:lvl9pPr marL="3647869" indent="0">
              <a:buNone/>
              <a:defRPr sz="1900"/>
            </a:lvl9pPr>
          </a:lstStyle>
          <a:p>
            <a:r>
              <a:rPr lang="en-US"/>
              <a:t>Click icon to add picture</a:t>
            </a:r>
            <a:endParaRPr lang="en-US" dirty="0"/>
          </a:p>
        </p:txBody>
      </p:sp>
      <p:sp>
        <p:nvSpPr>
          <p:cNvPr id="4" name="Text Placeholder 3"/>
          <p:cNvSpPr>
            <a:spLocks noGrp="1"/>
          </p:cNvSpPr>
          <p:nvPr>
            <p:ph type="body" sz="half" idx="2"/>
          </p:nvPr>
        </p:nvSpPr>
        <p:spPr>
          <a:xfrm>
            <a:off x="839791" y="2057407"/>
            <a:ext cx="3932237" cy="3811588"/>
          </a:xfrm>
        </p:spPr>
        <p:txBody>
          <a:bodyPr/>
          <a:lstStyle>
            <a:lvl1pPr marL="0" indent="0">
              <a:buNone/>
              <a:defRPr sz="1600"/>
            </a:lvl1pPr>
            <a:lvl2pPr marL="455981" indent="0">
              <a:buNone/>
              <a:defRPr sz="1500"/>
            </a:lvl2pPr>
            <a:lvl3pPr marL="911969" indent="0">
              <a:buNone/>
              <a:defRPr sz="1200"/>
            </a:lvl3pPr>
            <a:lvl4pPr marL="1367953" indent="0">
              <a:buNone/>
              <a:defRPr sz="1100"/>
            </a:lvl4pPr>
            <a:lvl5pPr marL="1823939" indent="0">
              <a:buNone/>
              <a:defRPr sz="1100"/>
            </a:lvl5pPr>
            <a:lvl6pPr marL="2279928" indent="0">
              <a:buNone/>
              <a:defRPr sz="1100"/>
            </a:lvl6pPr>
            <a:lvl7pPr marL="2735910" indent="0">
              <a:buNone/>
              <a:defRPr sz="1100"/>
            </a:lvl7pPr>
            <a:lvl8pPr marL="3191889" indent="0">
              <a:buNone/>
              <a:defRPr sz="1100"/>
            </a:lvl8pPr>
            <a:lvl9pPr marL="3647869"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9B836F78-B572-42E2-83CB-193B4835E119}"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99614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55D1CB6-5625-49C2-BAEC-7D7B6B4C0755}"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61404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7" y="365127"/>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365127"/>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9115FC5-6BA5-403E-8B62-810DA83CF8FE}"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806531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203" y="1649"/>
          <a:ext cx="2159" cy="1619"/>
        </p:xfrm>
        <a:graphic>
          <a:graphicData uri="http://schemas.openxmlformats.org/presentationml/2006/ole">
            <mc:AlternateContent xmlns:mc="http://schemas.openxmlformats.org/markup-compatibility/2006">
              <mc:Choice xmlns:v="urn:schemas-microsoft-com:vml" Requires="v">
                <p:oleObj spid="_x0000_s3636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203" y="1649"/>
                        <a:ext cx="2159" cy="1619"/>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ltGray">
          <a:xfrm>
            <a:off x="2161" y="-1"/>
            <a:ext cx="12187680" cy="6858001"/>
          </a:xfrm>
          <a:prstGeom prst="rect">
            <a:avLst/>
          </a:prstGeom>
        </p:spPr>
      </p:pic>
      <p:sp>
        <p:nvSpPr>
          <p:cNvPr id="17" name="Rectangle 16"/>
          <p:cNvSpPr/>
          <p:nvPr userDrawn="1"/>
        </p:nvSpPr>
        <p:spPr bwMode="ltGray">
          <a:xfrm>
            <a:off x="3390171" y="1086040"/>
            <a:ext cx="8801489" cy="2995717"/>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138" tIns="46579" rIns="93138" bIns="46579" rtlCol="0" anchor="ctr"/>
          <a:lstStyle/>
          <a:p>
            <a:pPr algn="ctr" defTabSz="912841" fontAlgn="base">
              <a:spcBef>
                <a:spcPct val="0"/>
              </a:spcBef>
              <a:spcAft>
                <a:spcPct val="0"/>
              </a:spcAft>
            </a:pPr>
            <a:endParaRPr lang="en-US" dirty="0">
              <a:solidFill>
                <a:srgbClr val="1F1F1F"/>
              </a:solidFill>
            </a:endParaRPr>
          </a:p>
        </p:txBody>
      </p:sp>
      <p:sp>
        <p:nvSpPr>
          <p:cNvPr id="19" name="Rectangle 1189"/>
          <p:cNvSpPr>
            <a:spLocks noChangeArrowheads="1"/>
          </p:cNvSpPr>
          <p:nvPr userDrawn="1"/>
        </p:nvSpPr>
        <p:spPr bwMode="auto">
          <a:xfrm>
            <a:off x="17" y="14"/>
            <a:ext cx="1218768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138" tIns="46579" rIns="93138" bIns="46579" anchor="ctr"/>
          <a:lstStyle/>
          <a:p>
            <a:pPr defTabSz="912841" fontAlgn="base">
              <a:spcBef>
                <a:spcPct val="0"/>
              </a:spcBef>
              <a:spcAft>
                <a:spcPct val="0"/>
              </a:spcAft>
            </a:pPr>
            <a:endParaRPr lang="en-US" sz="1600" dirty="0">
              <a:solidFill>
                <a:srgbClr val="1F1F1F"/>
              </a:solidFill>
            </a:endParaRPr>
          </a:p>
        </p:txBody>
      </p:sp>
      <p:sp>
        <p:nvSpPr>
          <p:cNvPr id="4" name="Working Draft Text"/>
          <p:cNvSpPr txBox="1">
            <a:spLocks noChangeArrowheads="1"/>
          </p:cNvSpPr>
          <p:nvPr/>
        </p:nvSpPr>
        <p:spPr bwMode="auto">
          <a:xfrm>
            <a:off x="3390167" y="126161"/>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841" eaLnBrk="1" fontAlgn="base" hangingPunct="1">
              <a:spcBef>
                <a:spcPct val="0"/>
              </a:spcBef>
              <a:spcAft>
                <a:spcPct val="0"/>
              </a:spcAft>
              <a:defRPr/>
            </a:pPr>
            <a:r>
              <a:rPr lang="en-US" sz="900" b="1" dirty="0">
                <a:solidFill>
                  <a:srgbClr val="FFFFFF"/>
                </a:solidFill>
                <a:latin typeface="Arial"/>
              </a:rPr>
              <a:t>WORKING DRAFT</a:t>
            </a:r>
          </a:p>
        </p:txBody>
      </p:sp>
      <p:sp>
        <p:nvSpPr>
          <p:cNvPr id="6" name="Working Draft"/>
          <p:cNvSpPr txBox="1">
            <a:spLocks noChangeArrowheads="1"/>
          </p:cNvSpPr>
          <p:nvPr/>
        </p:nvSpPr>
        <p:spPr bwMode="auto">
          <a:xfrm>
            <a:off x="3390156" y="285334"/>
            <a:ext cx="352660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841" eaLnBrk="1" fontAlgn="base" hangingPunct="1">
              <a:spcBef>
                <a:spcPct val="0"/>
              </a:spcBef>
              <a:spcAft>
                <a:spcPct val="0"/>
              </a:spcAft>
              <a:defRPr/>
            </a:pPr>
            <a:r>
              <a:rPr lang="en-US" sz="900">
                <a:solidFill>
                  <a:srgbClr val="FFFFFF"/>
                </a:solidFill>
                <a:latin typeface="Arial"/>
              </a:rPr>
              <a:t>Last Modified 2017-07-14 03:47 PM W. Central Africa Standard Time</a:t>
            </a:r>
            <a:endParaRPr lang="en-US" sz="900" dirty="0">
              <a:solidFill>
                <a:srgbClr val="FFFFFF"/>
              </a:solidFill>
              <a:latin typeface="Arial"/>
            </a:endParaRPr>
          </a:p>
        </p:txBody>
      </p:sp>
      <p:sp>
        <p:nvSpPr>
          <p:cNvPr id="7" name="Printed"/>
          <p:cNvSpPr txBox="1">
            <a:spLocks noChangeArrowheads="1"/>
          </p:cNvSpPr>
          <p:nvPr/>
        </p:nvSpPr>
        <p:spPr bwMode="auto">
          <a:xfrm>
            <a:off x="3390466" y="445246"/>
            <a:ext cx="3654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841" eaLnBrk="1" fontAlgn="base" hangingPunct="1">
              <a:spcBef>
                <a:spcPct val="0"/>
              </a:spcBef>
              <a:spcAft>
                <a:spcPct val="0"/>
              </a:spcAft>
              <a:defRPr/>
            </a:pPr>
            <a:r>
              <a:rPr lang="en-US" sz="900" dirty="0">
                <a:solidFill>
                  <a:srgbClr val="FFFFFF"/>
                </a:solidFill>
                <a:latin typeface="Arial"/>
              </a:rPr>
              <a:t>Printed</a:t>
            </a:r>
          </a:p>
        </p:txBody>
      </p:sp>
      <p:grpSp>
        <p:nvGrpSpPr>
          <p:cNvPr id="8" name="McK Title Elements" hidden="1"/>
          <p:cNvGrpSpPr>
            <a:grpSpLocks/>
          </p:cNvGrpSpPr>
          <p:nvPr/>
        </p:nvGrpSpPr>
        <p:grpSpPr bwMode="auto">
          <a:xfrm>
            <a:off x="3591746" y="3417647"/>
            <a:ext cx="4799047" cy="516699"/>
            <a:chOff x="1663" y="3099"/>
            <a:chExt cx="2222" cy="319"/>
          </a:xfrm>
        </p:grpSpPr>
        <p:sp>
          <p:nvSpPr>
            <p:cNvPr id="9" name="McK Document type"/>
            <p:cNvSpPr txBox="1">
              <a:spLocks noChangeArrowheads="1"/>
            </p:cNvSpPr>
            <p:nvPr/>
          </p:nvSpPr>
          <p:spPr bwMode="auto">
            <a:xfrm>
              <a:off x="1663" y="3099"/>
              <a:ext cx="2222"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841" eaLnBrk="1" fontAlgn="base" hangingPunct="1">
                <a:spcBef>
                  <a:spcPct val="0"/>
                </a:spcBef>
                <a:spcAft>
                  <a:spcPct val="0"/>
                </a:spcAft>
                <a:defRPr/>
              </a:pPr>
              <a:r>
                <a:rPr lang="en-US" sz="1500" dirty="0">
                  <a:solidFill>
                    <a:srgbClr val="1F1F1F"/>
                  </a:solidFill>
                  <a:latin typeface="Arial"/>
                </a:rPr>
                <a:t>Document type</a:t>
              </a:r>
            </a:p>
          </p:txBody>
        </p:sp>
        <p:sp>
          <p:nvSpPr>
            <p:cNvPr id="10" name="McK Date"/>
            <p:cNvSpPr txBox="1">
              <a:spLocks noChangeArrowheads="1"/>
            </p:cNvSpPr>
            <p:nvPr/>
          </p:nvSpPr>
          <p:spPr bwMode="auto">
            <a:xfrm>
              <a:off x="1663" y="3275"/>
              <a:ext cx="2222"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841" eaLnBrk="1" fontAlgn="base" hangingPunct="1">
                <a:spcBef>
                  <a:spcPct val="0"/>
                </a:spcBef>
                <a:spcAft>
                  <a:spcPct val="0"/>
                </a:spcAft>
                <a:defRPr/>
              </a:pPr>
              <a:r>
                <a:rPr lang="en-US" sz="1500" dirty="0">
                  <a:solidFill>
                    <a:srgbClr val="1F1F1F"/>
                  </a:solidFill>
                  <a:latin typeface="Arial"/>
                </a:rPr>
                <a:t>Date</a:t>
              </a:r>
            </a:p>
          </p:txBody>
        </p:sp>
      </p:grpSp>
      <p:sp>
        <p:nvSpPr>
          <p:cNvPr id="13314" name="Rectangle 1026"/>
          <p:cNvSpPr>
            <a:spLocks noGrp="1" noChangeArrowheads="1"/>
          </p:cNvSpPr>
          <p:nvPr>
            <p:ph type="ctrTitle"/>
          </p:nvPr>
        </p:nvSpPr>
        <p:spPr bwMode="auto">
          <a:xfrm>
            <a:off x="3591733" y="1197197"/>
            <a:ext cx="8297731" cy="507831"/>
          </a:xfrm>
          <a:prstGeom prst="rect">
            <a:avLst/>
          </a:prstGeom>
        </p:spPr>
        <p:txBody>
          <a:bodyPr wrap="square">
            <a:spAutoFit/>
          </a:bodyPr>
          <a:lstStyle>
            <a:lvl1pPr>
              <a:defRPr sz="3300" b="0" baseline="0">
                <a:solidFill>
                  <a:schemeClr val="tx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3591733" y="2454175"/>
            <a:ext cx="8297731" cy="230832"/>
          </a:xfrm>
        </p:spPr>
        <p:txBody>
          <a:bodyPr wrap="square">
            <a:spAutoFit/>
          </a:bodyPr>
          <a:lstStyle>
            <a:lvl1pPr>
              <a:defRPr sz="1500" baseline="0">
                <a:solidFill>
                  <a:schemeClr val="tx1"/>
                </a:solidFill>
                <a:latin typeface="+mn-lt"/>
                <a:ea typeface="+mn-ea"/>
              </a:defRPr>
            </a:lvl1pPr>
          </a:lstStyle>
          <a:p>
            <a:pPr lvl="0"/>
            <a:r>
              <a:rPr lang="en-US" noProof="0"/>
              <a:t>Click to edit Master subtitle style</a:t>
            </a:r>
            <a:endParaRPr lang="en-US" noProof="0" dirty="0"/>
          </a:p>
        </p:txBody>
      </p:sp>
      <p:sp>
        <p:nvSpPr>
          <p:cNvPr id="15" name="doc id"/>
          <p:cNvSpPr>
            <a:spLocks noChangeArrowheads="1"/>
          </p:cNvSpPr>
          <p:nvPr userDrawn="1"/>
        </p:nvSpPr>
        <p:spPr bwMode="auto">
          <a:xfrm>
            <a:off x="1106460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1965" fontAlgn="base">
              <a:spcBef>
                <a:spcPct val="0"/>
              </a:spcBef>
              <a:spcAft>
                <a:spcPct val="0"/>
              </a:spcAft>
            </a:pPr>
            <a:endParaRPr lang="en-US" sz="900" dirty="0">
              <a:solidFill>
                <a:srgbClr val="FFFFFF"/>
              </a:solidFill>
            </a:endParaRPr>
          </a:p>
        </p:txBody>
      </p:sp>
    </p:spTree>
    <p:extLst>
      <p:ext uri="{BB962C8B-B14F-4D97-AF65-F5344CB8AC3E}">
        <p14:creationId xmlns:p14="http://schemas.microsoft.com/office/powerpoint/2010/main" val="6166786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203" y="1649"/>
          <a:ext cx="2159" cy="1619"/>
        </p:xfrm>
        <a:graphic>
          <a:graphicData uri="http://schemas.openxmlformats.org/presentationml/2006/ole">
            <mc:AlternateContent xmlns:mc="http://schemas.openxmlformats.org/markup-compatibility/2006">
              <mc:Choice xmlns:v="urn:schemas-microsoft-com:vml" Requires="v">
                <p:oleObj spid="_x0000_s36463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203" y="1649"/>
                        <a:ext cx="2159"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08596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203" y="1649"/>
          <a:ext cx="2159" cy="1619"/>
        </p:xfrm>
        <a:graphic>
          <a:graphicData uri="http://schemas.openxmlformats.org/presentationml/2006/ole">
            <mc:AlternateContent xmlns:mc="http://schemas.openxmlformats.org/markup-compatibility/2006">
              <mc:Choice xmlns:v="urn:schemas-microsoft-com:vml" Requires="v">
                <p:oleObj spid="_x0000_s36565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2203" y="1649"/>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8169440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81" y="3639521"/>
            <a:ext cx="10516004" cy="923330"/>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681" y="4589503"/>
            <a:ext cx="10516004" cy="353943"/>
          </a:xfrm>
        </p:spPr>
        <p:txBody>
          <a:bodyPr/>
          <a:lstStyle>
            <a:lvl1pPr marL="0" indent="0">
              <a:buNone/>
              <a:defRPr sz="2300"/>
            </a:lvl1pPr>
            <a:lvl2pPr marL="443306" indent="0">
              <a:buNone/>
              <a:defRPr sz="1900"/>
            </a:lvl2pPr>
            <a:lvl3pPr marL="886602" indent="0">
              <a:buNone/>
              <a:defRPr sz="1700"/>
            </a:lvl3pPr>
            <a:lvl4pPr marL="1329893" indent="0">
              <a:buNone/>
              <a:defRPr sz="1500"/>
            </a:lvl4pPr>
            <a:lvl5pPr marL="1773201" indent="0">
              <a:buNone/>
              <a:defRPr sz="1500"/>
            </a:lvl5pPr>
            <a:lvl6pPr marL="2216499" indent="0">
              <a:buNone/>
              <a:defRPr sz="1500"/>
            </a:lvl6pPr>
            <a:lvl7pPr marL="2659800" indent="0">
              <a:buNone/>
              <a:defRPr sz="1500"/>
            </a:lvl7pPr>
            <a:lvl8pPr marL="3103101" indent="0">
              <a:buNone/>
              <a:defRPr sz="1500"/>
            </a:lvl8pPr>
            <a:lvl9pPr marL="3546407" indent="0">
              <a:buNone/>
              <a:defRPr sz="1500"/>
            </a:lvl9pPr>
          </a:lstStyle>
          <a:p>
            <a:pPr lvl="0"/>
            <a:r>
              <a:rPr lang="en-US"/>
              <a:t>Click to edit Master text styles</a:t>
            </a:r>
          </a:p>
        </p:txBody>
      </p:sp>
    </p:spTree>
    <p:extLst>
      <p:ext uri="{BB962C8B-B14F-4D97-AF65-F5344CB8AC3E}">
        <p14:creationId xmlns:p14="http://schemas.microsoft.com/office/powerpoint/2010/main" val="8373919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61"/>
            <a:ext cx="10515600" cy="292388"/>
          </a:xfrm>
        </p:spPr>
        <p:txBody>
          <a:bodyPr/>
          <a:lstStyle/>
          <a:p>
            <a:r>
              <a:rPr lang="en-US"/>
              <a:t>Click to edit Master title style</a:t>
            </a:r>
          </a:p>
        </p:txBody>
      </p:sp>
      <p:sp>
        <p:nvSpPr>
          <p:cNvPr id="3" name="Text Placeholder 2"/>
          <p:cNvSpPr>
            <a:spLocks noGrp="1"/>
          </p:cNvSpPr>
          <p:nvPr>
            <p:ph type="body" idx="1"/>
          </p:nvPr>
        </p:nvSpPr>
        <p:spPr>
          <a:xfrm>
            <a:off x="839789" y="2212830"/>
            <a:ext cx="5157787" cy="292388"/>
          </a:xfrm>
        </p:spPr>
        <p:txBody>
          <a:bodyPr anchor="b"/>
          <a:lstStyle>
            <a:lvl1pPr marL="0" indent="0">
              <a:buNone/>
              <a:defRPr sz="1900" b="1"/>
            </a:lvl1pPr>
            <a:lvl2pPr marL="342272" indent="0">
              <a:buNone/>
              <a:defRPr sz="1500" b="1"/>
            </a:lvl2pPr>
            <a:lvl3pPr marL="684550" indent="0">
              <a:buNone/>
              <a:defRPr sz="1300" b="1"/>
            </a:lvl3pPr>
            <a:lvl4pPr marL="1026811" indent="0">
              <a:buNone/>
              <a:defRPr sz="1200" b="1"/>
            </a:lvl4pPr>
            <a:lvl5pPr marL="1369079" indent="0">
              <a:buNone/>
              <a:defRPr sz="1200" b="1"/>
            </a:lvl5pPr>
            <a:lvl6pPr marL="1711351" indent="0">
              <a:buNone/>
              <a:defRPr sz="1200" b="1"/>
            </a:lvl6pPr>
            <a:lvl7pPr marL="2053617" indent="0">
              <a:buNone/>
              <a:defRPr sz="1200" b="1"/>
            </a:lvl7pPr>
            <a:lvl8pPr marL="2395887" indent="0">
              <a:buNone/>
              <a:defRPr sz="1200" b="1"/>
            </a:lvl8pPr>
            <a:lvl9pPr marL="2738161" indent="0">
              <a:buNone/>
              <a:defRPr sz="1200" b="1"/>
            </a:lvl9pPr>
          </a:lstStyle>
          <a:p>
            <a:pPr lvl="0"/>
            <a:r>
              <a:rPr lang="en-US"/>
              <a:t>Edit Master text styles</a:t>
            </a:r>
          </a:p>
        </p:txBody>
      </p:sp>
      <p:sp>
        <p:nvSpPr>
          <p:cNvPr id="4" name="Content Placeholder 3"/>
          <p:cNvSpPr>
            <a:spLocks noGrp="1"/>
          </p:cNvSpPr>
          <p:nvPr>
            <p:ph sz="half" idx="2"/>
          </p:nvPr>
        </p:nvSpPr>
        <p:spPr>
          <a:xfrm>
            <a:off x="839789" y="2505076"/>
            <a:ext cx="5157787" cy="12311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15" y="2212830"/>
            <a:ext cx="5183187" cy="292388"/>
          </a:xfrm>
        </p:spPr>
        <p:txBody>
          <a:bodyPr anchor="b"/>
          <a:lstStyle>
            <a:lvl1pPr marL="0" indent="0">
              <a:buNone/>
              <a:defRPr sz="1900" b="1"/>
            </a:lvl1pPr>
            <a:lvl2pPr marL="342272" indent="0">
              <a:buNone/>
              <a:defRPr sz="1500" b="1"/>
            </a:lvl2pPr>
            <a:lvl3pPr marL="684550" indent="0">
              <a:buNone/>
              <a:defRPr sz="1300" b="1"/>
            </a:lvl3pPr>
            <a:lvl4pPr marL="1026811" indent="0">
              <a:buNone/>
              <a:defRPr sz="1200" b="1"/>
            </a:lvl4pPr>
            <a:lvl5pPr marL="1369079" indent="0">
              <a:buNone/>
              <a:defRPr sz="1200" b="1"/>
            </a:lvl5pPr>
            <a:lvl6pPr marL="1711351" indent="0">
              <a:buNone/>
              <a:defRPr sz="1200" b="1"/>
            </a:lvl6pPr>
            <a:lvl7pPr marL="2053617" indent="0">
              <a:buNone/>
              <a:defRPr sz="1200" b="1"/>
            </a:lvl7pPr>
            <a:lvl8pPr marL="2395887" indent="0">
              <a:buNone/>
              <a:defRPr sz="1200" b="1"/>
            </a:lvl8pPr>
            <a:lvl9pPr marL="2738161" indent="0">
              <a:buNone/>
              <a:defRPr sz="1200" b="1"/>
            </a:lvl9pPr>
          </a:lstStyle>
          <a:p>
            <a:pPr lvl="0"/>
            <a:r>
              <a:rPr lang="en-US"/>
              <a:t>Edit Master text styles</a:t>
            </a:r>
          </a:p>
        </p:txBody>
      </p:sp>
      <p:sp>
        <p:nvSpPr>
          <p:cNvPr id="6" name="Content Placeholder 5"/>
          <p:cNvSpPr>
            <a:spLocks noGrp="1"/>
          </p:cNvSpPr>
          <p:nvPr>
            <p:ph sz="quarter" idx="4"/>
          </p:nvPr>
        </p:nvSpPr>
        <p:spPr>
          <a:xfrm>
            <a:off x="6172215" y="2505076"/>
            <a:ext cx="5183187" cy="12311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806"/>
            <a:ext cx="2743201" cy="365125"/>
          </a:xfrm>
          <a:prstGeom prst="rect">
            <a:avLst/>
          </a:prstGeom>
        </p:spPr>
        <p:txBody>
          <a:bodyPr lIns="65199" tIns="32604" rIns="65199" bIns="32604"/>
          <a:lstStyle/>
          <a:p>
            <a:pPr defTabSz="912841" fontAlgn="base">
              <a:spcBef>
                <a:spcPct val="0"/>
              </a:spcBef>
              <a:spcAft>
                <a:spcPct val="0"/>
              </a:spcAft>
            </a:pPr>
            <a:fld id="{7FF817D6-4E49-4AB5-9FC8-8AEB301DE524}" type="datetime1">
              <a:rPr lang="en-US" sz="1600" smtClean="0">
                <a:solidFill>
                  <a:srgbClr val="1F1F1F"/>
                </a:solidFill>
              </a:rPr>
              <a:pPr defTabSz="912841" fontAlgn="base">
                <a:spcBef>
                  <a:spcPct val="0"/>
                </a:spcBef>
                <a:spcAft>
                  <a:spcPct val="0"/>
                </a:spcAft>
              </a:pPr>
              <a:t>4/30/2019</a:t>
            </a:fld>
            <a:endParaRPr lang="en-GB" sz="1600">
              <a:solidFill>
                <a:srgbClr val="1F1F1F"/>
              </a:solidFill>
            </a:endParaRPr>
          </a:p>
        </p:txBody>
      </p:sp>
      <p:sp>
        <p:nvSpPr>
          <p:cNvPr id="8" name="Footer Placeholder 7"/>
          <p:cNvSpPr>
            <a:spLocks noGrp="1"/>
          </p:cNvSpPr>
          <p:nvPr>
            <p:ph type="ftr" sz="quarter" idx="11"/>
          </p:nvPr>
        </p:nvSpPr>
        <p:spPr>
          <a:xfrm>
            <a:off x="4038601" y="6356806"/>
            <a:ext cx="4114800" cy="365125"/>
          </a:xfrm>
          <a:prstGeom prst="rect">
            <a:avLst/>
          </a:prstGeom>
        </p:spPr>
        <p:txBody>
          <a:bodyPr lIns="65199" tIns="32604" rIns="65199" bIns="32604"/>
          <a:lstStyle/>
          <a:p>
            <a:pPr defTabSz="912841" fontAlgn="base">
              <a:spcBef>
                <a:spcPct val="0"/>
              </a:spcBef>
              <a:spcAft>
                <a:spcPct val="0"/>
              </a:spcAft>
            </a:pPr>
            <a:endParaRPr lang="en-GB" sz="1600">
              <a:solidFill>
                <a:srgbClr val="1F1F1F"/>
              </a:solidFill>
            </a:endParaRPr>
          </a:p>
        </p:txBody>
      </p:sp>
      <p:sp>
        <p:nvSpPr>
          <p:cNvPr id="9" name="Slide Number Placeholder 8"/>
          <p:cNvSpPr>
            <a:spLocks noGrp="1"/>
          </p:cNvSpPr>
          <p:nvPr>
            <p:ph type="sldNum" sz="quarter" idx="12"/>
          </p:nvPr>
        </p:nvSpPr>
        <p:spPr>
          <a:xfrm>
            <a:off x="8610599" y="6356806"/>
            <a:ext cx="2743201" cy="365125"/>
          </a:xfrm>
          <a:prstGeom prst="rect">
            <a:avLst/>
          </a:prstGeom>
        </p:spPr>
        <p:txBody>
          <a:bodyPr lIns="65199" tIns="32604" rIns="65199" bIns="32604"/>
          <a:lstStyle/>
          <a:p>
            <a:pPr defTabSz="912841" fontAlgn="base">
              <a:spcBef>
                <a:spcPct val="0"/>
              </a:spcBef>
              <a:spcAft>
                <a:spcPct val="0"/>
              </a:spcAft>
            </a:pPr>
            <a:fld id="{FEA66DD7-1535-486F-A328-3C998B557428}" type="slidenum">
              <a:rPr lang="en-GB" sz="1600" smtClean="0">
                <a:solidFill>
                  <a:srgbClr val="1F1F1F"/>
                </a:solidFill>
              </a:rPr>
              <a:pPr defTabSz="912841" fontAlgn="base">
                <a:spcBef>
                  <a:spcPct val="0"/>
                </a:spcBef>
                <a:spcAft>
                  <a:spcPct val="0"/>
                </a:spcAft>
              </a:pPr>
              <a:t>‹#›</a:t>
            </a:fld>
            <a:endParaRPr lang="en-GB" sz="1600">
              <a:solidFill>
                <a:srgbClr val="1F1F1F"/>
              </a:solidFill>
            </a:endParaRPr>
          </a:p>
        </p:txBody>
      </p:sp>
    </p:spTree>
    <p:extLst>
      <p:ext uri="{BB962C8B-B14F-4D97-AF65-F5344CB8AC3E}">
        <p14:creationId xmlns:p14="http://schemas.microsoft.com/office/powerpoint/2010/main" val="10829284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74"/>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43" y="3602038"/>
            <a:ext cx="9144001" cy="1655762"/>
          </a:xfrm>
        </p:spPr>
        <p:txBody>
          <a:bodyPr/>
          <a:lstStyle>
            <a:lvl1pPr marL="0" indent="0" algn="ctr">
              <a:buNone/>
              <a:defRPr sz="2400"/>
            </a:lvl1pPr>
            <a:lvl2pPr marL="456088" indent="0" algn="ctr">
              <a:buNone/>
              <a:defRPr sz="1900"/>
            </a:lvl2pPr>
            <a:lvl3pPr marL="912173" indent="0" algn="ctr">
              <a:buNone/>
              <a:defRPr sz="1800"/>
            </a:lvl3pPr>
            <a:lvl4pPr marL="1368260" indent="0" algn="ctr">
              <a:buNone/>
              <a:defRPr sz="1600"/>
            </a:lvl4pPr>
            <a:lvl5pPr marL="1824346" indent="0" algn="ctr">
              <a:buNone/>
              <a:defRPr sz="1600"/>
            </a:lvl5pPr>
            <a:lvl6pPr marL="2280433" indent="0" algn="ctr">
              <a:buNone/>
              <a:defRPr sz="1600"/>
            </a:lvl6pPr>
            <a:lvl7pPr marL="2736522" indent="0" algn="ctr">
              <a:buNone/>
              <a:defRPr sz="1600"/>
            </a:lvl7pPr>
            <a:lvl8pPr marL="3192606" indent="0" algn="ctr">
              <a:buNone/>
              <a:defRPr sz="1600"/>
            </a:lvl8pPr>
            <a:lvl9pPr marL="3648695"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B6EBF82-180B-4204-8B3A-A4A3AB691536}"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74947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25"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3"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838B163-74CB-4D15-95F5-9136FCE139E6}"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41353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2E3402D-FF16-440D-BF32-DB36EE9F1FA3}"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graphicFrame>
        <p:nvGraphicFramePr>
          <p:cNvPr id="7" name="Object 6" hidden="1">
            <a:extLst>
              <a:ext uri="{FF2B5EF4-FFF2-40B4-BE49-F238E27FC236}">
                <a16:creationId xmlns:a16="http://schemas.microsoft.com/office/drawing/2014/main" id="{AEC1B317-CA0D-4199-8734-5637E4D3993B}"/>
              </a:ext>
            </a:extLst>
          </p:cNvPr>
          <p:cNvGraphicFramePr>
            <a:graphicFrameLocks noChangeAspect="1"/>
          </p:cNvGraphicFramePr>
          <p:nvPr userDrawn="1">
            <p:custDataLst>
              <p:tags r:id="rId2"/>
            </p:custDataLs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3779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616"/>
                        <a:ext cx="1586" cy="1587"/>
                      </a:xfrm>
                      <a:prstGeom prst="rect">
                        <a:avLst/>
                      </a:prstGeom>
                    </p:spPr>
                  </p:pic>
                </p:oleObj>
              </mc:Fallback>
            </mc:AlternateContent>
          </a:graphicData>
        </a:graphic>
      </p:graphicFrame>
    </p:spTree>
    <p:extLst>
      <p:ext uri="{BB962C8B-B14F-4D97-AF65-F5344CB8AC3E}">
        <p14:creationId xmlns:p14="http://schemas.microsoft.com/office/powerpoint/2010/main" val="23218080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3"/>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615"/>
            <a:ext cx="10515600" cy="1500187"/>
          </a:xfrm>
        </p:spPr>
        <p:txBody>
          <a:bodyPr/>
          <a:lstStyle>
            <a:lvl1pPr marL="0" indent="0">
              <a:buNone/>
              <a:defRPr sz="2400">
                <a:solidFill>
                  <a:schemeClr val="tx1"/>
                </a:solidFill>
              </a:defRPr>
            </a:lvl1pPr>
            <a:lvl2pPr marL="456088" indent="0">
              <a:buNone/>
              <a:defRPr sz="1900">
                <a:solidFill>
                  <a:schemeClr val="tx1">
                    <a:tint val="75000"/>
                  </a:schemeClr>
                </a:solidFill>
              </a:defRPr>
            </a:lvl2pPr>
            <a:lvl3pPr marL="912173" indent="0">
              <a:buNone/>
              <a:defRPr sz="1800">
                <a:solidFill>
                  <a:schemeClr val="tx1">
                    <a:tint val="75000"/>
                  </a:schemeClr>
                </a:solidFill>
              </a:defRPr>
            </a:lvl3pPr>
            <a:lvl4pPr marL="1368260" indent="0">
              <a:buNone/>
              <a:defRPr sz="1600">
                <a:solidFill>
                  <a:schemeClr val="tx1">
                    <a:tint val="75000"/>
                  </a:schemeClr>
                </a:solidFill>
              </a:defRPr>
            </a:lvl4pPr>
            <a:lvl5pPr marL="1824346" indent="0">
              <a:buNone/>
              <a:defRPr sz="1600">
                <a:solidFill>
                  <a:schemeClr val="tx1">
                    <a:tint val="75000"/>
                  </a:schemeClr>
                </a:solidFill>
              </a:defRPr>
            </a:lvl5pPr>
            <a:lvl6pPr marL="2280433" indent="0">
              <a:buNone/>
              <a:defRPr sz="1600">
                <a:solidFill>
                  <a:schemeClr val="tx1">
                    <a:tint val="75000"/>
                  </a:schemeClr>
                </a:solidFill>
              </a:defRPr>
            </a:lvl6pPr>
            <a:lvl7pPr marL="2736522" indent="0">
              <a:buNone/>
              <a:defRPr sz="1600">
                <a:solidFill>
                  <a:schemeClr val="tx1">
                    <a:tint val="75000"/>
                  </a:schemeClr>
                </a:solidFill>
              </a:defRPr>
            </a:lvl7pPr>
            <a:lvl8pPr marL="3192606" indent="0">
              <a:buNone/>
              <a:defRPr sz="1600">
                <a:solidFill>
                  <a:schemeClr val="tx1">
                    <a:tint val="75000"/>
                  </a:schemeClr>
                </a:solidFill>
              </a:defRPr>
            </a:lvl8pPr>
            <a:lvl9pPr marL="3648695"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96E7E98-F8A5-42E6-9C17-89F187B27E12}"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913476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25"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3"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3AED593-7CBB-4F2F-B31B-AFDE347B31B7}"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43685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6088" indent="0">
              <a:buNone/>
              <a:defRPr sz="1900" b="1"/>
            </a:lvl2pPr>
            <a:lvl3pPr marL="912173" indent="0">
              <a:buNone/>
              <a:defRPr sz="1800" b="1"/>
            </a:lvl3pPr>
            <a:lvl4pPr marL="1368260" indent="0">
              <a:buNone/>
              <a:defRPr sz="1600" b="1"/>
            </a:lvl4pPr>
            <a:lvl5pPr marL="1824346" indent="0">
              <a:buNone/>
              <a:defRPr sz="1600" b="1"/>
            </a:lvl5pPr>
            <a:lvl6pPr marL="2280433" indent="0">
              <a:buNone/>
              <a:defRPr sz="1600" b="1"/>
            </a:lvl6pPr>
            <a:lvl7pPr marL="2736522" indent="0">
              <a:buNone/>
              <a:defRPr sz="1600" b="1"/>
            </a:lvl7pPr>
            <a:lvl8pPr marL="3192606" indent="0">
              <a:buNone/>
              <a:defRPr sz="1600" b="1"/>
            </a:lvl8pPr>
            <a:lvl9pPr marL="3648695"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83"/>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15" y="1681163"/>
            <a:ext cx="5183187" cy="823912"/>
          </a:xfrm>
        </p:spPr>
        <p:txBody>
          <a:bodyPr anchor="b"/>
          <a:lstStyle>
            <a:lvl1pPr marL="0" indent="0">
              <a:buNone/>
              <a:defRPr sz="2400" b="1"/>
            </a:lvl1pPr>
            <a:lvl2pPr marL="456088" indent="0">
              <a:buNone/>
              <a:defRPr sz="1900" b="1"/>
            </a:lvl2pPr>
            <a:lvl3pPr marL="912173" indent="0">
              <a:buNone/>
              <a:defRPr sz="1800" b="1"/>
            </a:lvl3pPr>
            <a:lvl4pPr marL="1368260" indent="0">
              <a:buNone/>
              <a:defRPr sz="1600" b="1"/>
            </a:lvl4pPr>
            <a:lvl5pPr marL="1824346" indent="0">
              <a:buNone/>
              <a:defRPr sz="1600" b="1"/>
            </a:lvl5pPr>
            <a:lvl6pPr marL="2280433" indent="0">
              <a:buNone/>
              <a:defRPr sz="1600" b="1"/>
            </a:lvl6pPr>
            <a:lvl7pPr marL="2736522" indent="0">
              <a:buNone/>
              <a:defRPr sz="1600" b="1"/>
            </a:lvl7pPr>
            <a:lvl8pPr marL="3192606" indent="0">
              <a:buNone/>
              <a:defRPr sz="1600" b="1"/>
            </a:lvl8pPr>
            <a:lvl9pPr marL="3648695" indent="0">
              <a:buNone/>
              <a:defRPr sz="1600" b="1"/>
            </a:lvl9pPr>
          </a:lstStyle>
          <a:p>
            <a:pPr lvl="0"/>
            <a:r>
              <a:rPr lang="en-US"/>
              <a:t>Edit Master text styles</a:t>
            </a:r>
          </a:p>
        </p:txBody>
      </p:sp>
      <p:sp>
        <p:nvSpPr>
          <p:cNvPr id="6" name="Content Placeholder 5"/>
          <p:cNvSpPr>
            <a:spLocks noGrp="1"/>
          </p:cNvSpPr>
          <p:nvPr>
            <p:ph sz="quarter" idx="4"/>
          </p:nvPr>
        </p:nvSpPr>
        <p:spPr>
          <a:xfrm>
            <a:off x="6172215" y="2505083"/>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690DED7-CE62-4ED8-97DD-2EC187099C32}" type="datetime1">
              <a:rPr lang="en-US" smtClean="0">
                <a:solidFill>
                  <a:prstClr val="black">
                    <a:tint val="75000"/>
                  </a:prstClr>
                </a:solidFill>
              </a:rPr>
              <a:t>4/30/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375142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1C3F41-B7CF-4F02-9A2A-DBAE151E6E6E}"/>
              </a:ext>
            </a:extLst>
          </p:cNvPr>
          <p:cNvGraphicFramePr>
            <a:graphicFrameLocks noChangeAspect="1"/>
          </p:cNvGraphicFramePr>
          <p:nvPr userDrawn="1">
            <p:custDataLst>
              <p:tags r:id="rId2"/>
            </p:custDataLs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3789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1" y="1616"/>
                        <a:ext cx="158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C2BBB7C-55A1-45DD-8160-7C767E36EC18}"/>
              </a:ext>
            </a:extLst>
          </p:cNvPr>
          <p:cNvSpPr/>
          <p:nvPr userDrawn="1">
            <p:custDataLst>
              <p:tags r:id="rId3"/>
            </p:custDataLst>
          </p:nvPr>
        </p:nvSpPr>
        <p:spPr>
          <a:xfrm>
            <a:off x="2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2173">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5632443-850B-4468-AFA7-C14353326DD2}" type="datetime1">
              <a:rPr lang="en-US" smtClean="0">
                <a:solidFill>
                  <a:prstClr val="black">
                    <a:tint val="75000"/>
                  </a:prstClr>
                </a:solidFill>
              </a:rPr>
              <a:t>4/3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997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A3B847B-E8A7-410D-8ACA-0B27687DBD36}" type="datetime1">
              <a:rPr lang="en-US" smtClean="0">
                <a:solidFill>
                  <a:prstClr val="black">
                    <a:tint val="75000"/>
                  </a:prstClr>
                </a:solidFill>
              </a:rPr>
              <a:t>4/30/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0775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91" y="2057405"/>
            <a:ext cx="3932237" cy="3811588"/>
          </a:xfrm>
        </p:spPr>
        <p:txBody>
          <a:bodyPr/>
          <a:lstStyle>
            <a:lvl1pPr marL="0" indent="0">
              <a:buNone/>
              <a:defRPr sz="1600"/>
            </a:lvl1pPr>
            <a:lvl2pPr marL="456088" indent="0">
              <a:buNone/>
              <a:defRPr sz="1500"/>
            </a:lvl2pPr>
            <a:lvl3pPr marL="912173" indent="0">
              <a:buNone/>
              <a:defRPr sz="1200"/>
            </a:lvl3pPr>
            <a:lvl4pPr marL="1368260" indent="0">
              <a:buNone/>
              <a:defRPr sz="1000"/>
            </a:lvl4pPr>
            <a:lvl5pPr marL="1824346" indent="0">
              <a:buNone/>
              <a:defRPr sz="1000"/>
            </a:lvl5pPr>
            <a:lvl6pPr marL="2280433" indent="0">
              <a:buNone/>
              <a:defRPr sz="1000"/>
            </a:lvl6pPr>
            <a:lvl7pPr marL="2736522" indent="0">
              <a:buNone/>
              <a:defRPr sz="1000"/>
            </a:lvl7pPr>
            <a:lvl8pPr marL="3192606" indent="0">
              <a:buNone/>
              <a:defRPr sz="1000"/>
            </a:lvl8pPr>
            <a:lvl9pPr marL="3648695"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96EABB5-6276-4BB6-AF07-62E0F16F5A7D}"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326781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6088" indent="0">
              <a:buNone/>
              <a:defRPr sz="2800"/>
            </a:lvl2pPr>
            <a:lvl3pPr marL="912173" indent="0">
              <a:buNone/>
              <a:defRPr sz="2400"/>
            </a:lvl3pPr>
            <a:lvl4pPr marL="1368260" indent="0">
              <a:buNone/>
              <a:defRPr sz="1900"/>
            </a:lvl4pPr>
            <a:lvl5pPr marL="1824346" indent="0">
              <a:buNone/>
              <a:defRPr sz="1900"/>
            </a:lvl5pPr>
            <a:lvl6pPr marL="2280433" indent="0">
              <a:buNone/>
              <a:defRPr sz="1900"/>
            </a:lvl6pPr>
            <a:lvl7pPr marL="2736522" indent="0">
              <a:buNone/>
              <a:defRPr sz="1900"/>
            </a:lvl7pPr>
            <a:lvl8pPr marL="3192606" indent="0">
              <a:buNone/>
              <a:defRPr sz="1900"/>
            </a:lvl8pPr>
            <a:lvl9pPr marL="3648695" indent="0">
              <a:buNone/>
              <a:defRPr sz="1900"/>
            </a:lvl9pPr>
          </a:lstStyle>
          <a:p>
            <a:r>
              <a:rPr lang="en-US"/>
              <a:t>Click icon to add picture</a:t>
            </a:r>
            <a:endParaRPr lang="en-US" dirty="0"/>
          </a:p>
        </p:txBody>
      </p:sp>
      <p:sp>
        <p:nvSpPr>
          <p:cNvPr id="4" name="Text Placeholder 3"/>
          <p:cNvSpPr>
            <a:spLocks noGrp="1"/>
          </p:cNvSpPr>
          <p:nvPr>
            <p:ph type="body" sz="half" idx="2"/>
          </p:nvPr>
        </p:nvSpPr>
        <p:spPr>
          <a:xfrm>
            <a:off x="839791" y="2057405"/>
            <a:ext cx="3932237" cy="3811588"/>
          </a:xfrm>
        </p:spPr>
        <p:txBody>
          <a:bodyPr/>
          <a:lstStyle>
            <a:lvl1pPr marL="0" indent="0">
              <a:buNone/>
              <a:defRPr sz="1600"/>
            </a:lvl1pPr>
            <a:lvl2pPr marL="456088" indent="0">
              <a:buNone/>
              <a:defRPr sz="1500"/>
            </a:lvl2pPr>
            <a:lvl3pPr marL="912173" indent="0">
              <a:buNone/>
              <a:defRPr sz="1200"/>
            </a:lvl3pPr>
            <a:lvl4pPr marL="1368260" indent="0">
              <a:buNone/>
              <a:defRPr sz="1000"/>
            </a:lvl4pPr>
            <a:lvl5pPr marL="1824346" indent="0">
              <a:buNone/>
              <a:defRPr sz="1000"/>
            </a:lvl5pPr>
            <a:lvl6pPr marL="2280433" indent="0">
              <a:buNone/>
              <a:defRPr sz="1000"/>
            </a:lvl6pPr>
            <a:lvl7pPr marL="2736522" indent="0">
              <a:buNone/>
              <a:defRPr sz="1000"/>
            </a:lvl7pPr>
            <a:lvl8pPr marL="3192606" indent="0">
              <a:buNone/>
              <a:defRPr sz="1000"/>
            </a:lvl8pPr>
            <a:lvl9pPr marL="3648695"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CB274D0-D593-405C-9289-2C92B74765D1}"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49788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3E239EB-82EE-4DC7-8E4D-85FB17AA3480}"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809239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7"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6DBB943-0617-4917-8363-14C4AE748DC8}"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27533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5981" indent="0">
              <a:buNone/>
              <a:defRPr sz="1900" b="1"/>
            </a:lvl2pPr>
            <a:lvl3pPr marL="911969" indent="0">
              <a:buNone/>
              <a:defRPr sz="1900" b="1"/>
            </a:lvl3pPr>
            <a:lvl4pPr marL="1367953" indent="0">
              <a:buNone/>
              <a:defRPr sz="1600" b="1"/>
            </a:lvl4pPr>
            <a:lvl5pPr marL="1823939" indent="0">
              <a:buNone/>
              <a:defRPr sz="1600" b="1"/>
            </a:lvl5pPr>
            <a:lvl6pPr marL="2279928" indent="0">
              <a:buNone/>
              <a:defRPr sz="1600" b="1"/>
            </a:lvl6pPr>
            <a:lvl7pPr marL="2735910" indent="0">
              <a:buNone/>
              <a:defRPr sz="1600" b="1"/>
            </a:lvl7pPr>
            <a:lvl8pPr marL="3191889" indent="0">
              <a:buNone/>
              <a:defRPr sz="1600" b="1"/>
            </a:lvl8pPr>
            <a:lvl9pPr marL="364786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83"/>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15" y="1681163"/>
            <a:ext cx="5183187" cy="823912"/>
          </a:xfrm>
        </p:spPr>
        <p:txBody>
          <a:bodyPr anchor="b"/>
          <a:lstStyle>
            <a:lvl1pPr marL="0" indent="0">
              <a:buNone/>
              <a:defRPr sz="2400" b="1"/>
            </a:lvl1pPr>
            <a:lvl2pPr marL="455981" indent="0">
              <a:buNone/>
              <a:defRPr sz="1900" b="1"/>
            </a:lvl2pPr>
            <a:lvl3pPr marL="911969" indent="0">
              <a:buNone/>
              <a:defRPr sz="1900" b="1"/>
            </a:lvl3pPr>
            <a:lvl4pPr marL="1367953" indent="0">
              <a:buNone/>
              <a:defRPr sz="1600" b="1"/>
            </a:lvl4pPr>
            <a:lvl5pPr marL="1823939" indent="0">
              <a:buNone/>
              <a:defRPr sz="1600" b="1"/>
            </a:lvl5pPr>
            <a:lvl6pPr marL="2279928" indent="0">
              <a:buNone/>
              <a:defRPr sz="1600" b="1"/>
            </a:lvl6pPr>
            <a:lvl7pPr marL="2735910" indent="0">
              <a:buNone/>
              <a:defRPr sz="1600" b="1"/>
            </a:lvl7pPr>
            <a:lvl8pPr marL="3191889" indent="0">
              <a:buNone/>
              <a:defRPr sz="1600" b="1"/>
            </a:lvl8pPr>
            <a:lvl9pPr marL="3647869" indent="0">
              <a:buNone/>
              <a:defRPr sz="1600" b="1"/>
            </a:lvl9pPr>
          </a:lstStyle>
          <a:p>
            <a:pPr lvl="0"/>
            <a:r>
              <a:rPr lang="en-US"/>
              <a:t>Edit Master text styles</a:t>
            </a:r>
          </a:p>
        </p:txBody>
      </p:sp>
      <p:sp>
        <p:nvSpPr>
          <p:cNvPr id="6" name="Content Placeholder 5"/>
          <p:cNvSpPr>
            <a:spLocks noGrp="1"/>
          </p:cNvSpPr>
          <p:nvPr>
            <p:ph sz="quarter" idx="4"/>
          </p:nvPr>
        </p:nvSpPr>
        <p:spPr>
          <a:xfrm>
            <a:off x="6172215" y="2505083"/>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833083A-DF89-40D3-BE4B-DFDBB0A185C4}" type="datetime1">
              <a:rPr lang="en-US" smtClean="0">
                <a:solidFill>
                  <a:prstClr val="black">
                    <a:tint val="75000"/>
                  </a:prstClr>
                </a:solidFill>
              </a:rPr>
              <a:t>4/30/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276599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4" y="1122366"/>
            <a:ext cx="9144001"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4" y="3602040"/>
            <a:ext cx="9144001" cy="1655763"/>
          </a:xfrm>
        </p:spPr>
        <p:txBody>
          <a:bodyPr/>
          <a:lstStyle>
            <a:lvl1pPr marL="0" indent="0" algn="ctr">
              <a:buNone/>
              <a:defRPr sz="2400"/>
            </a:lvl1pPr>
            <a:lvl2pPr marL="456890" indent="0" algn="ctr">
              <a:buNone/>
              <a:defRPr sz="1900"/>
            </a:lvl2pPr>
            <a:lvl3pPr marL="913786" indent="0" algn="ctr">
              <a:buNone/>
              <a:defRPr sz="1900"/>
            </a:lvl3pPr>
            <a:lvl4pPr marL="1370680" indent="0" algn="ctr">
              <a:buNone/>
              <a:defRPr sz="1600"/>
            </a:lvl4pPr>
            <a:lvl5pPr marL="1827570" indent="0" algn="ctr">
              <a:buNone/>
              <a:defRPr sz="1600"/>
            </a:lvl5pPr>
            <a:lvl6pPr marL="2284471" indent="0" algn="ctr">
              <a:buNone/>
              <a:defRPr sz="1600"/>
            </a:lvl6pPr>
            <a:lvl7pPr marL="2741356" indent="0" algn="ctr">
              <a:buNone/>
              <a:defRPr sz="1600"/>
            </a:lvl7pPr>
            <a:lvl8pPr marL="3198245" indent="0" algn="ctr">
              <a:buNone/>
              <a:defRPr sz="1600"/>
            </a:lvl8pPr>
            <a:lvl9pPr marL="3655133"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A6634883-8D74-4EFF-8892-E7C2F03EF395}"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9368481" y="6500841"/>
            <a:ext cx="2743201" cy="365125"/>
          </a:xfrm>
          <a:prstGeom prst="rect">
            <a:avLst/>
          </a:prstGeom>
        </p:spPr>
        <p:txBody>
          <a:bodyPr lIns="91384" tIns="45698" rIns="91384" bIns="45698"/>
          <a:lstStyle>
            <a:lvl1pPr algn="ctr">
              <a:defRPr>
                <a:solidFill>
                  <a:schemeClr val="bg1"/>
                </a:solidFill>
              </a:defRPr>
            </a:lvl1pPr>
          </a:lstStyle>
          <a:p>
            <a:fld id="{978E596B-AA80-4BB2-8707-B351070E738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517134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3851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E6C81BEC-0A4F-47F7-9245-419A60B6C68D}"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9448799" y="6489937"/>
            <a:ext cx="2743201" cy="365125"/>
          </a:xfrm>
          <a:prstGeom prst="rect">
            <a:avLst/>
          </a:prstGeom>
        </p:spPr>
        <p:txBody>
          <a:bodyPr lIns="91384" tIns="45698" rIns="91384" bIns="45698"/>
          <a:lstStyle>
            <a:lvl1pPr algn="ctr">
              <a:defRPr>
                <a:solidFill>
                  <a:schemeClr val="bg1"/>
                </a:solidFill>
              </a:defRPr>
            </a:lvl1pPr>
          </a:lstStyle>
          <a:p>
            <a:fld id="{978E596B-AA80-4BB2-8707-B351070E738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2803660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61"/>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790"/>
            <a:ext cx="10515600" cy="1500187"/>
          </a:xfrm>
        </p:spPr>
        <p:txBody>
          <a:bodyPr/>
          <a:lstStyle>
            <a:lvl1pPr marL="0" indent="0">
              <a:buNone/>
              <a:defRPr sz="2400">
                <a:solidFill>
                  <a:schemeClr val="tx1">
                    <a:tint val="75000"/>
                  </a:schemeClr>
                </a:solidFill>
              </a:defRPr>
            </a:lvl1pPr>
            <a:lvl2pPr marL="456890" indent="0">
              <a:buNone/>
              <a:defRPr sz="1900">
                <a:solidFill>
                  <a:schemeClr val="tx1">
                    <a:tint val="75000"/>
                  </a:schemeClr>
                </a:solidFill>
              </a:defRPr>
            </a:lvl2pPr>
            <a:lvl3pPr marL="913786" indent="0">
              <a:buNone/>
              <a:defRPr sz="1900">
                <a:solidFill>
                  <a:schemeClr val="tx1">
                    <a:tint val="75000"/>
                  </a:schemeClr>
                </a:solidFill>
              </a:defRPr>
            </a:lvl3pPr>
            <a:lvl4pPr marL="1370680" indent="0">
              <a:buNone/>
              <a:defRPr sz="1600">
                <a:solidFill>
                  <a:schemeClr val="tx1">
                    <a:tint val="75000"/>
                  </a:schemeClr>
                </a:solidFill>
              </a:defRPr>
            </a:lvl4pPr>
            <a:lvl5pPr marL="1827570" indent="0">
              <a:buNone/>
              <a:defRPr sz="1600">
                <a:solidFill>
                  <a:schemeClr val="tx1">
                    <a:tint val="75000"/>
                  </a:schemeClr>
                </a:solidFill>
              </a:defRPr>
            </a:lvl5pPr>
            <a:lvl6pPr marL="2284471" indent="0">
              <a:buNone/>
              <a:defRPr sz="1600">
                <a:solidFill>
                  <a:schemeClr val="tx1">
                    <a:tint val="75000"/>
                  </a:schemeClr>
                </a:solidFill>
              </a:defRPr>
            </a:lvl6pPr>
            <a:lvl7pPr marL="2741356" indent="0">
              <a:buNone/>
              <a:defRPr sz="1600">
                <a:solidFill>
                  <a:schemeClr val="tx1">
                    <a:tint val="75000"/>
                  </a:schemeClr>
                </a:solidFill>
              </a:defRPr>
            </a:lvl7pPr>
            <a:lvl8pPr marL="3198245" indent="0">
              <a:buNone/>
              <a:defRPr sz="1600">
                <a:solidFill>
                  <a:schemeClr val="tx1">
                    <a:tint val="75000"/>
                  </a:schemeClr>
                </a:solidFill>
              </a:defRPr>
            </a:lvl8pPr>
            <a:lvl9pPr marL="365513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C7A42CF7-9EAD-4844-BA92-882C3241E5D4}"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4098639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2"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3"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677"/>
            <a:ext cx="2743201" cy="365125"/>
          </a:xfrm>
          <a:prstGeom prst="rect">
            <a:avLst/>
          </a:prstGeom>
        </p:spPr>
        <p:txBody>
          <a:bodyPr lIns="91384" tIns="45698" rIns="91384" bIns="45698"/>
          <a:lstStyle/>
          <a:p>
            <a:fld id="{1B38B59E-7D22-4BFB-9907-78031B1B6225}" type="datetime1">
              <a:rPr lang="en-US" smtClean="0">
                <a:solidFill>
                  <a:prstClr val="black"/>
                </a:solidFill>
              </a:rPr>
              <a:t>4/30/2019</a:t>
            </a:fld>
            <a:endParaRPr lang="en-US">
              <a:solidFill>
                <a:prstClr val="black"/>
              </a:solidFill>
            </a:endParaRPr>
          </a:p>
        </p:txBody>
      </p:sp>
      <p:sp>
        <p:nvSpPr>
          <p:cNvPr id="6" name="Footer Placeholder 5"/>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7" name="Slide Number Placeholder 6"/>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380457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32"/>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6890" indent="0">
              <a:buNone/>
              <a:defRPr sz="1900" b="1"/>
            </a:lvl2pPr>
            <a:lvl3pPr marL="913786" indent="0">
              <a:buNone/>
              <a:defRPr sz="1900" b="1"/>
            </a:lvl3pPr>
            <a:lvl4pPr marL="1370680" indent="0">
              <a:buNone/>
              <a:defRPr sz="1600" b="1"/>
            </a:lvl4pPr>
            <a:lvl5pPr marL="1827570" indent="0">
              <a:buNone/>
              <a:defRPr sz="1600" b="1"/>
            </a:lvl5pPr>
            <a:lvl6pPr marL="2284471" indent="0">
              <a:buNone/>
              <a:defRPr sz="1600" b="1"/>
            </a:lvl6pPr>
            <a:lvl7pPr marL="2741356" indent="0">
              <a:buNone/>
              <a:defRPr sz="1600" b="1"/>
            </a:lvl7pPr>
            <a:lvl8pPr marL="3198245" indent="0">
              <a:buNone/>
              <a:defRPr sz="1600" b="1"/>
            </a:lvl8pPr>
            <a:lvl9pPr marL="3655133"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8"/>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7" cy="823912"/>
          </a:xfrm>
        </p:spPr>
        <p:txBody>
          <a:bodyPr anchor="b"/>
          <a:lstStyle>
            <a:lvl1pPr marL="0" indent="0">
              <a:buNone/>
              <a:defRPr sz="2400" b="1"/>
            </a:lvl1pPr>
            <a:lvl2pPr marL="456890" indent="0">
              <a:buNone/>
              <a:defRPr sz="1900" b="1"/>
            </a:lvl2pPr>
            <a:lvl3pPr marL="913786" indent="0">
              <a:buNone/>
              <a:defRPr sz="1900" b="1"/>
            </a:lvl3pPr>
            <a:lvl4pPr marL="1370680" indent="0">
              <a:buNone/>
              <a:defRPr sz="1600" b="1"/>
            </a:lvl4pPr>
            <a:lvl5pPr marL="1827570" indent="0">
              <a:buNone/>
              <a:defRPr sz="1600" b="1"/>
            </a:lvl5pPr>
            <a:lvl6pPr marL="2284471" indent="0">
              <a:buNone/>
              <a:defRPr sz="1600" b="1"/>
            </a:lvl6pPr>
            <a:lvl7pPr marL="2741356" indent="0">
              <a:buNone/>
              <a:defRPr sz="1600" b="1"/>
            </a:lvl7pPr>
            <a:lvl8pPr marL="3198245" indent="0">
              <a:buNone/>
              <a:defRPr sz="1600" b="1"/>
            </a:lvl8pPr>
            <a:lvl9pPr marL="3655133" indent="0">
              <a:buNone/>
              <a:defRPr sz="1600" b="1"/>
            </a:lvl9pPr>
          </a:lstStyle>
          <a:p>
            <a:pPr lvl="0"/>
            <a:r>
              <a:rPr lang="en-US"/>
              <a:t>Edit Master text styles</a:t>
            </a:r>
          </a:p>
        </p:txBody>
      </p:sp>
      <p:sp>
        <p:nvSpPr>
          <p:cNvPr id="6" name="Content Placeholder 5"/>
          <p:cNvSpPr>
            <a:spLocks noGrp="1"/>
          </p:cNvSpPr>
          <p:nvPr>
            <p:ph sz="quarter" idx="4"/>
          </p:nvPr>
        </p:nvSpPr>
        <p:spPr>
          <a:xfrm>
            <a:off x="6172203" y="2505078"/>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677"/>
            <a:ext cx="2743201" cy="365125"/>
          </a:xfrm>
          <a:prstGeom prst="rect">
            <a:avLst/>
          </a:prstGeom>
        </p:spPr>
        <p:txBody>
          <a:bodyPr lIns="91384" tIns="45698" rIns="91384" bIns="45698"/>
          <a:lstStyle/>
          <a:p>
            <a:fld id="{4E0156FE-5834-467D-A7CA-96F286988547}" type="datetime1">
              <a:rPr lang="en-US" smtClean="0">
                <a:solidFill>
                  <a:prstClr val="black"/>
                </a:solidFill>
              </a:rPr>
              <a:t>4/30/2019</a:t>
            </a:fld>
            <a:endParaRPr lang="en-US">
              <a:solidFill>
                <a:prstClr val="black"/>
              </a:solidFill>
            </a:endParaRPr>
          </a:p>
        </p:txBody>
      </p:sp>
      <p:sp>
        <p:nvSpPr>
          <p:cNvPr id="8" name="Footer Placeholder 7"/>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9" name="Slide Number Placeholder 8"/>
          <p:cNvSpPr>
            <a:spLocks noGrp="1"/>
          </p:cNvSpPr>
          <p:nvPr>
            <p:ph type="sldNum" sz="quarter" idx="12"/>
          </p:nvPr>
        </p:nvSpPr>
        <p:spPr>
          <a:xfrm>
            <a:off x="9448799" y="6476125"/>
            <a:ext cx="2743201" cy="365125"/>
          </a:xfrm>
          <a:prstGeom prst="rect">
            <a:avLst/>
          </a:prstGeom>
        </p:spPr>
        <p:txBody>
          <a:bodyPr lIns="91384" tIns="45698" rIns="91384" bIns="45698"/>
          <a:lstStyle>
            <a:lvl1pPr algn="ctr">
              <a:defRPr>
                <a:solidFill>
                  <a:schemeClr val="bg1"/>
                </a:solidFill>
              </a:defRPr>
            </a:lvl1pPr>
          </a:lstStyle>
          <a:p>
            <a:fld id="{978E596B-AA80-4BB2-8707-B351070E738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9800437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3861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677"/>
            <a:ext cx="2743201" cy="365125"/>
          </a:xfrm>
          <a:prstGeom prst="rect">
            <a:avLst/>
          </a:prstGeom>
        </p:spPr>
        <p:txBody>
          <a:bodyPr lIns="91384" tIns="45698" rIns="91384" bIns="45698"/>
          <a:lstStyle/>
          <a:p>
            <a:fld id="{5D2A7F3A-511D-4F2C-BE28-AFB8E8A57F0F}" type="datetime1">
              <a:rPr lang="en-US" smtClean="0">
                <a:solidFill>
                  <a:prstClr val="black"/>
                </a:solidFill>
              </a:rPr>
              <a:t>4/30/2019</a:t>
            </a:fld>
            <a:endParaRPr lang="en-US">
              <a:solidFill>
                <a:prstClr val="black"/>
              </a:solidFill>
            </a:endParaRPr>
          </a:p>
        </p:txBody>
      </p:sp>
      <p:sp>
        <p:nvSpPr>
          <p:cNvPr id="4" name="Footer Placeholder 3"/>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5" name="Slide Number Placeholder 4"/>
          <p:cNvSpPr>
            <a:spLocks noGrp="1"/>
          </p:cNvSpPr>
          <p:nvPr>
            <p:ph type="sldNum" sz="quarter" idx="12"/>
          </p:nvPr>
        </p:nvSpPr>
        <p:spPr>
          <a:xfrm>
            <a:off x="9448799" y="6493190"/>
            <a:ext cx="2743201" cy="365125"/>
          </a:xfrm>
          <a:prstGeom prst="rect">
            <a:avLst/>
          </a:prstGeom>
        </p:spPr>
        <p:txBody>
          <a:bodyPr lIns="91384" tIns="45698" rIns="91384" bIns="45698"/>
          <a:lstStyle>
            <a:lvl1pPr algn="ctr">
              <a:defRPr>
                <a:solidFill>
                  <a:schemeClr val="bg1"/>
                </a:solidFill>
              </a:defRPr>
            </a:lvl1pPr>
          </a:lstStyle>
          <a:p>
            <a:fld id="{978E596B-AA80-4BB2-8707-B351070E738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6164337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677"/>
            <a:ext cx="2743201" cy="365125"/>
          </a:xfrm>
          <a:prstGeom prst="rect">
            <a:avLst/>
          </a:prstGeom>
        </p:spPr>
        <p:txBody>
          <a:bodyPr lIns="91384" tIns="45698" rIns="91384" bIns="45698"/>
          <a:lstStyle/>
          <a:p>
            <a:fld id="{90A73C67-EAD1-4BB0-B594-72810F3F3681}" type="datetime1">
              <a:rPr lang="en-US" smtClean="0">
                <a:solidFill>
                  <a:prstClr val="black"/>
                </a:solidFill>
              </a:rPr>
              <a:t>4/30/2019</a:t>
            </a:fld>
            <a:endParaRPr lang="en-US">
              <a:solidFill>
                <a:prstClr val="black"/>
              </a:solidFill>
            </a:endParaRPr>
          </a:p>
        </p:txBody>
      </p:sp>
      <p:sp>
        <p:nvSpPr>
          <p:cNvPr id="3" name="Footer Placeholder 2"/>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4" name="Slide Number Placeholder 3"/>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107040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31"/>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1" y="2057405"/>
            <a:ext cx="3932237" cy="3811588"/>
          </a:xfrm>
        </p:spPr>
        <p:txBody>
          <a:bodyPr/>
          <a:lstStyle>
            <a:lvl1pPr marL="0" indent="0">
              <a:buNone/>
              <a:defRPr sz="1600"/>
            </a:lvl1pPr>
            <a:lvl2pPr marL="456890" indent="0">
              <a:buNone/>
              <a:defRPr sz="1500"/>
            </a:lvl2pPr>
            <a:lvl3pPr marL="913786" indent="0">
              <a:buNone/>
              <a:defRPr sz="1200"/>
            </a:lvl3pPr>
            <a:lvl4pPr marL="1370680" indent="0">
              <a:buNone/>
              <a:defRPr sz="1100"/>
            </a:lvl4pPr>
            <a:lvl5pPr marL="1827570" indent="0">
              <a:buNone/>
              <a:defRPr sz="1100"/>
            </a:lvl5pPr>
            <a:lvl6pPr marL="2284471" indent="0">
              <a:buNone/>
              <a:defRPr sz="1100"/>
            </a:lvl6pPr>
            <a:lvl7pPr marL="2741356" indent="0">
              <a:buNone/>
              <a:defRPr sz="1100"/>
            </a:lvl7pPr>
            <a:lvl8pPr marL="3198245" indent="0">
              <a:buNone/>
              <a:defRPr sz="1100"/>
            </a:lvl8pPr>
            <a:lvl9pPr marL="3655133" indent="0">
              <a:buNone/>
              <a:defRPr sz="1100"/>
            </a:lvl9pPr>
          </a:lstStyle>
          <a:p>
            <a:pPr lvl="0"/>
            <a:r>
              <a:rPr lang="en-US"/>
              <a:t>Edit Master text styles</a:t>
            </a:r>
          </a:p>
        </p:txBody>
      </p:sp>
      <p:sp>
        <p:nvSpPr>
          <p:cNvPr id="5" name="Date Placeholder 4"/>
          <p:cNvSpPr>
            <a:spLocks noGrp="1"/>
          </p:cNvSpPr>
          <p:nvPr>
            <p:ph type="dt" sz="half" idx="10"/>
          </p:nvPr>
        </p:nvSpPr>
        <p:spPr>
          <a:xfrm>
            <a:off x="838200" y="6356677"/>
            <a:ext cx="2743201" cy="365125"/>
          </a:xfrm>
          <a:prstGeom prst="rect">
            <a:avLst/>
          </a:prstGeom>
        </p:spPr>
        <p:txBody>
          <a:bodyPr lIns="91384" tIns="45698" rIns="91384" bIns="45698"/>
          <a:lstStyle/>
          <a:p>
            <a:fld id="{3F3F1B8C-EDDA-422A-A492-E4127B866C66}" type="datetime1">
              <a:rPr lang="en-US" smtClean="0">
                <a:solidFill>
                  <a:prstClr val="black"/>
                </a:solidFill>
              </a:rPr>
              <a:t>4/30/2019</a:t>
            </a:fld>
            <a:endParaRPr lang="en-US">
              <a:solidFill>
                <a:prstClr val="black"/>
              </a:solidFill>
            </a:endParaRPr>
          </a:p>
        </p:txBody>
      </p:sp>
      <p:sp>
        <p:nvSpPr>
          <p:cNvPr id="6" name="Footer Placeholder 5"/>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7" name="Slide Number Placeholder 6"/>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2635833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31"/>
            <a:ext cx="6172200" cy="4873625"/>
          </a:xfrm>
        </p:spPr>
        <p:txBody>
          <a:bodyPr/>
          <a:lstStyle>
            <a:lvl1pPr marL="0" indent="0">
              <a:buNone/>
              <a:defRPr sz="3200"/>
            </a:lvl1pPr>
            <a:lvl2pPr marL="456890" indent="0">
              <a:buNone/>
              <a:defRPr sz="2800"/>
            </a:lvl2pPr>
            <a:lvl3pPr marL="913786" indent="0">
              <a:buNone/>
              <a:defRPr sz="2400"/>
            </a:lvl3pPr>
            <a:lvl4pPr marL="1370680" indent="0">
              <a:buNone/>
              <a:defRPr sz="1900"/>
            </a:lvl4pPr>
            <a:lvl5pPr marL="1827570" indent="0">
              <a:buNone/>
              <a:defRPr sz="1900"/>
            </a:lvl5pPr>
            <a:lvl6pPr marL="2284471" indent="0">
              <a:buNone/>
              <a:defRPr sz="1900"/>
            </a:lvl6pPr>
            <a:lvl7pPr marL="2741356" indent="0">
              <a:buNone/>
              <a:defRPr sz="1900"/>
            </a:lvl7pPr>
            <a:lvl8pPr marL="3198245" indent="0">
              <a:buNone/>
              <a:defRPr sz="1900"/>
            </a:lvl8pPr>
            <a:lvl9pPr marL="3655133" indent="0">
              <a:buNone/>
              <a:defRPr sz="1900"/>
            </a:lvl9pPr>
          </a:lstStyle>
          <a:p>
            <a:endParaRPr lang="en-US"/>
          </a:p>
        </p:txBody>
      </p:sp>
      <p:sp>
        <p:nvSpPr>
          <p:cNvPr id="4" name="Text Placeholder 3"/>
          <p:cNvSpPr>
            <a:spLocks noGrp="1"/>
          </p:cNvSpPr>
          <p:nvPr>
            <p:ph type="body" sz="half" idx="2"/>
          </p:nvPr>
        </p:nvSpPr>
        <p:spPr>
          <a:xfrm>
            <a:off x="839791" y="2057405"/>
            <a:ext cx="3932237" cy="3811588"/>
          </a:xfrm>
        </p:spPr>
        <p:txBody>
          <a:bodyPr/>
          <a:lstStyle>
            <a:lvl1pPr marL="0" indent="0">
              <a:buNone/>
              <a:defRPr sz="1600"/>
            </a:lvl1pPr>
            <a:lvl2pPr marL="456890" indent="0">
              <a:buNone/>
              <a:defRPr sz="1500"/>
            </a:lvl2pPr>
            <a:lvl3pPr marL="913786" indent="0">
              <a:buNone/>
              <a:defRPr sz="1200"/>
            </a:lvl3pPr>
            <a:lvl4pPr marL="1370680" indent="0">
              <a:buNone/>
              <a:defRPr sz="1100"/>
            </a:lvl4pPr>
            <a:lvl5pPr marL="1827570" indent="0">
              <a:buNone/>
              <a:defRPr sz="1100"/>
            </a:lvl5pPr>
            <a:lvl6pPr marL="2284471" indent="0">
              <a:buNone/>
              <a:defRPr sz="1100"/>
            </a:lvl6pPr>
            <a:lvl7pPr marL="2741356" indent="0">
              <a:buNone/>
              <a:defRPr sz="1100"/>
            </a:lvl7pPr>
            <a:lvl8pPr marL="3198245" indent="0">
              <a:buNone/>
              <a:defRPr sz="1100"/>
            </a:lvl8pPr>
            <a:lvl9pPr marL="3655133" indent="0">
              <a:buNone/>
              <a:defRPr sz="1100"/>
            </a:lvl9pPr>
          </a:lstStyle>
          <a:p>
            <a:pPr lvl="0"/>
            <a:r>
              <a:rPr lang="en-US"/>
              <a:t>Edit Master text styles</a:t>
            </a:r>
          </a:p>
        </p:txBody>
      </p:sp>
      <p:sp>
        <p:nvSpPr>
          <p:cNvPr id="5" name="Date Placeholder 4"/>
          <p:cNvSpPr>
            <a:spLocks noGrp="1"/>
          </p:cNvSpPr>
          <p:nvPr>
            <p:ph type="dt" sz="half" idx="10"/>
          </p:nvPr>
        </p:nvSpPr>
        <p:spPr>
          <a:xfrm>
            <a:off x="838200" y="6356677"/>
            <a:ext cx="2743201" cy="365125"/>
          </a:xfrm>
          <a:prstGeom prst="rect">
            <a:avLst/>
          </a:prstGeom>
        </p:spPr>
        <p:txBody>
          <a:bodyPr lIns="91384" tIns="45698" rIns="91384" bIns="45698"/>
          <a:lstStyle/>
          <a:p>
            <a:fld id="{DDD46765-4AB1-496D-B51E-2505A016815F}" type="datetime1">
              <a:rPr lang="en-US" smtClean="0">
                <a:solidFill>
                  <a:prstClr val="black"/>
                </a:solidFill>
              </a:rPr>
              <a:t>4/30/2019</a:t>
            </a:fld>
            <a:endParaRPr lang="en-US">
              <a:solidFill>
                <a:prstClr val="black"/>
              </a:solidFill>
            </a:endParaRPr>
          </a:p>
        </p:txBody>
      </p:sp>
      <p:sp>
        <p:nvSpPr>
          <p:cNvPr id="6" name="Footer Placeholder 5"/>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7" name="Slide Number Placeholder 6"/>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7345266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4E77A199-A39B-45D1-B65B-DC2B8F2B5A0B}"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452447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1C3F41-B7CF-4F02-9A2A-DBAE151E6E6E}"/>
              </a:ext>
            </a:extLst>
          </p:cNvPr>
          <p:cNvGraphicFramePr>
            <a:graphicFrameLocks noChangeAspect="1"/>
          </p:cNvGraphicFramePr>
          <p:nvPr userDrawn="1">
            <p:custDataLst>
              <p:tags r:id="rId2"/>
            </p:custDataLst>
            <p:extLst>
              <p:ext uri="{D42A27DB-BD31-4B8C-83A1-F6EECF244321}">
                <p14:modId xmlns:p14="http://schemas.microsoft.com/office/powerpoint/2010/main" val="4051933476"/>
              </p:ex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779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1" y="1616"/>
                        <a:ext cx="158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C2BBB7C-55A1-45DD-8160-7C767E36EC18}"/>
              </a:ext>
            </a:extLst>
          </p:cNvPr>
          <p:cNvSpPr/>
          <p:nvPr userDrawn="1">
            <p:custDataLst>
              <p:tags r:id="rId3"/>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1969">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52A1DB5-FAFB-43CE-A4B8-666E96A78FC6}" type="datetime1">
              <a:rPr lang="en-US" smtClean="0">
                <a:solidFill>
                  <a:prstClr val="black">
                    <a:tint val="75000"/>
                  </a:prstClr>
                </a:solidFill>
              </a:rPr>
              <a:t>4/3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25989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3" y="365127"/>
            <a:ext cx="2628900"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7"/>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677"/>
            <a:ext cx="2743201" cy="365125"/>
          </a:xfrm>
          <a:prstGeom prst="rect">
            <a:avLst/>
          </a:prstGeom>
        </p:spPr>
        <p:txBody>
          <a:bodyPr lIns="91384" tIns="45698" rIns="91384" bIns="45698"/>
          <a:lstStyle/>
          <a:p>
            <a:fld id="{D958534C-34D6-485B-804F-3CF0AA1A4B77}" type="datetime1">
              <a:rPr lang="en-US" smtClean="0">
                <a:solidFill>
                  <a:prstClr val="black"/>
                </a:solidFill>
              </a:rPr>
              <a:t>4/30/2019</a:t>
            </a:fld>
            <a:endParaRPr lang="en-US">
              <a:solidFill>
                <a:prstClr val="black"/>
              </a:solidFill>
            </a:endParaRPr>
          </a:p>
        </p:txBody>
      </p:sp>
      <p:sp>
        <p:nvSpPr>
          <p:cNvPr id="5" name="Footer Placeholder 4"/>
          <p:cNvSpPr>
            <a:spLocks noGrp="1"/>
          </p:cNvSpPr>
          <p:nvPr>
            <p:ph type="ftr" sz="quarter" idx="11"/>
          </p:nvPr>
        </p:nvSpPr>
        <p:spPr>
          <a:xfrm>
            <a:off x="4038601" y="6356677"/>
            <a:ext cx="4114800" cy="365125"/>
          </a:xfrm>
          <a:prstGeom prst="rect">
            <a:avLst/>
          </a:prstGeom>
        </p:spPr>
        <p:txBody>
          <a:bodyPr lIns="91384" tIns="45698" rIns="91384" bIns="45698"/>
          <a:lstStyle/>
          <a:p>
            <a:endParaRPr lang="en-US">
              <a:solidFill>
                <a:prstClr val="black"/>
              </a:solidFill>
            </a:endParaRPr>
          </a:p>
        </p:txBody>
      </p:sp>
      <p:sp>
        <p:nvSpPr>
          <p:cNvPr id="6" name="Slide Number Placeholder 5"/>
          <p:cNvSpPr>
            <a:spLocks noGrp="1"/>
          </p:cNvSpPr>
          <p:nvPr>
            <p:ph type="sldNum" sz="quarter" idx="12"/>
          </p:nvPr>
        </p:nvSpPr>
        <p:spPr>
          <a:xfrm>
            <a:off x="8610599" y="6356677"/>
            <a:ext cx="2743201" cy="365125"/>
          </a:xfrm>
          <a:prstGeom prst="rect">
            <a:avLst/>
          </a:prstGeom>
        </p:spPr>
        <p:txBody>
          <a:bodyPr lIns="91384" tIns="45698" rIns="91384" bIns="45698"/>
          <a:lstStyle/>
          <a:p>
            <a:fld id="{978E596B-AA80-4BB2-8707-B351070E738D}"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1422091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EB2D406-F73D-4101-9973-EA23375ADBCF}"/>
              </a:ext>
            </a:extLst>
          </p:cNvPr>
          <p:cNvSpPr>
            <a:spLocks noGrp="1"/>
          </p:cNvSpPr>
          <p:nvPr>
            <p:ph type="subTitle" idx="1"/>
          </p:nvPr>
        </p:nvSpPr>
        <p:spPr>
          <a:xfrm>
            <a:off x="1524004" y="3602038"/>
            <a:ext cx="9144001" cy="1655762"/>
          </a:xfrm>
          <a:prstGeom prst="rect">
            <a:avLst/>
          </a:prstGeom>
        </p:spPr>
        <p:txBody>
          <a:bodyPr lIns="91401" tIns="45702" rIns="91401" bIns="45702"/>
          <a:lstStyle>
            <a:lvl1pPr marL="0" indent="0" algn="ctr">
              <a:buNone/>
              <a:defRPr sz="2400"/>
            </a:lvl1pPr>
            <a:lvl2pPr marL="457007" indent="0" algn="ctr">
              <a:buNone/>
              <a:defRPr sz="1900"/>
            </a:lvl2pPr>
            <a:lvl3pPr marL="914013" indent="0" algn="ctr">
              <a:buNone/>
              <a:defRPr sz="1800"/>
            </a:lvl3pPr>
            <a:lvl4pPr marL="1371019" indent="0" algn="ctr">
              <a:buNone/>
              <a:defRPr sz="1600"/>
            </a:lvl4pPr>
            <a:lvl5pPr marL="1828025" indent="0" algn="ctr">
              <a:buNone/>
              <a:defRPr sz="1600"/>
            </a:lvl5pPr>
            <a:lvl6pPr marL="2285031" indent="0" algn="ctr">
              <a:buNone/>
              <a:defRPr sz="1600"/>
            </a:lvl6pPr>
            <a:lvl7pPr marL="2742037" indent="0" algn="ctr">
              <a:buNone/>
              <a:defRPr sz="1600"/>
            </a:lvl7pPr>
            <a:lvl8pPr marL="3199044" indent="0" algn="ctr">
              <a:buNone/>
              <a:defRPr sz="1600"/>
            </a:lvl8pPr>
            <a:lvl9pPr marL="3656050" indent="0" algn="ctr">
              <a:buNone/>
              <a:defRPr sz="1600"/>
            </a:lvl9pPr>
          </a:lstStyle>
          <a:p>
            <a:r>
              <a:rPr lang="en-US"/>
              <a:t>Click to edit Master subtitle style</a:t>
            </a:r>
            <a:endParaRPr lang="x-none"/>
          </a:p>
        </p:txBody>
      </p:sp>
      <p:sp>
        <p:nvSpPr>
          <p:cNvPr id="6" name="Slide Number Placeholder 5">
            <a:extLst>
              <a:ext uri="{FF2B5EF4-FFF2-40B4-BE49-F238E27FC236}">
                <a16:creationId xmlns:a16="http://schemas.microsoft.com/office/drawing/2014/main" id="{988CB179-9004-4618-ADBC-BCF245186B95}"/>
              </a:ext>
            </a:extLst>
          </p:cNvPr>
          <p:cNvSpPr>
            <a:spLocks noGrp="1"/>
          </p:cNvSpPr>
          <p:nvPr>
            <p:ph type="sldNum" sz="quarter" idx="12"/>
          </p:nvPr>
        </p:nvSpPr>
        <p:spPr>
          <a:xfrm>
            <a:off x="9044242" y="6432038"/>
            <a:ext cx="2743201" cy="365125"/>
          </a:xfrm>
          <a:prstGeom prst="rect">
            <a:avLst/>
          </a:prstGeom>
        </p:spPr>
        <p:txBody>
          <a:bodyPr/>
          <a:lstStyle/>
          <a:p>
            <a:r>
              <a:rPr lang="en-US" dirty="0">
                <a:solidFill>
                  <a:prstClr val="white"/>
                </a:solidFill>
              </a:rPr>
              <a:t>| </a:t>
            </a:r>
            <a:fld id="{64EB4972-ACDB-4443-AB71-2418AAD5DD1E}" type="slidenum">
              <a:rPr lang="x-none" smtClean="0">
                <a:solidFill>
                  <a:prstClr val="white"/>
                </a:solidFill>
              </a:rPr>
              <a:pPr/>
              <a:t>‹#›</a:t>
            </a:fld>
            <a:endParaRPr lang="x-none" dirty="0">
              <a:solidFill>
                <a:prstClr val="white"/>
              </a:solidFill>
            </a:endParaRPr>
          </a:p>
        </p:txBody>
      </p:sp>
    </p:spTree>
    <p:extLst>
      <p:ext uri="{BB962C8B-B14F-4D97-AF65-F5344CB8AC3E}">
        <p14:creationId xmlns:p14="http://schemas.microsoft.com/office/powerpoint/2010/main" val="11019600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6EE55-0CD4-41A3-8CDC-B978C4CC4A83}"/>
              </a:ext>
            </a:extLst>
          </p:cNvPr>
          <p:cNvSpPr>
            <a:spLocks noGrp="1"/>
          </p:cNvSpPr>
          <p:nvPr>
            <p:ph type="title"/>
          </p:nvPr>
        </p:nvSpPr>
        <p:spPr>
          <a:xfrm>
            <a:off x="838200" y="365126"/>
            <a:ext cx="10515600" cy="1325563"/>
          </a:xfrm>
          <a:prstGeom prst="rect">
            <a:avLst/>
          </a:prstGeom>
        </p:spPr>
        <p:txBody>
          <a:bodyPr lIns="91401" tIns="45702" rIns="91401" bIns="45702"/>
          <a:lstStyle/>
          <a:p>
            <a:r>
              <a:rPr lang="en-US"/>
              <a:t>Click to edit Master title style</a:t>
            </a:r>
            <a:endParaRPr lang="x-none"/>
          </a:p>
        </p:txBody>
      </p:sp>
      <p:sp>
        <p:nvSpPr>
          <p:cNvPr id="3" name="Content Placeholder 2">
            <a:extLst>
              <a:ext uri="{FF2B5EF4-FFF2-40B4-BE49-F238E27FC236}">
                <a16:creationId xmlns:a16="http://schemas.microsoft.com/office/drawing/2014/main" id="{F7D0286C-9584-44FB-A857-15469F0B3E5E}"/>
              </a:ext>
            </a:extLst>
          </p:cNvPr>
          <p:cNvSpPr>
            <a:spLocks noGrp="1"/>
          </p:cNvSpPr>
          <p:nvPr>
            <p:ph idx="1"/>
          </p:nvPr>
        </p:nvSpPr>
        <p:spPr>
          <a:xfrm>
            <a:off x="838200" y="1825625"/>
            <a:ext cx="10515600" cy="4351338"/>
          </a:xfrm>
          <a:prstGeom prst="rect">
            <a:avLst/>
          </a:prstGeom>
        </p:spPr>
        <p:txBody>
          <a:bodyPr lIns="91401" tIns="45702" rIns="91401" bIns="45702"/>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1B60DA8B-4FBB-4377-AAA3-67CD8EE0BFA1}"/>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4F365E0F-BA24-4511-9118-291C0E898D02}" type="datetime1">
              <a:rPr lang="en-US" sz="1800" smtClean="0">
                <a:solidFill>
                  <a:prstClr val="black"/>
                </a:solidFill>
              </a:rPr>
              <a:pPr defTabSz="914013"/>
              <a:t>4/30/2019</a:t>
            </a:fld>
            <a:endParaRPr lang="x-none" sz="1800">
              <a:solidFill>
                <a:prstClr val="black"/>
              </a:solidFill>
            </a:endParaRPr>
          </a:p>
        </p:txBody>
      </p:sp>
      <p:sp>
        <p:nvSpPr>
          <p:cNvPr id="5" name="Footer Placeholder 4">
            <a:extLst>
              <a:ext uri="{FF2B5EF4-FFF2-40B4-BE49-F238E27FC236}">
                <a16:creationId xmlns:a16="http://schemas.microsoft.com/office/drawing/2014/main" id="{D9C27632-9CB2-4652-94E0-F84ED5616D01}"/>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6" name="Slide Number Placeholder 5">
            <a:extLst>
              <a:ext uri="{FF2B5EF4-FFF2-40B4-BE49-F238E27FC236}">
                <a16:creationId xmlns:a16="http://schemas.microsoft.com/office/drawing/2014/main" id="{9E2E8634-7866-42BB-8234-6EECF5F4628D}"/>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40491102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D2D42-DEC1-4B71-98B8-F1DF23A2F199}"/>
              </a:ext>
            </a:extLst>
          </p:cNvPr>
          <p:cNvSpPr>
            <a:spLocks noGrp="1"/>
          </p:cNvSpPr>
          <p:nvPr>
            <p:ph type="title"/>
          </p:nvPr>
        </p:nvSpPr>
        <p:spPr>
          <a:xfrm>
            <a:off x="831849" y="1709738"/>
            <a:ext cx="10515600" cy="2852737"/>
          </a:xfrm>
          <a:prstGeom prst="rect">
            <a:avLst/>
          </a:prstGeom>
        </p:spPr>
        <p:txBody>
          <a:bodyPr lIns="91401" tIns="45702" rIns="91401" bIns="45702"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id="{4E7264FB-6FAA-48C8-B039-B925A998B874}"/>
              </a:ext>
            </a:extLst>
          </p:cNvPr>
          <p:cNvSpPr>
            <a:spLocks noGrp="1"/>
          </p:cNvSpPr>
          <p:nvPr>
            <p:ph type="body" idx="1"/>
          </p:nvPr>
        </p:nvSpPr>
        <p:spPr>
          <a:xfrm>
            <a:off x="831849" y="4589738"/>
            <a:ext cx="10515600" cy="1500187"/>
          </a:xfrm>
          <a:prstGeom prst="rect">
            <a:avLst/>
          </a:prstGeom>
        </p:spPr>
        <p:txBody>
          <a:bodyPr lIns="91401" tIns="45702" rIns="91401" bIns="45702"/>
          <a:lstStyle>
            <a:lvl1pPr marL="0" indent="0">
              <a:buNone/>
              <a:defRPr sz="2400">
                <a:solidFill>
                  <a:schemeClr val="tx1">
                    <a:tint val="75000"/>
                  </a:schemeClr>
                </a:solidFill>
              </a:defRPr>
            </a:lvl1pPr>
            <a:lvl2pPr marL="457007" indent="0">
              <a:buNone/>
              <a:defRPr sz="1900">
                <a:solidFill>
                  <a:schemeClr val="tx1">
                    <a:tint val="75000"/>
                  </a:schemeClr>
                </a:solidFill>
              </a:defRPr>
            </a:lvl2pPr>
            <a:lvl3pPr marL="914013" indent="0">
              <a:buNone/>
              <a:defRPr sz="1800">
                <a:solidFill>
                  <a:schemeClr val="tx1">
                    <a:tint val="75000"/>
                  </a:schemeClr>
                </a:solidFill>
              </a:defRPr>
            </a:lvl3pPr>
            <a:lvl4pPr marL="1371019" indent="0">
              <a:buNone/>
              <a:defRPr sz="1600">
                <a:solidFill>
                  <a:schemeClr val="tx1">
                    <a:tint val="75000"/>
                  </a:schemeClr>
                </a:solidFill>
              </a:defRPr>
            </a:lvl4pPr>
            <a:lvl5pPr marL="1828025" indent="0">
              <a:buNone/>
              <a:defRPr sz="1600">
                <a:solidFill>
                  <a:schemeClr val="tx1">
                    <a:tint val="75000"/>
                  </a:schemeClr>
                </a:solidFill>
              </a:defRPr>
            </a:lvl5pPr>
            <a:lvl6pPr marL="2285031" indent="0">
              <a:buNone/>
              <a:defRPr sz="1600">
                <a:solidFill>
                  <a:schemeClr val="tx1">
                    <a:tint val="75000"/>
                  </a:schemeClr>
                </a:solidFill>
              </a:defRPr>
            </a:lvl6pPr>
            <a:lvl7pPr marL="2742037" indent="0">
              <a:buNone/>
              <a:defRPr sz="1600">
                <a:solidFill>
                  <a:schemeClr val="tx1">
                    <a:tint val="75000"/>
                  </a:schemeClr>
                </a:solidFill>
              </a:defRPr>
            </a:lvl7pPr>
            <a:lvl8pPr marL="3199044" indent="0">
              <a:buNone/>
              <a:defRPr sz="1600">
                <a:solidFill>
                  <a:schemeClr val="tx1">
                    <a:tint val="75000"/>
                  </a:schemeClr>
                </a:solidFill>
              </a:defRPr>
            </a:lvl8pPr>
            <a:lvl9pPr marL="365605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88B5172-133B-407E-82B0-B97C181117AE}"/>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992A31C8-DDA9-48A9-A0B3-B0FEC7E1A7F0}" type="datetime1">
              <a:rPr lang="en-US" sz="1800" smtClean="0">
                <a:solidFill>
                  <a:prstClr val="black"/>
                </a:solidFill>
              </a:rPr>
              <a:pPr defTabSz="914013"/>
              <a:t>4/30/2019</a:t>
            </a:fld>
            <a:endParaRPr lang="x-none" sz="1800">
              <a:solidFill>
                <a:prstClr val="black"/>
              </a:solidFill>
            </a:endParaRPr>
          </a:p>
        </p:txBody>
      </p:sp>
      <p:sp>
        <p:nvSpPr>
          <p:cNvPr id="5" name="Footer Placeholder 4">
            <a:extLst>
              <a:ext uri="{FF2B5EF4-FFF2-40B4-BE49-F238E27FC236}">
                <a16:creationId xmlns:a16="http://schemas.microsoft.com/office/drawing/2014/main" id="{C5024242-821C-4FB3-B7C1-B824BF4B0180}"/>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6" name="Slide Number Placeholder 5">
            <a:extLst>
              <a:ext uri="{FF2B5EF4-FFF2-40B4-BE49-F238E27FC236}">
                <a16:creationId xmlns:a16="http://schemas.microsoft.com/office/drawing/2014/main" id="{F8240BEF-4F57-4C22-AFB0-673572668D78}"/>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19472541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5E522-518B-4CDE-B322-A75B9B287B81}"/>
              </a:ext>
            </a:extLst>
          </p:cNvPr>
          <p:cNvSpPr>
            <a:spLocks noGrp="1"/>
          </p:cNvSpPr>
          <p:nvPr>
            <p:ph type="title"/>
          </p:nvPr>
        </p:nvSpPr>
        <p:spPr>
          <a:xfrm>
            <a:off x="838200" y="365126"/>
            <a:ext cx="10515600" cy="1325563"/>
          </a:xfrm>
          <a:prstGeom prst="rect">
            <a:avLst/>
          </a:prstGeom>
        </p:spPr>
        <p:txBody>
          <a:bodyPr lIns="91401" tIns="45702" rIns="91401" bIns="45702"/>
          <a:lstStyle/>
          <a:p>
            <a:r>
              <a:rPr lang="en-US"/>
              <a:t>Click to edit Master title style</a:t>
            </a:r>
            <a:endParaRPr lang="x-none"/>
          </a:p>
        </p:txBody>
      </p:sp>
      <p:sp>
        <p:nvSpPr>
          <p:cNvPr id="3" name="Content Placeholder 2">
            <a:extLst>
              <a:ext uri="{FF2B5EF4-FFF2-40B4-BE49-F238E27FC236}">
                <a16:creationId xmlns:a16="http://schemas.microsoft.com/office/drawing/2014/main" id="{E1972625-77CC-4B5C-9F5C-A5835F215997}"/>
              </a:ext>
            </a:extLst>
          </p:cNvPr>
          <p:cNvSpPr>
            <a:spLocks noGrp="1"/>
          </p:cNvSpPr>
          <p:nvPr>
            <p:ph sz="half" idx="1"/>
          </p:nvPr>
        </p:nvSpPr>
        <p:spPr>
          <a:xfrm>
            <a:off x="838202" y="1825625"/>
            <a:ext cx="5181600" cy="4351338"/>
          </a:xfrm>
          <a:prstGeom prst="rect">
            <a:avLst/>
          </a:prstGeom>
        </p:spPr>
        <p:txBody>
          <a:bodyPr lIns="91401" tIns="45702" rIns="91401" bIns="45702"/>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id="{12C31D9D-598A-465B-939F-5ABAD882527B}"/>
              </a:ext>
            </a:extLst>
          </p:cNvPr>
          <p:cNvSpPr>
            <a:spLocks noGrp="1"/>
          </p:cNvSpPr>
          <p:nvPr>
            <p:ph sz="half" idx="2"/>
          </p:nvPr>
        </p:nvSpPr>
        <p:spPr>
          <a:xfrm>
            <a:off x="6172203" y="1825625"/>
            <a:ext cx="5181600" cy="4351338"/>
          </a:xfrm>
          <a:prstGeom prst="rect">
            <a:avLst/>
          </a:prstGeom>
        </p:spPr>
        <p:txBody>
          <a:bodyPr lIns="91401" tIns="45702" rIns="91401" bIns="45702"/>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id="{28276846-254B-4935-AFB8-BCD9F2A30E64}"/>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43B6DE15-F569-48EF-AD26-E3056C8BA3AD}" type="datetime1">
              <a:rPr lang="en-US" sz="1800" smtClean="0">
                <a:solidFill>
                  <a:prstClr val="black"/>
                </a:solidFill>
              </a:rPr>
              <a:pPr defTabSz="914013"/>
              <a:t>4/30/2019</a:t>
            </a:fld>
            <a:endParaRPr lang="x-none" sz="1800">
              <a:solidFill>
                <a:prstClr val="black"/>
              </a:solidFill>
            </a:endParaRPr>
          </a:p>
        </p:txBody>
      </p:sp>
      <p:sp>
        <p:nvSpPr>
          <p:cNvPr id="6" name="Footer Placeholder 5">
            <a:extLst>
              <a:ext uri="{FF2B5EF4-FFF2-40B4-BE49-F238E27FC236}">
                <a16:creationId xmlns:a16="http://schemas.microsoft.com/office/drawing/2014/main" id="{7E612BE3-3BE8-460D-A7AE-051944F0C18A}"/>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7" name="Slide Number Placeholder 6">
            <a:extLst>
              <a:ext uri="{FF2B5EF4-FFF2-40B4-BE49-F238E27FC236}">
                <a16:creationId xmlns:a16="http://schemas.microsoft.com/office/drawing/2014/main" id="{952B3B3C-BFD9-4B8A-A6A1-7A7F350BC800}"/>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3110008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33235-9F4F-418E-95D1-D8F1EDB76F7B}"/>
              </a:ext>
            </a:extLst>
          </p:cNvPr>
          <p:cNvSpPr>
            <a:spLocks noGrp="1"/>
          </p:cNvSpPr>
          <p:nvPr>
            <p:ph type="title"/>
          </p:nvPr>
        </p:nvSpPr>
        <p:spPr>
          <a:xfrm>
            <a:off x="839788" y="365126"/>
            <a:ext cx="10515600" cy="1325563"/>
          </a:xfrm>
          <a:prstGeom prst="rect">
            <a:avLst/>
          </a:prstGeom>
        </p:spPr>
        <p:txBody>
          <a:bodyPr lIns="91401" tIns="45702" rIns="91401" bIns="45702"/>
          <a:lstStyle/>
          <a:p>
            <a:r>
              <a:rPr lang="en-US"/>
              <a:t>Click to edit Master title style</a:t>
            </a:r>
            <a:endParaRPr lang="x-none"/>
          </a:p>
        </p:txBody>
      </p:sp>
      <p:sp>
        <p:nvSpPr>
          <p:cNvPr id="3" name="Text Placeholder 2">
            <a:extLst>
              <a:ext uri="{FF2B5EF4-FFF2-40B4-BE49-F238E27FC236}">
                <a16:creationId xmlns:a16="http://schemas.microsoft.com/office/drawing/2014/main" id="{A388B262-8B6D-41D1-A371-56E6151C084F}"/>
              </a:ext>
            </a:extLst>
          </p:cNvPr>
          <p:cNvSpPr>
            <a:spLocks noGrp="1"/>
          </p:cNvSpPr>
          <p:nvPr>
            <p:ph type="body" idx="1"/>
          </p:nvPr>
        </p:nvSpPr>
        <p:spPr>
          <a:xfrm>
            <a:off x="839789" y="1681163"/>
            <a:ext cx="5157787" cy="823912"/>
          </a:xfrm>
          <a:prstGeom prst="rect">
            <a:avLst/>
          </a:prstGeom>
        </p:spPr>
        <p:txBody>
          <a:bodyPr lIns="91401" tIns="45702" rIns="91401" bIns="45702" anchor="b"/>
          <a:lstStyle>
            <a:lvl1pPr marL="0" indent="0">
              <a:buNone/>
              <a:defRPr sz="2400" b="1"/>
            </a:lvl1pPr>
            <a:lvl2pPr marL="457007" indent="0">
              <a:buNone/>
              <a:defRPr sz="1900" b="1"/>
            </a:lvl2pPr>
            <a:lvl3pPr marL="914013" indent="0">
              <a:buNone/>
              <a:defRPr sz="1800" b="1"/>
            </a:lvl3pPr>
            <a:lvl4pPr marL="1371019" indent="0">
              <a:buNone/>
              <a:defRPr sz="1600" b="1"/>
            </a:lvl4pPr>
            <a:lvl5pPr marL="1828025" indent="0">
              <a:buNone/>
              <a:defRPr sz="1600" b="1"/>
            </a:lvl5pPr>
            <a:lvl6pPr marL="2285031" indent="0">
              <a:buNone/>
              <a:defRPr sz="1600" b="1"/>
            </a:lvl6pPr>
            <a:lvl7pPr marL="2742037" indent="0">
              <a:buNone/>
              <a:defRPr sz="1600" b="1"/>
            </a:lvl7pPr>
            <a:lvl8pPr marL="3199044" indent="0">
              <a:buNone/>
              <a:defRPr sz="1600" b="1"/>
            </a:lvl8pPr>
            <a:lvl9pPr marL="365605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846DFE5-0246-4652-BC5D-9C80E9139407}"/>
              </a:ext>
            </a:extLst>
          </p:cNvPr>
          <p:cNvSpPr>
            <a:spLocks noGrp="1"/>
          </p:cNvSpPr>
          <p:nvPr>
            <p:ph sz="half" idx="2"/>
          </p:nvPr>
        </p:nvSpPr>
        <p:spPr>
          <a:xfrm>
            <a:off x="839789" y="2505078"/>
            <a:ext cx="5157787" cy="3684588"/>
          </a:xfrm>
          <a:prstGeom prst="rect">
            <a:avLst/>
          </a:prstGeom>
        </p:spPr>
        <p:txBody>
          <a:bodyPr lIns="91401" tIns="45702" rIns="91401" bIns="45702"/>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id="{BADE517F-C698-44EF-BAC5-7ADEC7419253}"/>
              </a:ext>
            </a:extLst>
          </p:cNvPr>
          <p:cNvSpPr>
            <a:spLocks noGrp="1"/>
          </p:cNvSpPr>
          <p:nvPr>
            <p:ph type="body" sz="quarter" idx="3"/>
          </p:nvPr>
        </p:nvSpPr>
        <p:spPr>
          <a:xfrm>
            <a:off x="6172203" y="1681163"/>
            <a:ext cx="5183187" cy="823912"/>
          </a:xfrm>
          <a:prstGeom prst="rect">
            <a:avLst/>
          </a:prstGeom>
        </p:spPr>
        <p:txBody>
          <a:bodyPr lIns="91401" tIns="45702" rIns="91401" bIns="45702" anchor="b"/>
          <a:lstStyle>
            <a:lvl1pPr marL="0" indent="0">
              <a:buNone/>
              <a:defRPr sz="2400" b="1"/>
            </a:lvl1pPr>
            <a:lvl2pPr marL="457007" indent="0">
              <a:buNone/>
              <a:defRPr sz="1900" b="1"/>
            </a:lvl2pPr>
            <a:lvl3pPr marL="914013" indent="0">
              <a:buNone/>
              <a:defRPr sz="1800" b="1"/>
            </a:lvl3pPr>
            <a:lvl4pPr marL="1371019" indent="0">
              <a:buNone/>
              <a:defRPr sz="1600" b="1"/>
            </a:lvl4pPr>
            <a:lvl5pPr marL="1828025" indent="0">
              <a:buNone/>
              <a:defRPr sz="1600" b="1"/>
            </a:lvl5pPr>
            <a:lvl6pPr marL="2285031" indent="0">
              <a:buNone/>
              <a:defRPr sz="1600" b="1"/>
            </a:lvl6pPr>
            <a:lvl7pPr marL="2742037" indent="0">
              <a:buNone/>
              <a:defRPr sz="1600" b="1"/>
            </a:lvl7pPr>
            <a:lvl8pPr marL="3199044" indent="0">
              <a:buNone/>
              <a:defRPr sz="1600" b="1"/>
            </a:lvl8pPr>
            <a:lvl9pPr marL="365605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7388D56-6610-4F38-82FF-2D239D3B9CB2}"/>
              </a:ext>
            </a:extLst>
          </p:cNvPr>
          <p:cNvSpPr>
            <a:spLocks noGrp="1"/>
          </p:cNvSpPr>
          <p:nvPr>
            <p:ph sz="quarter" idx="4"/>
          </p:nvPr>
        </p:nvSpPr>
        <p:spPr>
          <a:xfrm>
            <a:off x="6172203" y="2505078"/>
            <a:ext cx="5183187" cy="3684588"/>
          </a:xfrm>
          <a:prstGeom prst="rect">
            <a:avLst/>
          </a:prstGeom>
        </p:spPr>
        <p:txBody>
          <a:bodyPr lIns="91401" tIns="45702" rIns="91401" bIns="45702"/>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id="{91716CBD-2E84-4AAB-A958-D3653301B35F}"/>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B0409B85-0109-4C51-B29D-0837EB3C7514}" type="datetime1">
              <a:rPr lang="en-US" sz="1800" smtClean="0">
                <a:solidFill>
                  <a:prstClr val="black"/>
                </a:solidFill>
              </a:rPr>
              <a:pPr defTabSz="914013"/>
              <a:t>4/30/2019</a:t>
            </a:fld>
            <a:endParaRPr lang="x-none" sz="1800">
              <a:solidFill>
                <a:prstClr val="black"/>
              </a:solidFill>
            </a:endParaRPr>
          </a:p>
        </p:txBody>
      </p:sp>
      <p:sp>
        <p:nvSpPr>
          <p:cNvPr id="8" name="Footer Placeholder 7">
            <a:extLst>
              <a:ext uri="{FF2B5EF4-FFF2-40B4-BE49-F238E27FC236}">
                <a16:creationId xmlns:a16="http://schemas.microsoft.com/office/drawing/2014/main" id="{1EED616D-5004-4567-A78F-1C1435D5F062}"/>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9" name="Slide Number Placeholder 8">
            <a:extLst>
              <a:ext uri="{FF2B5EF4-FFF2-40B4-BE49-F238E27FC236}">
                <a16:creationId xmlns:a16="http://schemas.microsoft.com/office/drawing/2014/main" id="{D1498561-8730-4216-AE32-A28DC0E5C561}"/>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24445903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8B189-83CC-41C6-8E8A-4EF8AEE67AD1}"/>
              </a:ext>
            </a:extLst>
          </p:cNvPr>
          <p:cNvSpPr>
            <a:spLocks noGrp="1"/>
          </p:cNvSpPr>
          <p:nvPr>
            <p:ph type="title"/>
          </p:nvPr>
        </p:nvSpPr>
        <p:spPr>
          <a:xfrm>
            <a:off x="838200" y="365126"/>
            <a:ext cx="10515600" cy="1325563"/>
          </a:xfrm>
          <a:prstGeom prst="rect">
            <a:avLst/>
          </a:prstGeom>
        </p:spPr>
        <p:txBody>
          <a:bodyPr lIns="91401" tIns="45702" rIns="91401" bIns="45702"/>
          <a:lstStyle/>
          <a:p>
            <a:r>
              <a:rPr lang="en-US"/>
              <a:t>Click to edit Master title style</a:t>
            </a:r>
            <a:endParaRPr lang="x-none"/>
          </a:p>
        </p:txBody>
      </p:sp>
      <p:sp>
        <p:nvSpPr>
          <p:cNvPr id="3" name="Date Placeholder 2">
            <a:extLst>
              <a:ext uri="{FF2B5EF4-FFF2-40B4-BE49-F238E27FC236}">
                <a16:creationId xmlns:a16="http://schemas.microsoft.com/office/drawing/2014/main" id="{A14FB402-03FA-4102-9949-0B8D64EE82D2}"/>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662715C6-EF41-4C93-8018-9597576E7C2F}" type="datetime1">
              <a:rPr lang="en-US" sz="1800" smtClean="0">
                <a:solidFill>
                  <a:prstClr val="black"/>
                </a:solidFill>
              </a:rPr>
              <a:pPr defTabSz="914013"/>
              <a:t>4/30/2019</a:t>
            </a:fld>
            <a:endParaRPr lang="x-none" sz="1800">
              <a:solidFill>
                <a:prstClr val="black"/>
              </a:solidFill>
            </a:endParaRPr>
          </a:p>
        </p:txBody>
      </p:sp>
      <p:sp>
        <p:nvSpPr>
          <p:cNvPr id="4" name="Footer Placeholder 3">
            <a:extLst>
              <a:ext uri="{FF2B5EF4-FFF2-40B4-BE49-F238E27FC236}">
                <a16:creationId xmlns:a16="http://schemas.microsoft.com/office/drawing/2014/main" id="{24628776-F814-450C-AC50-AC29C3194FAF}"/>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5" name="Slide Number Placeholder 4">
            <a:extLst>
              <a:ext uri="{FF2B5EF4-FFF2-40B4-BE49-F238E27FC236}">
                <a16:creationId xmlns:a16="http://schemas.microsoft.com/office/drawing/2014/main" id="{3B098CA5-5021-474C-9818-4036C54EE201}"/>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18178575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6A0160-0224-44A4-A9B1-607BCA38578A}"/>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421B35D5-FF8B-46F4-8F38-EE7109243DAF}" type="datetime1">
              <a:rPr lang="en-US" sz="1800" smtClean="0">
                <a:solidFill>
                  <a:prstClr val="black"/>
                </a:solidFill>
              </a:rPr>
              <a:pPr defTabSz="914013"/>
              <a:t>4/30/2019</a:t>
            </a:fld>
            <a:endParaRPr lang="x-none" sz="1800">
              <a:solidFill>
                <a:prstClr val="black"/>
              </a:solidFill>
            </a:endParaRPr>
          </a:p>
        </p:txBody>
      </p:sp>
      <p:sp>
        <p:nvSpPr>
          <p:cNvPr id="3" name="Footer Placeholder 2">
            <a:extLst>
              <a:ext uri="{FF2B5EF4-FFF2-40B4-BE49-F238E27FC236}">
                <a16:creationId xmlns:a16="http://schemas.microsoft.com/office/drawing/2014/main" id="{9FDF1971-6C7B-4092-91A3-5F910765F1E0}"/>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4" name="Slide Number Placeholder 3">
            <a:extLst>
              <a:ext uri="{FF2B5EF4-FFF2-40B4-BE49-F238E27FC236}">
                <a16:creationId xmlns:a16="http://schemas.microsoft.com/office/drawing/2014/main" id="{6C2D5008-7544-4A74-91DB-4F5952DBE227}"/>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24880138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32309-DDDE-44CB-A430-999DE9602167}"/>
              </a:ext>
            </a:extLst>
          </p:cNvPr>
          <p:cNvSpPr>
            <a:spLocks noGrp="1"/>
          </p:cNvSpPr>
          <p:nvPr>
            <p:ph type="title"/>
          </p:nvPr>
        </p:nvSpPr>
        <p:spPr>
          <a:xfrm>
            <a:off x="839791" y="457200"/>
            <a:ext cx="3932237" cy="1600200"/>
          </a:xfrm>
          <a:prstGeom prst="rect">
            <a:avLst/>
          </a:prstGeom>
        </p:spPr>
        <p:txBody>
          <a:bodyPr lIns="91401" tIns="45702" rIns="91401" bIns="45702"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9313F97C-DD28-41A9-BA99-668BA2E3C89D}"/>
              </a:ext>
            </a:extLst>
          </p:cNvPr>
          <p:cNvSpPr>
            <a:spLocks noGrp="1"/>
          </p:cNvSpPr>
          <p:nvPr>
            <p:ph idx="1"/>
          </p:nvPr>
        </p:nvSpPr>
        <p:spPr>
          <a:xfrm>
            <a:off x="5183188" y="987426"/>
            <a:ext cx="6172200" cy="4873625"/>
          </a:xfrm>
          <a:prstGeom prst="rect">
            <a:avLst/>
          </a:prstGeom>
        </p:spPr>
        <p:txBody>
          <a:bodyPr lIns="91401" tIns="45702" rIns="91401" bIns="45702"/>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id="{82804012-B656-4E4F-8FF1-EFB4D6286C74}"/>
              </a:ext>
            </a:extLst>
          </p:cNvPr>
          <p:cNvSpPr>
            <a:spLocks noGrp="1"/>
          </p:cNvSpPr>
          <p:nvPr>
            <p:ph type="body" sz="half" idx="2"/>
          </p:nvPr>
        </p:nvSpPr>
        <p:spPr>
          <a:xfrm>
            <a:off x="839791" y="2057403"/>
            <a:ext cx="3932237" cy="3811588"/>
          </a:xfrm>
          <a:prstGeom prst="rect">
            <a:avLst/>
          </a:prstGeom>
        </p:spPr>
        <p:txBody>
          <a:bodyPr lIns="91401" tIns="45702" rIns="91401" bIns="45702"/>
          <a:lstStyle>
            <a:lvl1pPr marL="0" indent="0">
              <a:buNone/>
              <a:defRPr sz="1600"/>
            </a:lvl1pPr>
            <a:lvl2pPr marL="457007" indent="0">
              <a:buNone/>
              <a:defRPr sz="1500"/>
            </a:lvl2pPr>
            <a:lvl3pPr marL="914013" indent="0">
              <a:buNone/>
              <a:defRPr sz="1200"/>
            </a:lvl3pPr>
            <a:lvl4pPr marL="1371019" indent="0">
              <a:buNone/>
              <a:defRPr sz="1000"/>
            </a:lvl4pPr>
            <a:lvl5pPr marL="1828025" indent="0">
              <a:buNone/>
              <a:defRPr sz="1000"/>
            </a:lvl5pPr>
            <a:lvl6pPr marL="2285031" indent="0">
              <a:buNone/>
              <a:defRPr sz="1000"/>
            </a:lvl6pPr>
            <a:lvl7pPr marL="2742037" indent="0">
              <a:buNone/>
              <a:defRPr sz="1000"/>
            </a:lvl7pPr>
            <a:lvl8pPr marL="3199044" indent="0">
              <a:buNone/>
              <a:defRPr sz="1000"/>
            </a:lvl8pPr>
            <a:lvl9pPr marL="365605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0E8792C-8BB8-446C-BB4D-F13B37CF56E9}"/>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D0619EB6-3E75-43A2-962F-B3C0EC628DE0}" type="datetime1">
              <a:rPr lang="en-US" sz="1800" smtClean="0">
                <a:solidFill>
                  <a:prstClr val="black"/>
                </a:solidFill>
              </a:rPr>
              <a:pPr defTabSz="914013"/>
              <a:t>4/30/2019</a:t>
            </a:fld>
            <a:endParaRPr lang="x-none" sz="1800">
              <a:solidFill>
                <a:prstClr val="black"/>
              </a:solidFill>
            </a:endParaRPr>
          </a:p>
        </p:txBody>
      </p:sp>
      <p:sp>
        <p:nvSpPr>
          <p:cNvPr id="6" name="Footer Placeholder 5">
            <a:extLst>
              <a:ext uri="{FF2B5EF4-FFF2-40B4-BE49-F238E27FC236}">
                <a16:creationId xmlns:a16="http://schemas.microsoft.com/office/drawing/2014/main" id="{218A2BFA-A949-45CE-AE72-A4E058C69A42}"/>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7" name="Slide Number Placeholder 6">
            <a:extLst>
              <a:ext uri="{FF2B5EF4-FFF2-40B4-BE49-F238E27FC236}">
                <a16:creationId xmlns:a16="http://schemas.microsoft.com/office/drawing/2014/main" id="{6AA32423-C951-44EC-846E-D0A5383D6EDE}"/>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41360387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8ACFB-3FF0-4D01-BEC5-7B5578C61BF3}"/>
              </a:ext>
            </a:extLst>
          </p:cNvPr>
          <p:cNvSpPr>
            <a:spLocks noGrp="1"/>
          </p:cNvSpPr>
          <p:nvPr>
            <p:ph type="title"/>
          </p:nvPr>
        </p:nvSpPr>
        <p:spPr>
          <a:xfrm>
            <a:off x="839791" y="457200"/>
            <a:ext cx="3932237" cy="1600200"/>
          </a:xfrm>
          <a:prstGeom prst="rect">
            <a:avLst/>
          </a:prstGeom>
        </p:spPr>
        <p:txBody>
          <a:bodyPr lIns="91401" tIns="45702" rIns="91401" bIns="45702"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id="{E5ADCD1F-9CD3-4796-96D5-F200BAB33294}"/>
              </a:ext>
            </a:extLst>
          </p:cNvPr>
          <p:cNvSpPr>
            <a:spLocks noGrp="1"/>
          </p:cNvSpPr>
          <p:nvPr>
            <p:ph type="pic" idx="1"/>
          </p:nvPr>
        </p:nvSpPr>
        <p:spPr>
          <a:xfrm>
            <a:off x="5183188" y="987426"/>
            <a:ext cx="6172200" cy="4873625"/>
          </a:xfrm>
          <a:prstGeom prst="rect">
            <a:avLst/>
          </a:prstGeom>
        </p:spPr>
        <p:txBody>
          <a:bodyPr lIns="91401" tIns="45702" rIns="91401" bIns="45702"/>
          <a:lstStyle>
            <a:lvl1pPr marL="0" indent="0">
              <a:buNone/>
              <a:defRPr sz="3200"/>
            </a:lvl1pPr>
            <a:lvl2pPr marL="457007" indent="0">
              <a:buNone/>
              <a:defRPr sz="2800"/>
            </a:lvl2pPr>
            <a:lvl3pPr marL="914013" indent="0">
              <a:buNone/>
              <a:defRPr sz="2400"/>
            </a:lvl3pPr>
            <a:lvl4pPr marL="1371019" indent="0">
              <a:buNone/>
              <a:defRPr sz="1900"/>
            </a:lvl4pPr>
            <a:lvl5pPr marL="1828025" indent="0">
              <a:buNone/>
              <a:defRPr sz="1900"/>
            </a:lvl5pPr>
            <a:lvl6pPr marL="2285031" indent="0">
              <a:buNone/>
              <a:defRPr sz="1900"/>
            </a:lvl6pPr>
            <a:lvl7pPr marL="2742037" indent="0">
              <a:buNone/>
              <a:defRPr sz="1900"/>
            </a:lvl7pPr>
            <a:lvl8pPr marL="3199044" indent="0">
              <a:buNone/>
              <a:defRPr sz="1900"/>
            </a:lvl8pPr>
            <a:lvl9pPr marL="3656050" indent="0">
              <a:buNone/>
              <a:defRPr sz="1900"/>
            </a:lvl9pPr>
          </a:lstStyle>
          <a:p>
            <a:r>
              <a:rPr lang="en-US"/>
              <a:t>Click icon to add picture</a:t>
            </a:r>
            <a:endParaRPr lang="x-none"/>
          </a:p>
        </p:txBody>
      </p:sp>
      <p:sp>
        <p:nvSpPr>
          <p:cNvPr id="4" name="Text Placeholder 3">
            <a:extLst>
              <a:ext uri="{FF2B5EF4-FFF2-40B4-BE49-F238E27FC236}">
                <a16:creationId xmlns:a16="http://schemas.microsoft.com/office/drawing/2014/main" id="{746D0A78-55B7-4314-958A-5809AFCE13BF}"/>
              </a:ext>
            </a:extLst>
          </p:cNvPr>
          <p:cNvSpPr>
            <a:spLocks noGrp="1"/>
          </p:cNvSpPr>
          <p:nvPr>
            <p:ph type="body" sz="half" idx="2"/>
          </p:nvPr>
        </p:nvSpPr>
        <p:spPr>
          <a:xfrm>
            <a:off x="839791" y="2057403"/>
            <a:ext cx="3932237" cy="3811588"/>
          </a:xfrm>
          <a:prstGeom prst="rect">
            <a:avLst/>
          </a:prstGeom>
        </p:spPr>
        <p:txBody>
          <a:bodyPr lIns="91401" tIns="45702" rIns="91401" bIns="45702"/>
          <a:lstStyle>
            <a:lvl1pPr marL="0" indent="0">
              <a:buNone/>
              <a:defRPr sz="1600"/>
            </a:lvl1pPr>
            <a:lvl2pPr marL="457007" indent="0">
              <a:buNone/>
              <a:defRPr sz="1500"/>
            </a:lvl2pPr>
            <a:lvl3pPr marL="914013" indent="0">
              <a:buNone/>
              <a:defRPr sz="1200"/>
            </a:lvl3pPr>
            <a:lvl4pPr marL="1371019" indent="0">
              <a:buNone/>
              <a:defRPr sz="1000"/>
            </a:lvl4pPr>
            <a:lvl5pPr marL="1828025" indent="0">
              <a:buNone/>
              <a:defRPr sz="1000"/>
            </a:lvl5pPr>
            <a:lvl6pPr marL="2285031" indent="0">
              <a:buNone/>
              <a:defRPr sz="1000"/>
            </a:lvl6pPr>
            <a:lvl7pPr marL="2742037" indent="0">
              <a:buNone/>
              <a:defRPr sz="1000"/>
            </a:lvl7pPr>
            <a:lvl8pPr marL="3199044" indent="0">
              <a:buNone/>
              <a:defRPr sz="1000"/>
            </a:lvl8pPr>
            <a:lvl9pPr marL="365605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CF598B5-E428-4836-BD03-23FE1937031F}"/>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86801A94-EF68-4590-95D6-357654697C3D}" type="datetime1">
              <a:rPr lang="en-US" sz="1800" smtClean="0">
                <a:solidFill>
                  <a:prstClr val="black"/>
                </a:solidFill>
              </a:rPr>
              <a:pPr defTabSz="914013"/>
              <a:t>4/30/2019</a:t>
            </a:fld>
            <a:endParaRPr lang="x-none" sz="1800">
              <a:solidFill>
                <a:prstClr val="black"/>
              </a:solidFill>
            </a:endParaRPr>
          </a:p>
        </p:txBody>
      </p:sp>
      <p:sp>
        <p:nvSpPr>
          <p:cNvPr id="6" name="Footer Placeholder 5">
            <a:extLst>
              <a:ext uri="{FF2B5EF4-FFF2-40B4-BE49-F238E27FC236}">
                <a16:creationId xmlns:a16="http://schemas.microsoft.com/office/drawing/2014/main" id="{DAA8F88C-2172-4E7F-A4F5-C17CB2BA4866}"/>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7" name="Slide Number Placeholder 6">
            <a:extLst>
              <a:ext uri="{FF2B5EF4-FFF2-40B4-BE49-F238E27FC236}">
                <a16:creationId xmlns:a16="http://schemas.microsoft.com/office/drawing/2014/main" id="{0790F713-5E32-4B63-A62C-5EF3C5763FDE}"/>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10755554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86573D-60BE-45AC-AA4C-5D3518A822A1}" type="datetime1">
              <a:rPr lang="en-US" smtClean="0">
                <a:solidFill>
                  <a:prstClr val="black">
                    <a:tint val="75000"/>
                  </a:prstClr>
                </a:solidFill>
              </a:rPr>
              <a:t>4/30/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52557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0A8CD-9742-45DF-AEFB-71B89381B4FB}"/>
              </a:ext>
            </a:extLst>
          </p:cNvPr>
          <p:cNvSpPr>
            <a:spLocks noGrp="1"/>
          </p:cNvSpPr>
          <p:nvPr>
            <p:ph type="title"/>
          </p:nvPr>
        </p:nvSpPr>
        <p:spPr>
          <a:xfrm>
            <a:off x="838200" y="365126"/>
            <a:ext cx="10515600" cy="1325563"/>
          </a:xfrm>
          <a:prstGeom prst="rect">
            <a:avLst/>
          </a:prstGeom>
        </p:spPr>
        <p:txBody>
          <a:bodyPr lIns="91401" tIns="45702" rIns="91401" bIns="45702"/>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D8484246-7ED8-4E48-BA1B-7B82DC9A2AA2}"/>
              </a:ext>
            </a:extLst>
          </p:cNvPr>
          <p:cNvSpPr>
            <a:spLocks noGrp="1"/>
          </p:cNvSpPr>
          <p:nvPr>
            <p:ph type="body" orient="vert" idx="1"/>
          </p:nvPr>
        </p:nvSpPr>
        <p:spPr>
          <a:xfrm>
            <a:off x="838200" y="1825625"/>
            <a:ext cx="10515600" cy="4351338"/>
          </a:xfrm>
          <a:prstGeom prst="rect">
            <a:avLst/>
          </a:prstGeom>
        </p:spPr>
        <p:txBody>
          <a:bodyPr vert="eaVert" lIns="91401" tIns="45702" rIns="91401" bIns="45702"/>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1E1E20E5-05E3-4288-8641-F06605CB209F}"/>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4ED379B7-BDBE-4AA5-935F-ECDC76235761}" type="datetime1">
              <a:rPr lang="en-US" sz="1800" smtClean="0">
                <a:solidFill>
                  <a:prstClr val="black"/>
                </a:solidFill>
              </a:rPr>
              <a:pPr defTabSz="914013"/>
              <a:t>4/30/2019</a:t>
            </a:fld>
            <a:endParaRPr lang="x-none" sz="1800">
              <a:solidFill>
                <a:prstClr val="black"/>
              </a:solidFill>
            </a:endParaRPr>
          </a:p>
        </p:txBody>
      </p:sp>
      <p:sp>
        <p:nvSpPr>
          <p:cNvPr id="5" name="Footer Placeholder 4">
            <a:extLst>
              <a:ext uri="{FF2B5EF4-FFF2-40B4-BE49-F238E27FC236}">
                <a16:creationId xmlns:a16="http://schemas.microsoft.com/office/drawing/2014/main" id="{2AF341BA-7F2D-46D2-9A27-B8A4650892F3}"/>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6" name="Slide Number Placeholder 5">
            <a:extLst>
              <a:ext uri="{FF2B5EF4-FFF2-40B4-BE49-F238E27FC236}">
                <a16:creationId xmlns:a16="http://schemas.microsoft.com/office/drawing/2014/main" id="{06193CFE-F53A-4EFC-A607-463FAC0B73C9}"/>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280363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68B2B0-90D9-4DFF-804B-B9105E0A1B5D}"/>
              </a:ext>
            </a:extLst>
          </p:cNvPr>
          <p:cNvSpPr>
            <a:spLocks noGrp="1"/>
          </p:cNvSpPr>
          <p:nvPr>
            <p:ph type="title" orient="vert"/>
          </p:nvPr>
        </p:nvSpPr>
        <p:spPr>
          <a:xfrm>
            <a:off x="8724903" y="365125"/>
            <a:ext cx="2628900" cy="5811838"/>
          </a:xfrm>
          <a:prstGeom prst="rect">
            <a:avLst/>
          </a:prstGeom>
        </p:spPr>
        <p:txBody>
          <a:bodyPr vert="eaVert" lIns="91401" tIns="45702" rIns="91401" bIns="45702"/>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7CA72CE4-EBB0-475F-B9AB-41492738CE41}"/>
              </a:ext>
            </a:extLst>
          </p:cNvPr>
          <p:cNvSpPr>
            <a:spLocks noGrp="1"/>
          </p:cNvSpPr>
          <p:nvPr>
            <p:ph type="body" orient="vert" idx="1"/>
          </p:nvPr>
        </p:nvSpPr>
        <p:spPr>
          <a:xfrm>
            <a:off x="838203" y="365125"/>
            <a:ext cx="7734300" cy="5811838"/>
          </a:xfrm>
          <a:prstGeom prst="rect">
            <a:avLst/>
          </a:prstGeom>
        </p:spPr>
        <p:txBody>
          <a:bodyPr vert="eaVert" lIns="91401" tIns="45702" rIns="91401" bIns="45702"/>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39E9B9F0-A980-42C1-AFE7-7608C7230456}"/>
              </a:ext>
            </a:extLst>
          </p:cNvPr>
          <p:cNvSpPr>
            <a:spLocks noGrp="1"/>
          </p:cNvSpPr>
          <p:nvPr>
            <p:ph type="dt" sz="half" idx="10"/>
          </p:nvPr>
        </p:nvSpPr>
        <p:spPr>
          <a:xfrm>
            <a:off x="838200" y="6356625"/>
            <a:ext cx="2743201" cy="365125"/>
          </a:xfrm>
          <a:prstGeom prst="rect">
            <a:avLst/>
          </a:prstGeom>
        </p:spPr>
        <p:txBody>
          <a:bodyPr lIns="91401" tIns="45702" rIns="91401" bIns="45702"/>
          <a:lstStyle/>
          <a:p>
            <a:pPr defTabSz="914013"/>
            <a:fld id="{3FE1BFAD-2F72-4E38-B223-1F023607C022}" type="datetime1">
              <a:rPr lang="en-US" sz="1800" smtClean="0">
                <a:solidFill>
                  <a:prstClr val="black"/>
                </a:solidFill>
              </a:rPr>
              <a:pPr defTabSz="914013"/>
              <a:t>4/30/2019</a:t>
            </a:fld>
            <a:endParaRPr lang="x-none" sz="1800">
              <a:solidFill>
                <a:prstClr val="black"/>
              </a:solidFill>
            </a:endParaRPr>
          </a:p>
        </p:txBody>
      </p:sp>
      <p:sp>
        <p:nvSpPr>
          <p:cNvPr id="5" name="Footer Placeholder 4">
            <a:extLst>
              <a:ext uri="{FF2B5EF4-FFF2-40B4-BE49-F238E27FC236}">
                <a16:creationId xmlns:a16="http://schemas.microsoft.com/office/drawing/2014/main" id="{74ED3E32-C322-4CB4-884F-A29D7FE86CF5}"/>
              </a:ext>
            </a:extLst>
          </p:cNvPr>
          <p:cNvSpPr>
            <a:spLocks noGrp="1"/>
          </p:cNvSpPr>
          <p:nvPr>
            <p:ph type="ftr" sz="quarter" idx="11"/>
          </p:nvPr>
        </p:nvSpPr>
        <p:spPr>
          <a:xfrm>
            <a:off x="4038601" y="6356625"/>
            <a:ext cx="4114800" cy="365125"/>
          </a:xfrm>
          <a:prstGeom prst="rect">
            <a:avLst/>
          </a:prstGeom>
        </p:spPr>
        <p:txBody>
          <a:bodyPr lIns="91401" tIns="45702" rIns="91401" bIns="45702"/>
          <a:lstStyle/>
          <a:p>
            <a:pPr defTabSz="914013"/>
            <a:endParaRPr lang="x-none" sz="1800">
              <a:solidFill>
                <a:prstClr val="black"/>
              </a:solidFill>
            </a:endParaRPr>
          </a:p>
        </p:txBody>
      </p:sp>
      <p:sp>
        <p:nvSpPr>
          <p:cNvPr id="6" name="Slide Number Placeholder 5">
            <a:extLst>
              <a:ext uri="{FF2B5EF4-FFF2-40B4-BE49-F238E27FC236}">
                <a16:creationId xmlns:a16="http://schemas.microsoft.com/office/drawing/2014/main" id="{803AA66E-262B-4881-A8B4-3FCFE196336E}"/>
              </a:ext>
            </a:extLst>
          </p:cNvPr>
          <p:cNvSpPr>
            <a:spLocks noGrp="1"/>
          </p:cNvSpPr>
          <p:nvPr>
            <p:ph type="sldNum" sz="quarter" idx="12"/>
          </p:nvPr>
        </p:nvSpPr>
        <p:spPr>
          <a:xfrm>
            <a:off x="8610599" y="6356625"/>
            <a:ext cx="2743201" cy="365125"/>
          </a:xfrm>
          <a:prstGeom prst="rect">
            <a:avLst/>
          </a:prstGeom>
        </p:spPr>
        <p:txBody>
          <a:bodyPr/>
          <a:lstStyle/>
          <a:p>
            <a:fld id="{64EB4972-ACDB-4443-AB71-2418AAD5DD1E}" type="slidenum">
              <a:rPr lang="x-none" smtClean="0">
                <a:solidFill>
                  <a:prstClr val="white"/>
                </a:solidFill>
              </a:rPr>
              <a:pPr/>
              <a:t>‹#›</a:t>
            </a:fld>
            <a:endParaRPr lang="x-none">
              <a:solidFill>
                <a:prstClr val="white"/>
              </a:solidFill>
            </a:endParaRPr>
          </a:p>
        </p:txBody>
      </p:sp>
    </p:spTree>
    <p:extLst>
      <p:ext uri="{BB962C8B-B14F-4D97-AF65-F5344CB8AC3E}">
        <p14:creationId xmlns:p14="http://schemas.microsoft.com/office/powerpoint/2010/main" val="11749632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4" y="1122366"/>
            <a:ext cx="9144001"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4" y="3602040"/>
            <a:ext cx="9144001" cy="1655763"/>
          </a:xfrm>
        </p:spPr>
        <p:txBody>
          <a:bodyPr/>
          <a:lstStyle>
            <a:lvl1pPr marL="0" indent="0" algn="ctr">
              <a:buNone/>
              <a:defRPr sz="2400"/>
            </a:lvl1pPr>
            <a:lvl2pPr marL="456902" indent="0" algn="ctr">
              <a:buNone/>
              <a:defRPr sz="1900"/>
            </a:lvl2pPr>
            <a:lvl3pPr marL="913809" indent="0" algn="ctr">
              <a:buNone/>
              <a:defRPr sz="1900"/>
            </a:lvl3pPr>
            <a:lvl4pPr marL="1370714" indent="0" algn="ctr">
              <a:buNone/>
              <a:defRPr sz="1600"/>
            </a:lvl4pPr>
            <a:lvl5pPr marL="1827617" indent="0" algn="ctr">
              <a:buNone/>
              <a:defRPr sz="1600"/>
            </a:lvl5pPr>
            <a:lvl6pPr marL="2284528" indent="0" algn="ctr">
              <a:buNone/>
              <a:defRPr sz="1600"/>
            </a:lvl6pPr>
            <a:lvl7pPr marL="2741424" indent="0" algn="ctr">
              <a:buNone/>
              <a:defRPr sz="1600"/>
            </a:lvl7pPr>
            <a:lvl8pPr marL="3198324" indent="0" algn="ctr">
              <a:buNone/>
              <a:defRPr sz="1600"/>
            </a:lvl8pPr>
            <a:lvl9pPr marL="365522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620F475-8960-423D-8E80-83B56F322974}"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99081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DD9C777-CA2E-4920-8179-8A6AB9092CCA}"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98246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3"/>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49" y="4589786"/>
            <a:ext cx="10515600" cy="1500187"/>
          </a:xfrm>
        </p:spPr>
        <p:txBody>
          <a:bodyPr/>
          <a:lstStyle>
            <a:lvl1pPr marL="0" indent="0">
              <a:buNone/>
              <a:defRPr sz="2400">
                <a:solidFill>
                  <a:schemeClr val="tx1">
                    <a:tint val="75000"/>
                  </a:schemeClr>
                </a:solidFill>
              </a:defRPr>
            </a:lvl1pPr>
            <a:lvl2pPr marL="456902" indent="0">
              <a:buNone/>
              <a:defRPr sz="1900">
                <a:solidFill>
                  <a:schemeClr val="tx1">
                    <a:tint val="75000"/>
                  </a:schemeClr>
                </a:solidFill>
              </a:defRPr>
            </a:lvl2pPr>
            <a:lvl3pPr marL="913809" indent="0">
              <a:buNone/>
              <a:defRPr sz="1900">
                <a:solidFill>
                  <a:schemeClr val="tx1">
                    <a:tint val="75000"/>
                  </a:schemeClr>
                </a:solidFill>
              </a:defRPr>
            </a:lvl3pPr>
            <a:lvl4pPr marL="1370714" indent="0">
              <a:buNone/>
              <a:defRPr sz="1600">
                <a:solidFill>
                  <a:schemeClr val="tx1">
                    <a:tint val="75000"/>
                  </a:schemeClr>
                </a:solidFill>
              </a:defRPr>
            </a:lvl4pPr>
            <a:lvl5pPr marL="1827617" indent="0">
              <a:buNone/>
              <a:defRPr sz="1600">
                <a:solidFill>
                  <a:schemeClr val="tx1">
                    <a:tint val="75000"/>
                  </a:schemeClr>
                </a:solidFill>
              </a:defRPr>
            </a:lvl5pPr>
            <a:lvl6pPr marL="2284528" indent="0">
              <a:buNone/>
              <a:defRPr sz="1600">
                <a:solidFill>
                  <a:schemeClr val="tx1">
                    <a:tint val="75000"/>
                  </a:schemeClr>
                </a:solidFill>
              </a:defRPr>
            </a:lvl6pPr>
            <a:lvl7pPr marL="2741424" indent="0">
              <a:buNone/>
              <a:defRPr sz="1600">
                <a:solidFill>
                  <a:schemeClr val="tx1">
                    <a:tint val="75000"/>
                  </a:schemeClr>
                </a:solidFill>
              </a:defRPr>
            </a:lvl7pPr>
            <a:lvl8pPr marL="3198324" indent="0">
              <a:buNone/>
              <a:defRPr sz="1600">
                <a:solidFill>
                  <a:schemeClr val="tx1">
                    <a:tint val="75000"/>
                  </a:schemeClr>
                </a:solidFill>
              </a:defRPr>
            </a:lvl8pPr>
            <a:lvl9pPr marL="365522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9226A75-2AE8-4ECE-99DB-883F928AB74A}"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39179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2"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3" y="1825627"/>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ED69FDC-D73F-427A-BE9E-E95D8F7D0D33}"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526565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6902" indent="0">
              <a:buNone/>
              <a:defRPr sz="1900" b="1"/>
            </a:lvl2pPr>
            <a:lvl3pPr marL="913809" indent="0">
              <a:buNone/>
              <a:defRPr sz="1900" b="1"/>
            </a:lvl3pPr>
            <a:lvl4pPr marL="1370714" indent="0">
              <a:buNone/>
              <a:defRPr sz="1600" b="1"/>
            </a:lvl4pPr>
            <a:lvl5pPr marL="1827617" indent="0">
              <a:buNone/>
              <a:defRPr sz="1600" b="1"/>
            </a:lvl5pPr>
            <a:lvl6pPr marL="2284528" indent="0">
              <a:buNone/>
              <a:defRPr sz="1600" b="1"/>
            </a:lvl6pPr>
            <a:lvl7pPr marL="2741424" indent="0">
              <a:buNone/>
              <a:defRPr sz="1600" b="1"/>
            </a:lvl7pPr>
            <a:lvl8pPr marL="3198324" indent="0">
              <a:buNone/>
              <a:defRPr sz="1600" b="1"/>
            </a:lvl8pPr>
            <a:lvl9pPr marL="3655226"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8"/>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7" cy="823912"/>
          </a:xfrm>
        </p:spPr>
        <p:txBody>
          <a:bodyPr anchor="b"/>
          <a:lstStyle>
            <a:lvl1pPr marL="0" indent="0">
              <a:buNone/>
              <a:defRPr sz="2400" b="1"/>
            </a:lvl1pPr>
            <a:lvl2pPr marL="456902" indent="0">
              <a:buNone/>
              <a:defRPr sz="1900" b="1"/>
            </a:lvl2pPr>
            <a:lvl3pPr marL="913809" indent="0">
              <a:buNone/>
              <a:defRPr sz="1900" b="1"/>
            </a:lvl3pPr>
            <a:lvl4pPr marL="1370714" indent="0">
              <a:buNone/>
              <a:defRPr sz="1600" b="1"/>
            </a:lvl4pPr>
            <a:lvl5pPr marL="1827617" indent="0">
              <a:buNone/>
              <a:defRPr sz="1600" b="1"/>
            </a:lvl5pPr>
            <a:lvl6pPr marL="2284528" indent="0">
              <a:buNone/>
              <a:defRPr sz="1600" b="1"/>
            </a:lvl6pPr>
            <a:lvl7pPr marL="2741424" indent="0">
              <a:buNone/>
              <a:defRPr sz="1600" b="1"/>
            </a:lvl7pPr>
            <a:lvl8pPr marL="3198324" indent="0">
              <a:buNone/>
              <a:defRPr sz="1600" b="1"/>
            </a:lvl8pPr>
            <a:lvl9pPr marL="3655226" indent="0">
              <a:buNone/>
              <a:defRPr sz="1600" b="1"/>
            </a:lvl9pPr>
          </a:lstStyle>
          <a:p>
            <a:pPr lvl="0"/>
            <a:r>
              <a:rPr lang="en-US"/>
              <a:t>Edit Master text styles</a:t>
            </a:r>
          </a:p>
        </p:txBody>
      </p:sp>
      <p:sp>
        <p:nvSpPr>
          <p:cNvPr id="6" name="Content Placeholder 5"/>
          <p:cNvSpPr>
            <a:spLocks noGrp="1"/>
          </p:cNvSpPr>
          <p:nvPr>
            <p:ph sz="quarter" idx="4"/>
          </p:nvPr>
        </p:nvSpPr>
        <p:spPr>
          <a:xfrm>
            <a:off x="6172203" y="2505078"/>
            <a:ext cx="51831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AC9DD6E-A260-4F52-A767-D4F4C5C6E2F1}" type="datetime1">
              <a:rPr lang="en-US" smtClean="0">
                <a:solidFill>
                  <a:prstClr val="black">
                    <a:tint val="75000"/>
                  </a:prstClr>
                </a:solidFill>
              </a:rPr>
              <a:t>4/30/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894051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88B264C-7769-4508-B077-FE7043CC7C4E}" type="datetime1">
              <a:rPr lang="en-US" smtClean="0">
                <a:solidFill>
                  <a:prstClr val="black">
                    <a:tint val="75000"/>
                  </a:prstClr>
                </a:solidFill>
              </a:rPr>
              <a:t>4/3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84941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4DA958-F264-4FBB-B725-13ABFDA88253}" type="datetime1">
              <a:rPr lang="en-US" smtClean="0">
                <a:solidFill>
                  <a:prstClr val="black">
                    <a:tint val="75000"/>
                  </a:prstClr>
                </a:solidFill>
              </a:rPr>
              <a:t>4/30/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457410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1" y="2057405"/>
            <a:ext cx="3932237" cy="3811588"/>
          </a:xfrm>
        </p:spPr>
        <p:txBody>
          <a:bodyPr/>
          <a:lstStyle>
            <a:lvl1pPr marL="0" indent="0">
              <a:buNone/>
              <a:defRPr sz="1600"/>
            </a:lvl1pPr>
            <a:lvl2pPr marL="456902" indent="0">
              <a:buNone/>
              <a:defRPr sz="1500"/>
            </a:lvl2pPr>
            <a:lvl3pPr marL="913809" indent="0">
              <a:buNone/>
              <a:defRPr sz="1200"/>
            </a:lvl3pPr>
            <a:lvl4pPr marL="1370714" indent="0">
              <a:buNone/>
              <a:defRPr sz="1100"/>
            </a:lvl4pPr>
            <a:lvl5pPr marL="1827617" indent="0">
              <a:buNone/>
              <a:defRPr sz="1100"/>
            </a:lvl5pPr>
            <a:lvl6pPr marL="2284528" indent="0">
              <a:buNone/>
              <a:defRPr sz="1100"/>
            </a:lvl6pPr>
            <a:lvl7pPr marL="2741424" indent="0">
              <a:buNone/>
              <a:defRPr sz="1100"/>
            </a:lvl7pPr>
            <a:lvl8pPr marL="3198324" indent="0">
              <a:buNone/>
              <a:defRPr sz="1100"/>
            </a:lvl8pPr>
            <a:lvl9pPr marL="3655226"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480F156F-EA0A-4460-9E19-DCAF0F0F1604}"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78127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91" y="2057407"/>
            <a:ext cx="3932237" cy="3811588"/>
          </a:xfrm>
        </p:spPr>
        <p:txBody>
          <a:bodyPr/>
          <a:lstStyle>
            <a:lvl1pPr marL="0" indent="0">
              <a:buNone/>
              <a:defRPr sz="1600"/>
            </a:lvl1pPr>
            <a:lvl2pPr marL="455981" indent="0">
              <a:buNone/>
              <a:defRPr sz="1500"/>
            </a:lvl2pPr>
            <a:lvl3pPr marL="911969" indent="0">
              <a:buNone/>
              <a:defRPr sz="1200"/>
            </a:lvl3pPr>
            <a:lvl4pPr marL="1367953" indent="0">
              <a:buNone/>
              <a:defRPr sz="1100"/>
            </a:lvl4pPr>
            <a:lvl5pPr marL="1823939" indent="0">
              <a:buNone/>
              <a:defRPr sz="1100"/>
            </a:lvl5pPr>
            <a:lvl6pPr marL="2279928" indent="0">
              <a:buNone/>
              <a:defRPr sz="1100"/>
            </a:lvl6pPr>
            <a:lvl7pPr marL="2735910" indent="0">
              <a:buNone/>
              <a:defRPr sz="1100"/>
            </a:lvl7pPr>
            <a:lvl8pPr marL="3191889" indent="0">
              <a:buNone/>
              <a:defRPr sz="1100"/>
            </a:lvl8pPr>
            <a:lvl9pPr marL="3647869"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402E554E-CFB0-4160-BA92-A9371C5EE0FE}"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2734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6902" indent="0">
              <a:buNone/>
              <a:defRPr sz="2800"/>
            </a:lvl2pPr>
            <a:lvl3pPr marL="913809" indent="0">
              <a:buNone/>
              <a:defRPr sz="2400"/>
            </a:lvl3pPr>
            <a:lvl4pPr marL="1370714" indent="0">
              <a:buNone/>
              <a:defRPr sz="1900"/>
            </a:lvl4pPr>
            <a:lvl5pPr marL="1827617" indent="0">
              <a:buNone/>
              <a:defRPr sz="1900"/>
            </a:lvl5pPr>
            <a:lvl6pPr marL="2284528" indent="0">
              <a:buNone/>
              <a:defRPr sz="1900"/>
            </a:lvl6pPr>
            <a:lvl7pPr marL="2741424" indent="0">
              <a:buNone/>
              <a:defRPr sz="1900"/>
            </a:lvl7pPr>
            <a:lvl8pPr marL="3198324" indent="0">
              <a:buNone/>
              <a:defRPr sz="1900"/>
            </a:lvl8pPr>
            <a:lvl9pPr marL="3655226" indent="0">
              <a:buNone/>
              <a:defRPr sz="1900"/>
            </a:lvl9pPr>
          </a:lstStyle>
          <a:p>
            <a:endParaRPr lang="en-US"/>
          </a:p>
        </p:txBody>
      </p:sp>
      <p:sp>
        <p:nvSpPr>
          <p:cNvPr id="4" name="Text Placeholder 3"/>
          <p:cNvSpPr>
            <a:spLocks noGrp="1"/>
          </p:cNvSpPr>
          <p:nvPr>
            <p:ph type="body" sz="half" idx="2"/>
          </p:nvPr>
        </p:nvSpPr>
        <p:spPr>
          <a:xfrm>
            <a:off x="839791" y="2057405"/>
            <a:ext cx="3932237" cy="3811588"/>
          </a:xfrm>
        </p:spPr>
        <p:txBody>
          <a:bodyPr/>
          <a:lstStyle>
            <a:lvl1pPr marL="0" indent="0">
              <a:buNone/>
              <a:defRPr sz="1600"/>
            </a:lvl1pPr>
            <a:lvl2pPr marL="456902" indent="0">
              <a:buNone/>
              <a:defRPr sz="1500"/>
            </a:lvl2pPr>
            <a:lvl3pPr marL="913809" indent="0">
              <a:buNone/>
              <a:defRPr sz="1200"/>
            </a:lvl3pPr>
            <a:lvl4pPr marL="1370714" indent="0">
              <a:buNone/>
              <a:defRPr sz="1100"/>
            </a:lvl4pPr>
            <a:lvl5pPr marL="1827617" indent="0">
              <a:buNone/>
              <a:defRPr sz="1100"/>
            </a:lvl5pPr>
            <a:lvl6pPr marL="2284528" indent="0">
              <a:buNone/>
              <a:defRPr sz="1100"/>
            </a:lvl6pPr>
            <a:lvl7pPr marL="2741424" indent="0">
              <a:buNone/>
              <a:defRPr sz="1100"/>
            </a:lvl7pPr>
            <a:lvl8pPr marL="3198324" indent="0">
              <a:buNone/>
              <a:defRPr sz="1100"/>
            </a:lvl8pPr>
            <a:lvl9pPr marL="3655226"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8B399485-ACBD-4677-A6B9-992AB4413946}"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385276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05FE62-4249-487C-B8C9-E68FE4ADDB7F}"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44901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3" y="365127"/>
            <a:ext cx="2628900"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7"/>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62A698-8253-4968-8F70-D71E535A94F4}"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42549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79" y="1628"/>
          <a:ext cx="2159" cy="1619"/>
        </p:xfrm>
        <a:graphic>
          <a:graphicData uri="http://schemas.openxmlformats.org/presentationml/2006/ole">
            <mc:AlternateContent xmlns:mc="http://schemas.openxmlformats.org/markup-compatibility/2006">
              <mc:Choice xmlns:v="urn:schemas-microsoft-com:vml" Requires="v">
                <p:oleObj spid="_x0000_s4823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79" y="1628"/>
                        <a:ext cx="2159" cy="1619"/>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ltGray">
          <a:xfrm>
            <a:off x="2161" y="-1"/>
            <a:ext cx="12187680" cy="6858001"/>
          </a:xfrm>
          <a:prstGeom prst="rect">
            <a:avLst/>
          </a:prstGeom>
        </p:spPr>
      </p:pic>
      <p:sp>
        <p:nvSpPr>
          <p:cNvPr id="17" name="Rectangle 16"/>
          <p:cNvSpPr/>
          <p:nvPr userDrawn="1"/>
        </p:nvSpPr>
        <p:spPr bwMode="ltGray">
          <a:xfrm>
            <a:off x="3390160" y="1086040"/>
            <a:ext cx="8801489" cy="2995717"/>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fontAlgn="base">
              <a:spcBef>
                <a:spcPct val="0"/>
              </a:spcBef>
              <a:spcAft>
                <a:spcPct val="0"/>
              </a:spcAft>
            </a:pPr>
            <a:endParaRPr lang="en-US" sz="1800" dirty="0">
              <a:solidFill>
                <a:srgbClr val="1F1F1F"/>
              </a:solidFill>
            </a:endParaRPr>
          </a:p>
        </p:txBody>
      </p:sp>
      <p:sp>
        <p:nvSpPr>
          <p:cNvPr id="19" name="Rectangle 1189"/>
          <p:cNvSpPr>
            <a:spLocks noChangeArrowheads="1"/>
          </p:cNvSpPr>
          <p:nvPr userDrawn="1"/>
        </p:nvSpPr>
        <p:spPr bwMode="auto">
          <a:xfrm>
            <a:off x="2" y="4"/>
            <a:ext cx="1218768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1" tIns="45702" rIns="91401" bIns="45702" anchor="ctr"/>
          <a:lstStyle/>
          <a:p>
            <a:pPr defTabSz="914013" fontAlgn="base">
              <a:spcBef>
                <a:spcPct val="0"/>
              </a:spcBef>
              <a:spcAft>
                <a:spcPct val="0"/>
              </a:spcAft>
            </a:pPr>
            <a:endParaRPr lang="en-US" sz="1600" dirty="0">
              <a:solidFill>
                <a:srgbClr val="1F1F1F"/>
              </a:solidFill>
            </a:endParaRPr>
          </a:p>
        </p:txBody>
      </p:sp>
      <p:sp>
        <p:nvSpPr>
          <p:cNvPr id="4" name="Working Draft Text"/>
          <p:cNvSpPr txBox="1">
            <a:spLocks noChangeArrowheads="1"/>
          </p:cNvSpPr>
          <p:nvPr/>
        </p:nvSpPr>
        <p:spPr bwMode="auto">
          <a:xfrm>
            <a:off x="3390168" y="126143"/>
            <a:ext cx="110607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000" b="1" dirty="0">
                <a:solidFill>
                  <a:srgbClr val="FFFFFF"/>
                </a:solidFill>
                <a:latin typeface="Arial"/>
              </a:rPr>
              <a:t>WORKING DRAFT</a:t>
            </a:r>
          </a:p>
        </p:txBody>
      </p:sp>
      <p:sp>
        <p:nvSpPr>
          <p:cNvPr id="6" name="Working Draft"/>
          <p:cNvSpPr txBox="1">
            <a:spLocks noChangeArrowheads="1"/>
          </p:cNvSpPr>
          <p:nvPr/>
        </p:nvSpPr>
        <p:spPr bwMode="auto">
          <a:xfrm>
            <a:off x="3390153" y="284903"/>
            <a:ext cx="38985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000">
                <a:solidFill>
                  <a:srgbClr val="FFFFFF"/>
                </a:solidFill>
                <a:latin typeface="Arial"/>
              </a:rPr>
              <a:t>Last Modified 2017-09-15 01:01 AM W. Central Africa Standard Time</a:t>
            </a:r>
            <a:endParaRPr lang="en-US" sz="1000" dirty="0">
              <a:solidFill>
                <a:srgbClr val="FFFFFF"/>
              </a:solidFill>
              <a:latin typeface="Arial"/>
            </a:endParaRPr>
          </a:p>
        </p:txBody>
      </p:sp>
      <p:sp>
        <p:nvSpPr>
          <p:cNvPr id="7" name="Printed"/>
          <p:cNvSpPr txBox="1">
            <a:spLocks noChangeArrowheads="1"/>
          </p:cNvSpPr>
          <p:nvPr/>
        </p:nvSpPr>
        <p:spPr bwMode="auto">
          <a:xfrm>
            <a:off x="3390171" y="445237"/>
            <a:ext cx="40395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000" dirty="0">
                <a:solidFill>
                  <a:srgbClr val="FFFFFF"/>
                </a:solidFill>
                <a:latin typeface="Arial"/>
              </a:rPr>
              <a:t>Printed</a:t>
            </a:r>
          </a:p>
        </p:txBody>
      </p:sp>
      <p:grpSp>
        <p:nvGrpSpPr>
          <p:cNvPr id="8" name="McK Title Elements" hidden="1"/>
          <p:cNvGrpSpPr>
            <a:grpSpLocks/>
          </p:cNvGrpSpPr>
          <p:nvPr/>
        </p:nvGrpSpPr>
        <p:grpSpPr bwMode="auto">
          <a:xfrm>
            <a:off x="3591747" y="3417653"/>
            <a:ext cx="4799047" cy="516699"/>
            <a:chOff x="1663" y="3099"/>
            <a:chExt cx="2222" cy="319"/>
          </a:xfrm>
        </p:grpSpPr>
        <p:sp>
          <p:nvSpPr>
            <p:cNvPr id="9" name="McK Document type"/>
            <p:cNvSpPr txBox="1">
              <a:spLocks noChangeArrowheads="1"/>
            </p:cNvSpPr>
            <p:nvPr/>
          </p:nvSpPr>
          <p:spPr bwMode="auto">
            <a:xfrm>
              <a:off x="1663" y="3099"/>
              <a:ext cx="2222"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500" dirty="0">
                  <a:solidFill>
                    <a:srgbClr val="1F1F1F"/>
                  </a:solidFill>
                  <a:latin typeface="Arial"/>
                </a:rPr>
                <a:t>Document type</a:t>
              </a:r>
            </a:p>
          </p:txBody>
        </p:sp>
        <p:sp>
          <p:nvSpPr>
            <p:cNvPr id="10" name="McK Date"/>
            <p:cNvSpPr txBox="1">
              <a:spLocks noChangeArrowheads="1"/>
            </p:cNvSpPr>
            <p:nvPr/>
          </p:nvSpPr>
          <p:spPr bwMode="auto">
            <a:xfrm>
              <a:off x="1663" y="3275"/>
              <a:ext cx="2222"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500" dirty="0">
                  <a:solidFill>
                    <a:srgbClr val="1F1F1F"/>
                  </a:solidFill>
                  <a:latin typeface="Arial"/>
                </a:rPr>
                <a:t>Date</a:t>
              </a:r>
            </a:p>
          </p:txBody>
        </p:sp>
      </p:grpSp>
      <p:sp>
        <p:nvSpPr>
          <p:cNvPr id="13314" name="Rectangle 1026"/>
          <p:cNvSpPr>
            <a:spLocks noGrp="1" noChangeArrowheads="1"/>
          </p:cNvSpPr>
          <p:nvPr>
            <p:ph type="ctrTitle"/>
          </p:nvPr>
        </p:nvSpPr>
        <p:spPr bwMode="auto">
          <a:xfrm>
            <a:off x="3591733" y="1196748"/>
            <a:ext cx="8297731" cy="507831"/>
          </a:xfrm>
          <a:prstGeom prst="rect">
            <a:avLst/>
          </a:prstGeom>
        </p:spPr>
        <p:txBody>
          <a:bodyPr wrap="square">
            <a:spAutoFit/>
          </a:bodyPr>
          <a:lstStyle>
            <a:lvl1pPr>
              <a:defRPr sz="3300" b="0" baseline="0">
                <a:solidFill>
                  <a:schemeClr val="tx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3591733" y="2454174"/>
            <a:ext cx="8297731" cy="230832"/>
          </a:xfrm>
        </p:spPr>
        <p:txBody>
          <a:bodyPr wrap="square">
            <a:spAutoFit/>
          </a:bodyPr>
          <a:lstStyle>
            <a:lvl1pPr>
              <a:defRPr sz="1500" baseline="0">
                <a:solidFill>
                  <a:schemeClr val="tx1"/>
                </a:solidFill>
                <a:latin typeface="+mn-lt"/>
                <a:ea typeface="+mn-ea"/>
              </a:defRPr>
            </a:lvl1pPr>
          </a:lstStyle>
          <a:p>
            <a:pPr lvl="0"/>
            <a:r>
              <a:rPr lang="en-US" noProof="0"/>
              <a:t>Click to edit Master subtitle style</a:t>
            </a:r>
            <a:endParaRPr lang="en-US" noProof="0" dirty="0"/>
          </a:p>
        </p:txBody>
      </p:sp>
      <p:sp>
        <p:nvSpPr>
          <p:cNvPr id="15" name="doc id"/>
          <p:cNvSpPr>
            <a:spLocks noChangeArrowheads="1"/>
          </p:cNvSpPr>
          <p:nvPr userDrawn="1"/>
        </p:nvSpPr>
        <p:spPr bwMode="auto">
          <a:xfrm>
            <a:off x="11064593"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137" fontAlgn="base">
              <a:spcBef>
                <a:spcPct val="0"/>
              </a:spcBef>
              <a:spcAft>
                <a:spcPct val="0"/>
              </a:spcAft>
            </a:pPr>
            <a:endParaRPr lang="en-US" sz="900" dirty="0">
              <a:solidFill>
                <a:srgbClr val="FFFFFF"/>
              </a:solidFill>
            </a:endParaRPr>
          </a:p>
        </p:txBody>
      </p:sp>
    </p:spTree>
    <p:extLst>
      <p:ext uri="{BB962C8B-B14F-4D97-AF65-F5344CB8AC3E}">
        <p14:creationId xmlns:p14="http://schemas.microsoft.com/office/powerpoint/2010/main" val="256975811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79" y="1628"/>
          <a:ext cx="2159" cy="1619"/>
        </p:xfrm>
        <a:graphic>
          <a:graphicData uri="http://schemas.openxmlformats.org/presentationml/2006/ole">
            <mc:AlternateContent xmlns:mc="http://schemas.openxmlformats.org/markup-compatibility/2006">
              <mc:Choice xmlns:v="urn:schemas-microsoft-com:vml" Requires="v">
                <p:oleObj spid="_x0000_s48340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79" y="1628"/>
                        <a:ext cx="2159"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11327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79" y="1628"/>
          <a:ext cx="2159" cy="1619"/>
        </p:xfrm>
        <a:graphic>
          <a:graphicData uri="http://schemas.openxmlformats.org/presentationml/2006/ole">
            <mc:AlternateContent xmlns:mc="http://schemas.openxmlformats.org/markup-compatibility/2006">
              <mc:Choice xmlns:v="urn:schemas-microsoft-com:vml" Requires="v">
                <p:oleObj spid="_x0000_s48442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2179" y="1628"/>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1147536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78" y="4407354"/>
            <a:ext cx="10362659" cy="723228"/>
          </a:xfrm>
          <a:prstGeom prst="rect">
            <a:avLst/>
          </a:prstGeom>
        </p:spPr>
        <p:txBody>
          <a:bodyPr lIns="91391" tIns="45697" rIns="91391" bIns="45697"/>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963278" y="4114940"/>
            <a:ext cx="10362659" cy="292388"/>
          </a:xfrm>
        </p:spPr>
        <p:txBody>
          <a:bodyPr anchor="b"/>
          <a:lstStyle>
            <a:lvl1pPr marL="0" indent="0">
              <a:buNone/>
              <a:defRPr sz="1900"/>
            </a:lvl1pPr>
            <a:lvl2pPr marL="465968" indent="0">
              <a:buNone/>
              <a:defRPr sz="1800"/>
            </a:lvl2pPr>
            <a:lvl3pPr marL="931940" indent="0">
              <a:buNone/>
              <a:defRPr sz="1600"/>
            </a:lvl3pPr>
            <a:lvl4pPr marL="1397905" indent="0">
              <a:buNone/>
              <a:defRPr sz="1500"/>
            </a:lvl4pPr>
            <a:lvl5pPr marL="1863878" indent="0">
              <a:buNone/>
              <a:defRPr sz="1500"/>
            </a:lvl5pPr>
            <a:lvl6pPr marL="2329847" indent="0">
              <a:buNone/>
              <a:defRPr sz="1500"/>
            </a:lvl6pPr>
            <a:lvl7pPr marL="2795812" indent="0">
              <a:buNone/>
              <a:defRPr sz="1500"/>
            </a:lvl7pPr>
            <a:lvl8pPr marL="3261783" indent="0">
              <a:buNone/>
              <a:defRPr sz="1500"/>
            </a:lvl8pPr>
            <a:lvl9pPr marL="3727751" indent="0">
              <a:buNone/>
              <a:defRPr sz="1500"/>
            </a:lvl9pPr>
          </a:lstStyle>
          <a:p>
            <a:pPr lvl="0"/>
            <a:r>
              <a:rPr lang="en-US"/>
              <a:t>Click to edit Master text styles</a:t>
            </a:r>
          </a:p>
        </p:txBody>
      </p:sp>
    </p:spTree>
    <p:extLst>
      <p:ext uri="{BB962C8B-B14F-4D97-AF65-F5344CB8AC3E}">
        <p14:creationId xmlns:p14="http://schemas.microsoft.com/office/powerpoint/2010/main" val="22815909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79" y="1628"/>
          <a:ext cx="2159" cy="1619"/>
        </p:xfrm>
        <a:graphic>
          <a:graphicData uri="http://schemas.openxmlformats.org/presentationml/2006/ole">
            <mc:AlternateContent xmlns:mc="http://schemas.openxmlformats.org/markup-compatibility/2006">
              <mc:Choice xmlns:v="urn:schemas-microsoft-com:vml" Requires="v">
                <p:oleObj spid="_x0000_s4936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79" y="1628"/>
                        <a:ext cx="2159" cy="1619"/>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ltGray">
          <a:xfrm>
            <a:off x="2161" y="-1"/>
            <a:ext cx="12187680" cy="6858001"/>
          </a:xfrm>
          <a:prstGeom prst="rect">
            <a:avLst/>
          </a:prstGeom>
        </p:spPr>
      </p:pic>
      <p:sp>
        <p:nvSpPr>
          <p:cNvPr id="17" name="Rectangle 16"/>
          <p:cNvSpPr/>
          <p:nvPr userDrawn="1"/>
        </p:nvSpPr>
        <p:spPr bwMode="ltGray">
          <a:xfrm>
            <a:off x="3390160" y="1086040"/>
            <a:ext cx="8801489" cy="2995717"/>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fontAlgn="base">
              <a:spcBef>
                <a:spcPct val="0"/>
              </a:spcBef>
              <a:spcAft>
                <a:spcPct val="0"/>
              </a:spcAft>
            </a:pPr>
            <a:endParaRPr lang="en-US" sz="1800" dirty="0">
              <a:solidFill>
                <a:srgbClr val="1F1F1F"/>
              </a:solidFill>
            </a:endParaRPr>
          </a:p>
        </p:txBody>
      </p:sp>
      <p:sp>
        <p:nvSpPr>
          <p:cNvPr id="19" name="Rectangle 1189"/>
          <p:cNvSpPr>
            <a:spLocks noChangeArrowheads="1"/>
          </p:cNvSpPr>
          <p:nvPr userDrawn="1"/>
        </p:nvSpPr>
        <p:spPr bwMode="auto">
          <a:xfrm>
            <a:off x="2" y="4"/>
            <a:ext cx="1218768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1" tIns="45702" rIns="91401" bIns="45702" anchor="ctr"/>
          <a:lstStyle/>
          <a:p>
            <a:pPr defTabSz="914013" fontAlgn="base">
              <a:spcBef>
                <a:spcPct val="0"/>
              </a:spcBef>
              <a:spcAft>
                <a:spcPct val="0"/>
              </a:spcAft>
            </a:pPr>
            <a:endParaRPr lang="en-US" sz="1600" dirty="0">
              <a:solidFill>
                <a:srgbClr val="1F1F1F"/>
              </a:solidFill>
            </a:endParaRPr>
          </a:p>
        </p:txBody>
      </p:sp>
      <p:sp>
        <p:nvSpPr>
          <p:cNvPr id="4" name="Working Draft Text"/>
          <p:cNvSpPr txBox="1">
            <a:spLocks noChangeArrowheads="1"/>
          </p:cNvSpPr>
          <p:nvPr/>
        </p:nvSpPr>
        <p:spPr bwMode="auto">
          <a:xfrm>
            <a:off x="3390168" y="126143"/>
            <a:ext cx="110607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000" b="1" dirty="0">
                <a:solidFill>
                  <a:srgbClr val="FFFFFF"/>
                </a:solidFill>
                <a:latin typeface="Arial"/>
              </a:rPr>
              <a:t>WORKING DRAFT</a:t>
            </a:r>
          </a:p>
        </p:txBody>
      </p:sp>
      <p:sp>
        <p:nvSpPr>
          <p:cNvPr id="6" name="Working Draft"/>
          <p:cNvSpPr txBox="1">
            <a:spLocks noChangeArrowheads="1"/>
          </p:cNvSpPr>
          <p:nvPr/>
        </p:nvSpPr>
        <p:spPr bwMode="auto">
          <a:xfrm>
            <a:off x="3390153" y="284903"/>
            <a:ext cx="389850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000">
                <a:solidFill>
                  <a:srgbClr val="FFFFFF"/>
                </a:solidFill>
                <a:latin typeface="Arial"/>
              </a:rPr>
              <a:t>Last Modified 2017-09-15 01:01 AM W. Central Africa Standard Time</a:t>
            </a:r>
            <a:endParaRPr lang="en-US" sz="1000" dirty="0">
              <a:solidFill>
                <a:srgbClr val="FFFFFF"/>
              </a:solidFill>
              <a:latin typeface="Arial"/>
            </a:endParaRPr>
          </a:p>
        </p:txBody>
      </p:sp>
      <p:sp>
        <p:nvSpPr>
          <p:cNvPr id="7" name="Printed"/>
          <p:cNvSpPr txBox="1">
            <a:spLocks noChangeArrowheads="1"/>
          </p:cNvSpPr>
          <p:nvPr/>
        </p:nvSpPr>
        <p:spPr bwMode="auto">
          <a:xfrm>
            <a:off x="3390171" y="445237"/>
            <a:ext cx="40395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000" dirty="0">
                <a:solidFill>
                  <a:srgbClr val="FFFFFF"/>
                </a:solidFill>
                <a:latin typeface="Arial"/>
              </a:rPr>
              <a:t>Printed</a:t>
            </a:r>
          </a:p>
        </p:txBody>
      </p:sp>
      <p:grpSp>
        <p:nvGrpSpPr>
          <p:cNvPr id="8" name="McK Title Elements" hidden="1"/>
          <p:cNvGrpSpPr>
            <a:grpSpLocks/>
          </p:cNvGrpSpPr>
          <p:nvPr/>
        </p:nvGrpSpPr>
        <p:grpSpPr bwMode="auto">
          <a:xfrm>
            <a:off x="3591747" y="3417653"/>
            <a:ext cx="4799047" cy="516699"/>
            <a:chOff x="1663" y="3099"/>
            <a:chExt cx="2222" cy="319"/>
          </a:xfrm>
        </p:grpSpPr>
        <p:sp>
          <p:nvSpPr>
            <p:cNvPr id="9" name="McK Document type"/>
            <p:cNvSpPr txBox="1">
              <a:spLocks noChangeArrowheads="1"/>
            </p:cNvSpPr>
            <p:nvPr/>
          </p:nvSpPr>
          <p:spPr bwMode="auto">
            <a:xfrm>
              <a:off x="1663" y="3099"/>
              <a:ext cx="2222"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500" dirty="0">
                  <a:solidFill>
                    <a:srgbClr val="1F1F1F"/>
                  </a:solidFill>
                  <a:latin typeface="Arial"/>
                </a:rPr>
                <a:t>Document type</a:t>
              </a:r>
            </a:p>
          </p:txBody>
        </p:sp>
        <p:sp>
          <p:nvSpPr>
            <p:cNvPr id="10" name="McK Date"/>
            <p:cNvSpPr txBox="1">
              <a:spLocks noChangeArrowheads="1"/>
            </p:cNvSpPr>
            <p:nvPr/>
          </p:nvSpPr>
          <p:spPr bwMode="auto">
            <a:xfrm>
              <a:off x="1663" y="3275"/>
              <a:ext cx="2222"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013" eaLnBrk="1" fontAlgn="base" hangingPunct="1">
                <a:spcBef>
                  <a:spcPct val="0"/>
                </a:spcBef>
                <a:spcAft>
                  <a:spcPct val="0"/>
                </a:spcAft>
                <a:defRPr/>
              </a:pPr>
              <a:r>
                <a:rPr lang="en-US" sz="1500" dirty="0">
                  <a:solidFill>
                    <a:srgbClr val="1F1F1F"/>
                  </a:solidFill>
                  <a:latin typeface="Arial"/>
                </a:rPr>
                <a:t>Date</a:t>
              </a:r>
            </a:p>
          </p:txBody>
        </p:sp>
      </p:grpSp>
      <p:sp>
        <p:nvSpPr>
          <p:cNvPr id="13314" name="Rectangle 1026"/>
          <p:cNvSpPr>
            <a:spLocks noGrp="1" noChangeArrowheads="1"/>
          </p:cNvSpPr>
          <p:nvPr>
            <p:ph type="ctrTitle"/>
          </p:nvPr>
        </p:nvSpPr>
        <p:spPr bwMode="auto">
          <a:xfrm>
            <a:off x="3591733" y="1196748"/>
            <a:ext cx="8297731" cy="507831"/>
          </a:xfrm>
          <a:prstGeom prst="rect">
            <a:avLst/>
          </a:prstGeom>
        </p:spPr>
        <p:txBody>
          <a:bodyPr wrap="square">
            <a:spAutoFit/>
          </a:bodyPr>
          <a:lstStyle>
            <a:lvl1pPr>
              <a:defRPr sz="3300" b="0" baseline="0">
                <a:solidFill>
                  <a:schemeClr val="tx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3591733" y="2454174"/>
            <a:ext cx="8297731" cy="230832"/>
          </a:xfrm>
        </p:spPr>
        <p:txBody>
          <a:bodyPr wrap="square">
            <a:spAutoFit/>
          </a:bodyPr>
          <a:lstStyle>
            <a:lvl1pPr>
              <a:defRPr sz="1500" baseline="0">
                <a:solidFill>
                  <a:schemeClr val="tx1"/>
                </a:solidFill>
                <a:latin typeface="+mn-lt"/>
                <a:ea typeface="+mn-ea"/>
              </a:defRPr>
            </a:lvl1pPr>
          </a:lstStyle>
          <a:p>
            <a:pPr lvl="0"/>
            <a:r>
              <a:rPr lang="en-US" noProof="0"/>
              <a:t>Click to edit Master subtitle style</a:t>
            </a:r>
            <a:endParaRPr lang="en-US" noProof="0" dirty="0"/>
          </a:p>
        </p:txBody>
      </p:sp>
      <p:sp>
        <p:nvSpPr>
          <p:cNvPr id="15" name="doc id"/>
          <p:cNvSpPr>
            <a:spLocks noChangeArrowheads="1"/>
          </p:cNvSpPr>
          <p:nvPr userDrawn="1"/>
        </p:nvSpPr>
        <p:spPr bwMode="auto">
          <a:xfrm>
            <a:off x="11064593"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137" fontAlgn="base">
              <a:spcBef>
                <a:spcPct val="0"/>
              </a:spcBef>
              <a:spcAft>
                <a:spcPct val="0"/>
              </a:spcAft>
            </a:pPr>
            <a:endParaRPr lang="en-US" sz="900" dirty="0">
              <a:solidFill>
                <a:srgbClr val="FFFFFF"/>
              </a:solidFill>
            </a:endParaRPr>
          </a:p>
        </p:txBody>
      </p:sp>
    </p:spTree>
    <p:extLst>
      <p:ext uri="{BB962C8B-B14F-4D97-AF65-F5344CB8AC3E}">
        <p14:creationId xmlns:p14="http://schemas.microsoft.com/office/powerpoint/2010/main" val="4151292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79" y="1628"/>
          <a:ext cx="2159" cy="1619"/>
        </p:xfrm>
        <a:graphic>
          <a:graphicData uri="http://schemas.openxmlformats.org/presentationml/2006/ole">
            <mc:AlternateContent xmlns:mc="http://schemas.openxmlformats.org/markup-compatibility/2006">
              <mc:Choice xmlns:v="urn:schemas-microsoft-com:vml" Requires="v">
                <p:oleObj spid="_x0000_s494661"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79" y="1628"/>
                        <a:ext cx="2159"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28014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79" y="1628"/>
          <a:ext cx="2159" cy="1619"/>
        </p:xfrm>
        <a:graphic>
          <a:graphicData uri="http://schemas.openxmlformats.org/presentationml/2006/ole">
            <mc:AlternateContent xmlns:mc="http://schemas.openxmlformats.org/markup-compatibility/2006">
              <mc:Choice xmlns:v="urn:schemas-microsoft-com:vml" Requires="v">
                <p:oleObj spid="_x0000_s495685"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2179" y="1628"/>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431732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5981" indent="0">
              <a:buNone/>
              <a:defRPr sz="2800"/>
            </a:lvl2pPr>
            <a:lvl3pPr marL="911969" indent="0">
              <a:buNone/>
              <a:defRPr sz="2400"/>
            </a:lvl3pPr>
            <a:lvl4pPr marL="1367953" indent="0">
              <a:buNone/>
              <a:defRPr sz="1900"/>
            </a:lvl4pPr>
            <a:lvl5pPr marL="1823939" indent="0">
              <a:buNone/>
              <a:defRPr sz="1900"/>
            </a:lvl5pPr>
            <a:lvl6pPr marL="2279928" indent="0">
              <a:buNone/>
              <a:defRPr sz="1900"/>
            </a:lvl6pPr>
            <a:lvl7pPr marL="2735910" indent="0">
              <a:buNone/>
              <a:defRPr sz="1900"/>
            </a:lvl7pPr>
            <a:lvl8pPr marL="3191889" indent="0">
              <a:buNone/>
              <a:defRPr sz="1900"/>
            </a:lvl8pPr>
            <a:lvl9pPr marL="3647869" indent="0">
              <a:buNone/>
              <a:defRPr sz="1900"/>
            </a:lvl9pPr>
          </a:lstStyle>
          <a:p>
            <a:r>
              <a:rPr lang="en-US"/>
              <a:t>Click icon to add picture</a:t>
            </a:r>
            <a:endParaRPr lang="en-US" dirty="0"/>
          </a:p>
        </p:txBody>
      </p:sp>
      <p:sp>
        <p:nvSpPr>
          <p:cNvPr id="4" name="Text Placeholder 3"/>
          <p:cNvSpPr>
            <a:spLocks noGrp="1"/>
          </p:cNvSpPr>
          <p:nvPr>
            <p:ph type="body" sz="half" idx="2"/>
          </p:nvPr>
        </p:nvSpPr>
        <p:spPr>
          <a:xfrm>
            <a:off x="839791" y="2057407"/>
            <a:ext cx="3932237" cy="3811588"/>
          </a:xfrm>
        </p:spPr>
        <p:txBody>
          <a:bodyPr/>
          <a:lstStyle>
            <a:lvl1pPr marL="0" indent="0">
              <a:buNone/>
              <a:defRPr sz="1600"/>
            </a:lvl1pPr>
            <a:lvl2pPr marL="455981" indent="0">
              <a:buNone/>
              <a:defRPr sz="1500"/>
            </a:lvl2pPr>
            <a:lvl3pPr marL="911969" indent="0">
              <a:buNone/>
              <a:defRPr sz="1200"/>
            </a:lvl3pPr>
            <a:lvl4pPr marL="1367953" indent="0">
              <a:buNone/>
              <a:defRPr sz="1100"/>
            </a:lvl4pPr>
            <a:lvl5pPr marL="1823939" indent="0">
              <a:buNone/>
              <a:defRPr sz="1100"/>
            </a:lvl5pPr>
            <a:lvl6pPr marL="2279928" indent="0">
              <a:buNone/>
              <a:defRPr sz="1100"/>
            </a:lvl6pPr>
            <a:lvl7pPr marL="2735910" indent="0">
              <a:buNone/>
              <a:defRPr sz="1100"/>
            </a:lvl7pPr>
            <a:lvl8pPr marL="3191889" indent="0">
              <a:buNone/>
              <a:defRPr sz="1100"/>
            </a:lvl8pPr>
            <a:lvl9pPr marL="3647869"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fld id="{5BB39128-44CA-4633-954E-73D30279EF1D}" type="datetime1">
              <a:rPr lang="en-US" smtClean="0">
                <a:solidFill>
                  <a:prstClr val="black">
                    <a:tint val="75000"/>
                  </a:prstClr>
                </a:solidFill>
              </a:rPr>
              <a:t>4/3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78E596B-AA80-4BB2-8707-B351070E73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5270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78" y="4407354"/>
            <a:ext cx="10362659" cy="723228"/>
          </a:xfrm>
          <a:prstGeom prst="rect">
            <a:avLst/>
          </a:prstGeom>
        </p:spPr>
        <p:txBody>
          <a:bodyPr lIns="91391" tIns="45697" rIns="91391" bIns="45697"/>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963278" y="4114940"/>
            <a:ext cx="10362659" cy="292388"/>
          </a:xfrm>
        </p:spPr>
        <p:txBody>
          <a:bodyPr anchor="b"/>
          <a:lstStyle>
            <a:lvl1pPr marL="0" indent="0">
              <a:buNone/>
              <a:defRPr sz="1900"/>
            </a:lvl1pPr>
            <a:lvl2pPr marL="465968" indent="0">
              <a:buNone/>
              <a:defRPr sz="1800"/>
            </a:lvl2pPr>
            <a:lvl3pPr marL="931940" indent="0">
              <a:buNone/>
              <a:defRPr sz="1600"/>
            </a:lvl3pPr>
            <a:lvl4pPr marL="1397905" indent="0">
              <a:buNone/>
              <a:defRPr sz="1500"/>
            </a:lvl4pPr>
            <a:lvl5pPr marL="1863878" indent="0">
              <a:buNone/>
              <a:defRPr sz="1500"/>
            </a:lvl5pPr>
            <a:lvl6pPr marL="2329847" indent="0">
              <a:buNone/>
              <a:defRPr sz="1500"/>
            </a:lvl6pPr>
            <a:lvl7pPr marL="2795812" indent="0">
              <a:buNone/>
              <a:defRPr sz="1500"/>
            </a:lvl7pPr>
            <a:lvl8pPr marL="3261783" indent="0">
              <a:buNone/>
              <a:defRPr sz="1500"/>
            </a:lvl8pPr>
            <a:lvl9pPr marL="3727751" indent="0">
              <a:buNone/>
              <a:defRPr sz="1500"/>
            </a:lvl9pPr>
          </a:lstStyle>
          <a:p>
            <a:pPr lvl="0"/>
            <a:r>
              <a:rPr lang="en-US"/>
              <a:t>Click to edit Master text styles</a:t>
            </a:r>
          </a:p>
        </p:txBody>
      </p:sp>
    </p:spTree>
    <p:extLst>
      <p:ext uri="{BB962C8B-B14F-4D97-AF65-F5344CB8AC3E}">
        <p14:creationId xmlns:p14="http://schemas.microsoft.com/office/powerpoint/2010/main" val="7936509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203" y="1642"/>
          <a:ext cx="2159" cy="1619"/>
        </p:xfrm>
        <a:graphic>
          <a:graphicData uri="http://schemas.openxmlformats.org/presentationml/2006/ole">
            <mc:AlternateContent xmlns:mc="http://schemas.openxmlformats.org/markup-compatibility/2006">
              <mc:Choice xmlns:v="urn:schemas-microsoft-com:vml" Requires="v">
                <p:oleObj spid="_x0000_s64001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3" y="164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F06D5742-CE20-4D05-9D3F-56E9431E55AA}"/>
              </a:ext>
            </a:extLst>
          </p:cNvPr>
          <p:cNvSpPr/>
          <p:nvPr userDrawn="1">
            <p:custDataLst>
              <p:tags r:id="rId3"/>
            </p:custDataLst>
          </p:nvPr>
        </p:nvSpPr>
        <p:spPr>
          <a:xfrm>
            <a:off x="4" y="0"/>
            <a:ext cx="211667"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007">
              <a:spcBef>
                <a:spcPct val="0"/>
              </a:spcBef>
              <a:spcAft>
                <a:spcPct val="0"/>
              </a:spcAft>
            </a:pPr>
            <a:endParaRPr lang="en-US" sz="3300" dirty="0" err="1">
              <a:solidFill>
                <a:srgbClr val="1F1F1F"/>
              </a:solidFill>
              <a:sym typeface="Arial" panose="020B0604020202020204" pitchFamily="34" charset="0"/>
            </a:endParaRPr>
          </a:p>
        </p:txBody>
      </p:sp>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bwMode="ltGray">
          <a:xfrm>
            <a:off x="2161" y="-1"/>
            <a:ext cx="12187680" cy="6858001"/>
          </a:xfrm>
          <a:prstGeom prst="rect">
            <a:avLst/>
          </a:prstGeom>
        </p:spPr>
      </p:pic>
      <p:sp>
        <p:nvSpPr>
          <p:cNvPr id="19" name="Rectangle 1189"/>
          <p:cNvSpPr>
            <a:spLocks noChangeArrowheads="1"/>
          </p:cNvSpPr>
          <p:nvPr userDrawn="1"/>
        </p:nvSpPr>
        <p:spPr bwMode="auto">
          <a:xfrm>
            <a:off x="24" y="22"/>
            <a:ext cx="1218768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076" tIns="46540" rIns="93076" bIns="46540" anchor="ctr"/>
          <a:lstStyle/>
          <a:p>
            <a:pPr defTabSz="911788" fontAlgn="base">
              <a:spcBef>
                <a:spcPct val="0"/>
              </a:spcBef>
              <a:spcAft>
                <a:spcPct val="0"/>
              </a:spcAft>
            </a:pPr>
            <a:endParaRPr lang="en-US" sz="1600" dirty="0">
              <a:solidFill>
                <a:srgbClr val="1F1F1F"/>
              </a:solidFill>
            </a:endParaRPr>
          </a:p>
        </p:txBody>
      </p:sp>
      <p:sp>
        <p:nvSpPr>
          <p:cNvPr id="4" name="Working Draft Text" hidden="1"/>
          <p:cNvSpPr txBox="1">
            <a:spLocks noChangeArrowheads="1"/>
          </p:cNvSpPr>
          <p:nvPr/>
        </p:nvSpPr>
        <p:spPr bwMode="auto">
          <a:xfrm>
            <a:off x="3591730" y="350321"/>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788" eaLnBrk="1" fontAlgn="base" hangingPunct="1">
              <a:spcBef>
                <a:spcPct val="0"/>
              </a:spcBef>
              <a:spcAft>
                <a:spcPct val="0"/>
              </a:spcAft>
              <a:defRPr/>
            </a:pPr>
            <a:r>
              <a:rPr lang="en-US" sz="900" b="1" dirty="0">
                <a:solidFill>
                  <a:srgbClr val="FFFFFF"/>
                </a:solidFill>
                <a:latin typeface="Arial"/>
              </a:rPr>
              <a:t>WORKING DRAFT</a:t>
            </a:r>
          </a:p>
        </p:txBody>
      </p:sp>
      <p:sp>
        <p:nvSpPr>
          <p:cNvPr id="6" name="Working Draft" hidden="1"/>
          <p:cNvSpPr txBox="1">
            <a:spLocks noChangeArrowheads="1"/>
          </p:cNvSpPr>
          <p:nvPr/>
        </p:nvSpPr>
        <p:spPr bwMode="auto">
          <a:xfrm>
            <a:off x="3591727" y="508604"/>
            <a:ext cx="352660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788" eaLnBrk="1" fontAlgn="base" hangingPunct="1">
              <a:spcBef>
                <a:spcPct val="0"/>
              </a:spcBef>
              <a:spcAft>
                <a:spcPct val="0"/>
              </a:spcAft>
              <a:defRPr/>
            </a:pPr>
            <a:r>
              <a:rPr lang="en-US" sz="900">
                <a:solidFill>
                  <a:srgbClr val="FFFFFF"/>
                </a:solidFill>
                <a:latin typeface="Arial"/>
              </a:rPr>
              <a:t>Last Modified 2015-12-14 07:07 AM W. Central Africa Standard Time</a:t>
            </a:r>
            <a:endParaRPr lang="en-US" sz="900" dirty="0">
              <a:solidFill>
                <a:srgbClr val="FFFFFF"/>
              </a:solidFill>
              <a:latin typeface="Arial"/>
            </a:endParaRPr>
          </a:p>
        </p:txBody>
      </p:sp>
      <p:sp>
        <p:nvSpPr>
          <p:cNvPr id="7" name="Printed" hidden="1"/>
          <p:cNvSpPr txBox="1">
            <a:spLocks noChangeArrowheads="1"/>
          </p:cNvSpPr>
          <p:nvPr/>
        </p:nvSpPr>
        <p:spPr bwMode="auto">
          <a:xfrm>
            <a:off x="3591730" y="669428"/>
            <a:ext cx="31931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788" eaLnBrk="1" fontAlgn="base" hangingPunct="1">
              <a:spcBef>
                <a:spcPct val="0"/>
              </a:spcBef>
              <a:spcAft>
                <a:spcPct val="0"/>
              </a:spcAft>
              <a:defRPr/>
            </a:pPr>
            <a:r>
              <a:rPr lang="en-US" sz="900" dirty="0">
                <a:solidFill>
                  <a:srgbClr val="FFFFFF"/>
                </a:solidFill>
                <a:latin typeface="Arial"/>
              </a:rPr>
              <a:t>Printed 2015/03/17 03:13 PM W. Central Africa Standard Time</a:t>
            </a:r>
          </a:p>
        </p:txBody>
      </p:sp>
      <p:grpSp>
        <p:nvGrpSpPr>
          <p:cNvPr id="3" name="McK Title Elements" hidden="1"/>
          <p:cNvGrpSpPr>
            <a:grpSpLocks/>
          </p:cNvGrpSpPr>
          <p:nvPr/>
        </p:nvGrpSpPr>
        <p:grpSpPr bwMode="auto">
          <a:xfrm>
            <a:off x="3591768" y="4279360"/>
            <a:ext cx="6967472" cy="1245584"/>
            <a:chOff x="1663" y="3099"/>
            <a:chExt cx="3226" cy="769"/>
          </a:xfrm>
        </p:grpSpPr>
        <p:sp>
          <p:nvSpPr>
            <p:cNvPr id="9" name="McK Document type"/>
            <p:cNvSpPr txBox="1">
              <a:spLocks noChangeArrowheads="1"/>
            </p:cNvSpPr>
            <p:nvPr/>
          </p:nvSpPr>
          <p:spPr bwMode="auto">
            <a:xfrm>
              <a:off x="1663" y="3099"/>
              <a:ext cx="2222"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788" eaLnBrk="1" fontAlgn="base" hangingPunct="1">
                <a:spcBef>
                  <a:spcPct val="0"/>
                </a:spcBef>
                <a:spcAft>
                  <a:spcPct val="0"/>
                </a:spcAft>
                <a:defRPr/>
              </a:pPr>
              <a:r>
                <a:rPr lang="en-US" sz="1500" dirty="0">
                  <a:solidFill>
                    <a:srgbClr val="1F1F1F"/>
                  </a:solidFill>
                  <a:latin typeface="Arial"/>
                </a:rPr>
                <a:t>Document type</a:t>
              </a:r>
            </a:p>
          </p:txBody>
        </p:sp>
        <p:sp>
          <p:nvSpPr>
            <p:cNvPr id="10" name="McK Date"/>
            <p:cNvSpPr txBox="1">
              <a:spLocks noChangeArrowheads="1"/>
            </p:cNvSpPr>
            <p:nvPr/>
          </p:nvSpPr>
          <p:spPr bwMode="auto">
            <a:xfrm>
              <a:off x="1663" y="3275"/>
              <a:ext cx="2222"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788" eaLnBrk="1" fontAlgn="base" hangingPunct="1">
                <a:spcBef>
                  <a:spcPct val="0"/>
                </a:spcBef>
                <a:spcAft>
                  <a:spcPct val="0"/>
                </a:spcAft>
                <a:defRPr/>
              </a:pPr>
              <a:r>
                <a:rPr lang="en-US" sz="1500" dirty="0">
                  <a:solidFill>
                    <a:srgbClr val="1F1F1F"/>
                  </a:solidFill>
                  <a:latin typeface="Arial"/>
                </a:rPr>
                <a:t>Date</a:t>
              </a:r>
            </a:p>
          </p:txBody>
        </p:sp>
        <p:sp>
          <p:nvSpPr>
            <p:cNvPr id="11" name="McK Disclaimer"/>
            <p:cNvSpPr>
              <a:spLocks noChangeArrowheads="1"/>
            </p:cNvSpPr>
            <p:nvPr/>
          </p:nvSpPr>
          <p:spPr bwMode="auto">
            <a:xfrm>
              <a:off x="1663" y="3697"/>
              <a:ext cx="3226" cy="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9291" eaLnBrk="0" fontAlgn="base" hangingPunct="0">
                <a:spcBef>
                  <a:spcPct val="0"/>
                </a:spcBef>
                <a:spcAft>
                  <a:spcPct val="0"/>
                </a:spcAft>
              </a:pPr>
              <a:r>
                <a:rPr lang="en-US" sz="900" dirty="0">
                  <a:solidFill>
                    <a:srgbClr val="1F1F1F"/>
                  </a:solidFill>
                </a:rPr>
                <a:t>CONFIDENTIAL AND PROPRIETARY</a:t>
              </a:r>
            </a:p>
            <a:p>
              <a:pPr defTabSz="819291" eaLnBrk="0" fontAlgn="base" hangingPunct="0">
                <a:spcBef>
                  <a:spcPct val="0"/>
                </a:spcBef>
                <a:spcAft>
                  <a:spcPct val="0"/>
                </a:spcAft>
              </a:pPr>
              <a:r>
                <a:rPr lang="en-US" sz="900" dirty="0">
                  <a:solidFill>
                    <a:srgbClr val="1F1F1F"/>
                  </a:solidFill>
                </a:rPr>
                <a:t>Any use of this material without specific permission of McKinsey &amp; Company is strictly prohibited</a:t>
              </a:r>
            </a:p>
          </p:txBody>
        </p:sp>
      </p:grpSp>
      <p:sp>
        <p:nvSpPr>
          <p:cNvPr id="13314" name="Rectangle 1026"/>
          <p:cNvSpPr>
            <a:spLocks noGrp="1" noChangeArrowheads="1"/>
          </p:cNvSpPr>
          <p:nvPr>
            <p:ph type="ctrTitle"/>
          </p:nvPr>
        </p:nvSpPr>
        <p:spPr>
          <a:xfrm>
            <a:off x="3591733" y="1197202"/>
            <a:ext cx="8297731" cy="507831"/>
          </a:xfrm>
          <a:prstGeom prst="rect">
            <a:avLst/>
          </a:prstGeom>
        </p:spPr>
        <p:txBody>
          <a:bodyPr wrap="square">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3591737" y="2885024"/>
            <a:ext cx="3777467" cy="230832"/>
          </a:xfrm>
        </p:spPr>
        <p:txBody>
          <a:bodyPr wrap="square">
            <a:spAutoFit/>
          </a:bodyPr>
          <a:lstStyle>
            <a:lvl1pPr>
              <a:defRPr sz="1500" baseline="0">
                <a:latin typeface="+mn-lt"/>
                <a:ea typeface="+mn-ea"/>
              </a:defRPr>
            </a:lvl1pPr>
          </a:lstStyle>
          <a:p>
            <a:pPr lvl="0"/>
            <a:r>
              <a:rPr lang="en-US" noProof="0"/>
              <a:t>Click to edit Master subtitle style</a:t>
            </a:r>
            <a:endParaRPr lang="en-US" noProof="0" dirty="0"/>
          </a:p>
        </p:txBody>
      </p:sp>
      <p:sp>
        <p:nvSpPr>
          <p:cNvPr id="15" name="doc id"/>
          <p:cNvSpPr>
            <a:spLocks noChangeArrowheads="1"/>
          </p:cNvSpPr>
          <p:nvPr userDrawn="1"/>
        </p:nvSpPr>
        <p:spPr bwMode="auto">
          <a:xfrm>
            <a:off x="11064608"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1398" fontAlgn="base">
              <a:spcBef>
                <a:spcPct val="0"/>
              </a:spcBef>
              <a:spcAft>
                <a:spcPct val="0"/>
              </a:spcAft>
            </a:pPr>
            <a:endParaRPr lang="en-US" sz="900" dirty="0">
              <a:solidFill>
                <a:srgbClr val="FFFFFF"/>
              </a:solidFill>
            </a:endParaRPr>
          </a:p>
        </p:txBody>
      </p:sp>
    </p:spTree>
    <p:extLst>
      <p:ext uri="{BB962C8B-B14F-4D97-AF65-F5344CB8AC3E}">
        <p14:creationId xmlns:p14="http://schemas.microsoft.com/office/powerpoint/2010/main" val="28260395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19839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52314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668486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8168180"/>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6461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ltGray">
          <a:xfrm>
            <a:off x="2161" y="-1"/>
            <a:ext cx="12187680" cy="6858001"/>
          </a:xfrm>
          <a:prstGeom prst="rect">
            <a:avLst/>
          </a:prstGeom>
        </p:spPr>
      </p:pic>
      <p:sp>
        <p:nvSpPr>
          <p:cNvPr id="17" name="Rectangle 16"/>
          <p:cNvSpPr/>
          <p:nvPr userDrawn="1"/>
        </p:nvSpPr>
        <p:spPr bwMode="ltGray">
          <a:xfrm>
            <a:off x="3390152" y="1086040"/>
            <a:ext cx="8801489" cy="2995717"/>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11063" tIns="55532" rIns="111063" bIns="55532" rtlCol="0" anchor="ctr"/>
          <a:lstStyle/>
          <a:p>
            <a:pPr algn="ctr" defTabSz="914400" fontAlgn="base">
              <a:spcBef>
                <a:spcPct val="0"/>
              </a:spcBef>
              <a:spcAft>
                <a:spcPct val="0"/>
              </a:spcAft>
            </a:pPr>
            <a:endParaRPr lang="en-US" sz="2200" dirty="0" err="1">
              <a:solidFill>
                <a:srgbClr val="1F1F1F"/>
              </a:solidFill>
            </a:endParaRPr>
          </a:p>
        </p:txBody>
      </p:sp>
      <p:sp>
        <p:nvSpPr>
          <p:cNvPr id="19" name="Rectangle 1189"/>
          <p:cNvSpPr>
            <a:spLocks noChangeArrowheads="1"/>
          </p:cNvSpPr>
          <p:nvPr userDrawn="1"/>
        </p:nvSpPr>
        <p:spPr bwMode="auto">
          <a:xfrm>
            <a:off x="1" y="1"/>
            <a:ext cx="1218768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1063" tIns="55532" rIns="111063" bIns="55532" anchor="ctr"/>
          <a:lstStyle/>
          <a:p>
            <a:pPr defTabSz="914400" fontAlgn="base">
              <a:spcBef>
                <a:spcPct val="0"/>
              </a:spcBef>
              <a:spcAft>
                <a:spcPct val="0"/>
              </a:spcAft>
            </a:pPr>
            <a:endParaRPr lang="en-US" dirty="0">
              <a:solidFill>
                <a:srgbClr val="1F1F1F"/>
              </a:solidFill>
            </a:endParaRPr>
          </a:p>
        </p:txBody>
      </p:sp>
      <p:sp>
        <p:nvSpPr>
          <p:cNvPr id="4" name="Working Draft Text"/>
          <p:cNvSpPr txBox="1">
            <a:spLocks noChangeArrowheads="1"/>
          </p:cNvSpPr>
          <p:nvPr/>
        </p:nvSpPr>
        <p:spPr bwMode="auto">
          <a:xfrm>
            <a:off x="3390152" y="126143"/>
            <a:ext cx="12166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100" b="1" dirty="0">
                <a:solidFill>
                  <a:srgbClr val="FFFFFF"/>
                </a:solidFill>
                <a:latin typeface="Arial"/>
              </a:rPr>
              <a:t>WORKING DRAFT</a:t>
            </a:r>
          </a:p>
        </p:txBody>
      </p:sp>
      <p:sp>
        <p:nvSpPr>
          <p:cNvPr id="6" name="Working Draft"/>
          <p:cNvSpPr txBox="1">
            <a:spLocks noChangeArrowheads="1"/>
          </p:cNvSpPr>
          <p:nvPr/>
        </p:nvSpPr>
        <p:spPr bwMode="auto">
          <a:xfrm>
            <a:off x="3390152" y="284878"/>
            <a:ext cx="4211089"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100">
                <a:solidFill>
                  <a:srgbClr val="FFFFFF"/>
                </a:solidFill>
                <a:latin typeface="Arial"/>
              </a:rPr>
              <a:t>Last Modified 2017/10/17 6:26 PM W. Central Africa Standard Time</a:t>
            </a:r>
            <a:endParaRPr lang="en-US" sz="1100" dirty="0">
              <a:solidFill>
                <a:srgbClr val="FFFFFF"/>
              </a:solidFill>
              <a:latin typeface="Arial"/>
            </a:endParaRPr>
          </a:p>
        </p:txBody>
      </p:sp>
      <p:sp>
        <p:nvSpPr>
          <p:cNvPr id="7" name="Printed"/>
          <p:cNvSpPr txBox="1">
            <a:spLocks noChangeArrowheads="1"/>
          </p:cNvSpPr>
          <p:nvPr/>
        </p:nvSpPr>
        <p:spPr bwMode="auto">
          <a:xfrm>
            <a:off x="3390152" y="445233"/>
            <a:ext cx="447238"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100" dirty="0">
                <a:solidFill>
                  <a:srgbClr val="FFFFFF"/>
                </a:solidFill>
                <a:latin typeface="Arial"/>
              </a:rPr>
              <a:t>Printed</a:t>
            </a:r>
          </a:p>
        </p:txBody>
      </p:sp>
      <p:grpSp>
        <p:nvGrpSpPr>
          <p:cNvPr id="8" name="Title Elements" hidden="1"/>
          <p:cNvGrpSpPr>
            <a:grpSpLocks/>
          </p:cNvGrpSpPr>
          <p:nvPr/>
        </p:nvGrpSpPr>
        <p:grpSpPr bwMode="auto">
          <a:xfrm>
            <a:off x="3591728" y="3386879"/>
            <a:ext cx="4799047" cy="578249"/>
            <a:chOff x="1663" y="3080"/>
            <a:chExt cx="2222" cy="357"/>
          </a:xfrm>
        </p:grpSpPr>
        <p:sp>
          <p:nvSpPr>
            <p:cNvPr id="9" name="Title Elements"/>
            <p:cNvSpPr txBox="1">
              <a:spLocks noChangeArrowheads="1"/>
            </p:cNvSpPr>
            <p:nvPr/>
          </p:nvSpPr>
          <p:spPr bwMode="auto">
            <a:xfrm>
              <a:off x="1663" y="3080"/>
              <a:ext cx="2222"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700" dirty="0">
                  <a:solidFill>
                    <a:srgbClr val="1F1F1F"/>
                  </a:solidFill>
                  <a:latin typeface="Arial"/>
                </a:rPr>
                <a:t>Document type</a:t>
              </a:r>
            </a:p>
          </p:txBody>
        </p:sp>
        <p:sp>
          <p:nvSpPr>
            <p:cNvPr id="10" name="Title Elements"/>
            <p:cNvSpPr txBox="1">
              <a:spLocks noChangeArrowheads="1"/>
            </p:cNvSpPr>
            <p:nvPr/>
          </p:nvSpPr>
          <p:spPr bwMode="auto">
            <a:xfrm>
              <a:off x="1663" y="3275"/>
              <a:ext cx="2222"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700" dirty="0">
                  <a:solidFill>
                    <a:srgbClr val="1F1F1F"/>
                  </a:solidFill>
                  <a:latin typeface="Arial"/>
                </a:rPr>
                <a:t>Date</a:t>
              </a:r>
            </a:p>
          </p:txBody>
        </p:sp>
      </p:grpSp>
      <p:sp>
        <p:nvSpPr>
          <p:cNvPr id="13314" name="Rectangle 1026"/>
          <p:cNvSpPr>
            <a:spLocks noGrp="1" noChangeArrowheads="1"/>
          </p:cNvSpPr>
          <p:nvPr>
            <p:ph type="ctrTitle"/>
          </p:nvPr>
        </p:nvSpPr>
        <p:spPr bwMode="auto">
          <a:xfrm>
            <a:off x="3591727" y="1196724"/>
            <a:ext cx="8297730" cy="600164"/>
          </a:xfrm>
          <a:prstGeom prst="rect">
            <a:avLst/>
          </a:prstGeom>
        </p:spPr>
        <p:txBody>
          <a:bodyPr wrap="square">
            <a:spAutoFit/>
          </a:bodyPr>
          <a:lstStyle>
            <a:lvl1pPr>
              <a:defRPr sz="3900" b="0" baseline="0">
                <a:solidFill>
                  <a:schemeClr val="tx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3591727" y="2454174"/>
            <a:ext cx="8297730" cy="261610"/>
          </a:xfrm>
        </p:spPr>
        <p:txBody>
          <a:bodyPr wrap="square">
            <a:spAutoFit/>
          </a:bodyPr>
          <a:lstStyle>
            <a:lvl1pPr>
              <a:defRPr sz="1700" baseline="0">
                <a:solidFill>
                  <a:schemeClr val="tx1"/>
                </a:solidFill>
                <a:latin typeface="+mn-lt"/>
                <a:ea typeface="+mn-ea"/>
              </a:defRPr>
            </a:lvl1pPr>
          </a:lstStyle>
          <a:p>
            <a:pPr lvl="0"/>
            <a:r>
              <a:rPr lang="en-US" noProof="0"/>
              <a:t>Click to edit Master subtitle style</a:t>
            </a:r>
            <a:endParaRPr lang="en-US" noProof="0" dirty="0"/>
          </a:p>
        </p:txBody>
      </p:sp>
      <p:sp>
        <p:nvSpPr>
          <p:cNvPr id="15" name="doc id"/>
          <p:cNvSpPr>
            <a:spLocks noChangeArrowheads="1"/>
          </p:cNvSpPr>
          <p:nvPr userDrawn="1"/>
        </p:nvSpPr>
        <p:spPr bwMode="auto">
          <a:xfrm>
            <a:off x="11064592"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087492" fontAlgn="base">
              <a:spcBef>
                <a:spcPct val="0"/>
              </a:spcBef>
              <a:spcAft>
                <a:spcPct val="0"/>
              </a:spcAft>
            </a:pPr>
            <a:endParaRPr lang="en-US" sz="1000" dirty="0">
              <a:solidFill>
                <a:srgbClr val="FFFFFF"/>
              </a:solidFill>
            </a:endParaRPr>
          </a:p>
        </p:txBody>
      </p:sp>
    </p:spTree>
    <p:extLst>
      <p:ext uri="{BB962C8B-B14F-4D97-AF65-F5344CB8AC3E}">
        <p14:creationId xmlns:p14="http://schemas.microsoft.com/office/powerpoint/2010/main" val="33727909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29659113"/>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647185"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32795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599126922"/>
              </p:ext>
            </p:ext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spid="_x0000_s6482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1"/>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8"/>
            <a:ext cx="2743201" cy="365125"/>
          </a:xfrm>
          <a:prstGeom prst="rect">
            <a:avLst/>
          </a:prstGeom>
        </p:spPr>
        <p:txBody>
          <a:bodyPr lIns="111063" tIns="55532" rIns="111063" bIns="55532"/>
          <a:lstStyle/>
          <a:p>
            <a:pPr defTabSz="914400" fontAlgn="base">
              <a:spcBef>
                <a:spcPct val="0"/>
              </a:spcBef>
              <a:spcAft>
                <a:spcPct val="0"/>
              </a:spcAft>
            </a:pPr>
            <a:fld id="{2CA19E67-C639-444B-B146-A806802EF2CF}" type="datetimeFigureOut">
              <a:rPr lang="en-US">
                <a:solidFill>
                  <a:prstClr val="black"/>
                </a:solidFill>
              </a:rPr>
              <a:pPr defTabSz="914400" fontAlgn="base">
                <a:spcBef>
                  <a:spcPct val="0"/>
                </a:spcBef>
                <a:spcAft>
                  <a:spcPct val="0"/>
                </a:spcAft>
              </a:pPr>
              <a:t>4/30/2019</a:t>
            </a:fld>
            <a:endParaRPr lang="en-US">
              <a:solidFill>
                <a:prstClr val="black"/>
              </a:solidFill>
            </a:endParaRPr>
          </a:p>
        </p:txBody>
      </p:sp>
      <p:sp>
        <p:nvSpPr>
          <p:cNvPr id="5" name="Footer Placeholder 4"/>
          <p:cNvSpPr>
            <a:spLocks noGrp="1"/>
          </p:cNvSpPr>
          <p:nvPr>
            <p:ph type="ftr" sz="quarter" idx="11"/>
          </p:nvPr>
        </p:nvSpPr>
        <p:spPr>
          <a:xfrm>
            <a:off x="4038601" y="6356358"/>
            <a:ext cx="4114800" cy="365125"/>
          </a:xfrm>
          <a:prstGeom prst="rect">
            <a:avLst/>
          </a:prstGeom>
        </p:spPr>
        <p:txBody>
          <a:bodyPr lIns="111063" tIns="55532" rIns="111063" bIns="55532"/>
          <a:lstStyle/>
          <a:p>
            <a:pPr defTabSz="914400" fontAlgn="base">
              <a:spcBef>
                <a:spcPct val="0"/>
              </a:spcBef>
              <a:spcAft>
                <a:spcPct val="0"/>
              </a:spcAft>
            </a:pPr>
            <a:endParaRPr lang="en-US">
              <a:solidFill>
                <a:prstClr val="black"/>
              </a:solidFill>
            </a:endParaRPr>
          </a:p>
        </p:txBody>
      </p:sp>
      <p:sp>
        <p:nvSpPr>
          <p:cNvPr id="6" name="Slide Number Placeholder 5"/>
          <p:cNvSpPr>
            <a:spLocks noGrp="1"/>
          </p:cNvSpPr>
          <p:nvPr>
            <p:ph type="sldNum" sz="quarter" idx="12"/>
          </p:nvPr>
        </p:nvSpPr>
        <p:spPr>
          <a:xfrm>
            <a:off x="8610599" y="6356358"/>
            <a:ext cx="2743201" cy="365125"/>
          </a:xfrm>
          <a:prstGeom prst="rect">
            <a:avLst/>
          </a:prstGeom>
        </p:spPr>
        <p:txBody>
          <a:bodyPr lIns="111063" tIns="55532" rIns="111063" bIns="55532"/>
          <a:lstStyle/>
          <a:p>
            <a:pPr defTabSz="914400" fontAlgn="base">
              <a:spcBef>
                <a:spcPct val="0"/>
              </a:spcBef>
              <a:spcAft>
                <a:spcPct val="0"/>
              </a:spcAft>
            </a:pPr>
            <a:fld id="{978E596B-AA80-4BB2-8707-B351070E738D}" type="slidenum">
              <a:rPr lang="en-US">
                <a:solidFill>
                  <a:prstClr val="black"/>
                </a:solidFill>
              </a:rPr>
              <a:pPr defTabSz="914400" fontAlgn="base">
                <a:spcBef>
                  <a:spcPct val="0"/>
                </a:spcBef>
                <a:spcAft>
                  <a:spcPct val="0"/>
                </a:spcAft>
              </a:pPr>
              <a:t>‹#›</a:t>
            </a:fld>
            <a:endParaRPr lang="en-US">
              <a:solidFill>
                <a:prstClr val="black"/>
              </a:solidFill>
            </a:endParaRPr>
          </a:p>
        </p:txBody>
      </p:sp>
    </p:spTree>
    <p:extLst>
      <p:ext uri="{BB962C8B-B14F-4D97-AF65-F5344CB8AC3E}">
        <p14:creationId xmlns:p14="http://schemas.microsoft.com/office/powerpoint/2010/main" val="3008539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64" y="2439170"/>
            <a:ext cx="10516004" cy="2123658"/>
          </a:xfrm>
        </p:spPr>
        <p:txBody>
          <a:bodyPr anchor="b"/>
          <a:lstStyle>
            <a:lvl1pPr>
              <a:defRPr sz="6900"/>
            </a:lvl1pPr>
          </a:lstStyle>
          <a:p>
            <a:r>
              <a:rPr lang="en-US"/>
              <a:t>Click to edit Master title style</a:t>
            </a:r>
          </a:p>
        </p:txBody>
      </p:sp>
      <p:sp>
        <p:nvSpPr>
          <p:cNvPr id="3" name="Text Placeholder 2"/>
          <p:cNvSpPr>
            <a:spLocks noGrp="1"/>
          </p:cNvSpPr>
          <p:nvPr>
            <p:ph type="body" idx="1"/>
          </p:nvPr>
        </p:nvSpPr>
        <p:spPr>
          <a:xfrm>
            <a:off x="831664" y="4589034"/>
            <a:ext cx="10516004" cy="415498"/>
          </a:xfrm>
        </p:spPr>
        <p:txBody>
          <a:bodyPr/>
          <a:lstStyle>
            <a:lvl1pPr marL="0" indent="0">
              <a:buNone/>
              <a:defRPr sz="2700"/>
            </a:lvl1pPr>
            <a:lvl2pPr marL="528623" indent="0">
              <a:buNone/>
              <a:defRPr sz="2400"/>
            </a:lvl2pPr>
            <a:lvl3pPr marL="1057246" indent="0">
              <a:buNone/>
              <a:defRPr sz="2100"/>
            </a:lvl3pPr>
            <a:lvl4pPr marL="1585856" indent="0">
              <a:buNone/>
              <a:defRPr sz="1800"/>
            </a:lvl4pPr>
            <a:lvl5pPr marL="2114487" indent="0">
              <a:buNone/>
              <a:defRPr sz="1800"/>
            </a:lvl5pPr>
            <a:lvl6pPr marL="2643114" indent="0">
              <a:buNone/>
              <a:defRPr sz="1800"/>
            </a:lvl6pPr>
            <a:lvl7pPr marL="3171731" indent="0">
              <a:buNone/>
              <a:defRPr sz="1800"/>
            </a:lvl7pPr>
            <a:lvl8pPr marL="3700353" indent="0">
              <a:buNone/>
              <a:defRPr sz="1800"/>
            </a:lvl8pPr>
            <a:lvl9pPr marL="4228980" indent="0">
              <a:buNone/>
              <a:defRPr sz="1800"/>
            </a:lvl9pPr>
          </a:lstStyle>
          <a:p>
            <a:pPr lvl="0"/>
            <a:r>
              <a:rPr lang="en-US"/>
              <a:t>Click to edit Master text styles</a:t>
            </a:r>
          </a:p>
        </p:txBody>
      </p:sp>
    </p:spTree>
    <p:extLst>
      <p:ext uri="{BB962C8B-B14F-4D97-AF65-F5344CB8AC3E}">
        <p14:creationId xmlns:p14="http://schemas.microsoft.com/office/powerpoint/2010/main" val="9414437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defTabSz="914400"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2400" i="1">
                <a:solidFill>
                  <a:schemeClr val="bg2"/>
                </a:solidFill>
              </a:defRPr>
            </a:lvl1pPr>
          </a:lstStyle>
          <a:p>
            <a:r>
              <a:rPr lang="en-US"/>
              <a:t>Click to edit Master subtitle style</a:t>
            </a:r>
            <a:endParaRPr lang="en-US" dirty="0"/>
          </a:p>
        </p:txBody>
      </p:sp>
      <p:sp>
        <p:nvSpPr>
          <p:cNvPr id="266247" name="Rectangle 7"/>
          <p:cNvSpPr>
            <a:spLocks noGrp="1" noChangeArrowheads="1"/>
          </p:cNvSpPr>
          <p:nvPr>
            <p:ph type="ctrTitle" sz="quarter"/>
          </p:nvPr>
        </p:nvSpPr>
        <p:spPr bwMode="auto">
          <a:xfrm>
            <a:off x="914400" y="2210359"/>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a:defRPr/>
            </a:pPr>
            <a:fld id="{11C70DEA-ED8A-DD43-A0FD-D69121D7D3B3}" type="datetime1">
              <a:rPr lang="en-GB" smtClean="0"/>
              <a:pPr>
                <a:defRPr/>
              </a:pPr>
              <a:t>30/04/2019</a:t>
            </a:fld>
            <a:endParaRPr lang="en-US"/>
          </a:p>
        </p:txBody>
      </p:sp>
      <p:sp>
        <p:nvSpPr>
          <p:cNvPr id="7" name="Rectangle 4"/>
          <p:cNvSpPr>
            <a:spLocks noGrp="1" noChangeArrowheads="1"/>
          </p:cNvSpPr>
          <p:nvPr>
            <p:ph type="ftr" sz="quarter" idx="11"/>
          </p:nvPr>
        </p:nvSpPr>
        <p:spPr/>
        <p:txBody>
          <a:bodyPr/>
          <a:lstStyle>
            <a:lvl1pPr>
              <a:defRPr/>
            </a:lvl1pPr>
          </a:lstStyle>
          <a:p>
            <a:pPr>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46677" y="4994812"/>
            <a:ext cx="1919491" cy="1315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p:nvSpPr>
        <p:spPr bwMode="auto">
          <a:xfrm rot="16200000">
            <a:off x="641516"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spTree>
    <p:extLst>
      <p:ext uri="{BB962C8B-B14F-4D97-AF65-F5344CB8AC3E}">
        <p14:creationId xmlns:p14="http://schemas.microsoft.com/office/powerpoint/2010/main" val="14508900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3.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3" Type="http://schemas.openxmlformats.org/officeDocument/2006/relationships/slideLayout" Target="../slideLayouts/slideLayout89.xml"/><Relationship Id="rId21" Type="http://schemas.openxmlformats.org/officeDocument/2006/relationships/tags" Target="../tags/tag77.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image" Target="../media/image4.emf"/><Relationship Id="rId2" Type="http://schemas.openxmlformats.org/officeDocument/2006/relationships/slideLayout" Target="../slideLayouts/slideLayout88.xml"/><Relationship Id="rId16" Type="http://schemas.openxmlformats.org/officeDocument/2006/relationships/tags" Target="../tags/tag72.xml"/><Relationship Id="rId20" Type="http://schemas.openxmlformats.org/officeDocument/2006/relationships/tags" Target="../tags/tag76.xml"/><Relationship Id="rId1" Type="http://schemas.openxmlformats.org/officeDocument/2006/relationships/slideLayout" Target="../slideLayouts/slideLayout87.xml"/><Relationship Id="rId6" Type="http://schemas.openxmlformats.org/officeDocument/2006/relationships/vmlDrawing" Target="../drawings/vmlDrawing25.vml"/><Relationship Id="rId11" Type="http://schemas.openxmlformats.org/officeDocument/2006/relationships/tags" Target="../tags/tag67.xml"/><Relationship Id="rId24" Type="http://schemas.openxmlformats.org/officeDocument/2006/relationships/oleObject" Target="../embeddings/oleObject25.bin"/><Relationship Id="rId5" Type="http://schemas.openxmlformats.org/officeDocument/2006/relationships/theme" Target="../theme/theme10.xml"/><Relationship Id="rId15" Type="http://schemas.openxmlformats.org/officeDocument/2006/relationships/tags" Target="../tags/tag71.xml"/><Relationship Id="rId23" Type="http://schemas.openxmlformats.org/officeDocument/2006/relationships/tags" Target="../tags/tag79.xml"/><Relationship Id="rId10" Type="http://schemas.openxmlformats.org/officeDocument/2006/relationships/tags" Target="../tags/tag66.xml"/><Relationship Id="rId19" Type="http://schemas.openxmlformats.org/officeDocument/2006/relationships/tags" Target="../tags/tag75.xml"/><Relationship Id="rId4" Type="http://schemas.openxmlformats.org/officeDocument/2006/relationships/slideLayout" Target="../slideLayouts/slideLayout9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3" Type="http://schemas.openxmlformats.org/officeDocument/2006/relationships/slideLayout" Target="../slideLayouts/slideLayout93.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 Type="http://schemas.openxmlformats.org/officeDocument/2006/relationships/slideLayout" Target="../slideLayouts/slideLayout92.xml"/><Relationship Id="rId16" Type="http://schemas.openxmlformats.org/officeDocument/2006/relationships/tags" Target="../tags/tag92.xml"/><Relationship Id="rId20" Type="http://schemas.openxmlformats.org/officeDocument/2006/relationships/tags" Target="../tags/tag96.xml"/><Relationship Id="rId1" Type="http://schemas.openxmlformats.org/officeDocument/2006/relationships/slideLayout" Target="../slideLayouts/slideLayout91.xml"/><Relationship Id="rId6" Type="http://schemas.openxmlformats.org/officeDocument/2006/relationships/vmlDrawing" Target="../drawings/vmlDrawing29.vml"/><Relationship Id="rId11" Type="http://schemas.openxmlformats.org/officeDocument/2006/relationships/tags" Target="../tags/tag87.xml"/><Relationship Id="rId24" Type="http://schemas.openxmlformats.org/officeDocument/2006/relationships/image" Target="../media/image4.emf"/><Relationship Id="rId5" Type="http://schemas.openxmlformats.org/officeDocument/2006/relationships/theme" Target="../theme/theme11.xml"/><Relationship Id="rId15" Type="http://schemas.openxmlformats.org/officeDocument/2006/relationships/tags" Target="../tags/tag91.xml"/><Relationship Id="rId23" Type="http://schemas.openxmlformats.org/officeDocument/2006/relationships/oleObject" Target="../embeddings/oleObject29.bin"/><Relationship Id="rId10" Type="http://schemas.openxmlformats.org/officeDocument/2006/relationships/tags" Target="../tags/tag86.xml"/><Relationship Id="rId19" Type="http://schemas.openxmlformats.org/officeDocument/2006/relationships/tags" Target="../tags/tag95.xml"/><Relationship Id="rId4" Type="http://schemas.openxmlformats.org/officeDocument/2006/relationships/slideLayout" Target="../slideLayouts/slideLayout94.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tags" Target="../tags/tag112.xml"/><Relationship Id="rId3" Type="http://schemas.openxmlformats.org/officeDocument/2006/relationships/slideLayout" Target="../slideLayouts/slideLayout97.xml"/><Relationship Id="rId21" Type="http://schemas.openxmlformats.org/officeDocument/2006/relationships/tags" Target="../tags/tag115.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 Type="http://schemas.openxmlformats.org/officeDocument/2006/relationships/slideLayout" Target="../slideLayouts/slideLayout96.xml"/><Relationship Id="rId16" Type="http://schemas.openxmlformats.org/officeDocument/2006/relationships/tags" Target="../tags/tag110.xml"/><Relationship Id="rId20" Type="http://schemas.openxmlformats.org/officeDocument/2006/relationships/tags" Target="../tags/tag114.xml"/><Relationship Id="rId1" Type="http://schemas.openxmlformats.org/officeDocument/2006/relationships/slideLayout" Target="../slideLayouts/slideLayout95.xml"/><Relationship Id="rId6" Type="http://schemas.openxmlformats.org/officeDocument/2006/relationships/vmlDrawing" Target="../drawings/vmlDrawing31.vml"/><Relationship Id="rId11" Type="http://schemas.openxmlformats.org/officeDocument/2006/relationships/tags" Target="../tags/tag105.xml"/><Relationship Id="rId24" Type="http://schemas.openxmlformats.org/officeDocument/2006/relationships/image" Target="../media/image4.emf"/><Relationship Id="rId5" Type="http://schemas.openxmlformats.org/officeDocument/2006/relationships/theme" Target="../theme/theme12.xml"/><Relationship Id="rId15" Type="http://schemas.openxmlformats.org/officeDocument/2006/relationships/tags" Target="../tags/tag109.xml"/><Relationship Id="rId23" Type="http://schemas.openxmlformats.org/officeDocument/2006/relationships/oleObject" Target="../embeddings/oleObject31.bin"/><Relationship Id="rId10" Type="http://schemas.openxmlformats.org/officeDocument/2006/relationships/tags" Target="../tags/tag104.xml"/><Relationship Id="rId19" Type="http://schemas.openxmlformats.org/officeDocument/2006/relationships/tags" Target="../tags/tag113.xml"/><Relationship Id="rId4" Type="http://schemas.openxmlformats.org/officeDocument/2006/relationships/slideLayout" Target="../slideLayouts/slideLayout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tags" Target="../tags/tag1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tags" Target="../tags/tag12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ags" Target="../tags/tag120.xml"/><Relationship Id="rId17" Type="http://schemas.openxmlformats.org/officeDocument/2006/relationships/oleObject" Target="../embeddings/oleObject36.bin"/><Relationship Id="rId2" Type="http://schemas.openxmlformats.org/officeDocument/2006/relationships/slideLayout" Target="../slideLayouts/slideLayout100.xml"/><Relationship Id="rId16" Type="http://schemas.openxmlformats.org/officeDocument/2006/relationships/image" Target="../media/image12.png"/><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vmlDrawing" Target="../drawings/vmlDrawing35.vml"/><Relationship Id="rId5" Type="http://schemas.openxmlformats.org/officeDocument/2006/relationships/slideLayout" Target="../slideLayouts/slideLayout103.xml"/><Relationship Id="rId15" Type="http://schemas.openxmlformats.org/officeDocument/2006/relationships/image" Target="../media/image11.emf"/><Relationship Id="rId10" Type="http://schemas.openxmlformats.org/officeDocument/2006/relationships/theme" Target="../theme/theme13.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oleObject" Target="../embeddings/oleObject35.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vmlDrawing" Target="../drawings/vmlDrawing37.vml"/><Relationship Id="rId18" Type="http://schemas.openxmlformats.org/officeDocument/2006/relationships/image" Target="../media/image2.jpg"/><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14.xml"/><Relationship Id="rId17" Type="http://schemas.openxmlformats.org/officeDocument/2006/relationships/image" Target="../media/image1.emf"/><Relationship Id="rId2" Type="http://schemas.openxmlformats.org/officeDocument/2006/relationships/slideLayout" Target="../slideLayouts/slideLayout109.xml"/><Relationship Id="rId16" Type="http://schemas.openxmlformats.org/officeDocument/2006/relationships/oleObject" Target="../embeddings/oleObject39.bin"/><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tags" Target="../tags/tag125.xml"/><Relationship Id="rId10" Type="http://schemas.openxmlformats.org/officeDocument/2006/relationships/slideLayout" Target="../slideLayouts/slideLayout117.xml"/><Relationship Id="rId19" Type="http://schemas.openxmlformats.org/officeDocument/2006/relationships/image" Target="../media/image3.jpg"/><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tags" Target="../tags/tag12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tags" Target="../tags/tag130.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ags" Target="../tags/tag129.xml"/><Relationship Id="rId17" Type="http://schemas.openxmlformats.org/officeDocument/2006/relationships/oleObject" Target="../embeddings/oleObject43.bin"/><Relationship Id="rId2" Type="http://schemas.openxmlformats.org/officeDocument/2006/relationships/slideLayout" Target="../slideLayouts/slideLayout120.xml"/><Relationship Id="rId16" Type="http://schemas.openxmlformats.org/officeDocument/2006/relationships/image" Target="../media/image12.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vmlDrawing" Target="../drawings/vmlDrawing40.vml"/><Relationship Id="rId5" Type="http://schemas.openxmlformats.org/officeDocument/2006/relationships/slideLayout" Target="../slideLayouts/slideLayout123.xml"/><Relationship Id="rId15" Type="http://schemas.openxmlformats.org/officeDocument/2006/relationships/image" Target="../media/image11.emf"/><Relationship Id="rId10" Type="http://schemas.openxmlformats.org/officeDocument/2006/relationships/theme" Target="../theme/theme15.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oleObject" Target="../embeddings/oleObject42.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ags" Target="../tags/tag134.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ags" Target="../tags/tag133.xml"/><Relationship Id="rId17" Type="http://schemas.openxmlformats.org/officeDocument/2006/relationships/oleObject" Target="../embeddings/oleObject47.bin"/><Relationship Id="rId2" Type="http://schemas.openxmlformats.org/officeDocument/2006/relationships/slideLayout" Target="../slideLayouts/slideLayout129.xml"/><Relationship Id="rId16" Type="http://schemas.openxmlformats.org/officeDocument/2006/relationships/image" Target="../media/image12.png"/><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vmlDrawing" Target="../drawings/vmlDrawing42.vml"/><Relationship Id="rId5" Type="http://schemas.openxmlformats.org/officeDocument/2006/relationships/slideLayout" Target="../slideLayouts/slideLayout132.xml"/><Relationship Id="rId15" Type="http://schemas.openxmlformats.org/officeDocument/2006/relationships/image" Target="../media/image11.emf"/><Relationship Id="rId10" Type="http://schemas.openxmlformats.org/officeDocument/2006/relationships/theme" Target="../theme/theme1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oleObject" Target="../embeddings/oleObject46.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vmlDrawing" Target="../drawings/vmlDrawing44.vml"/><Relationship Id="rId18" Type="http://schemas.openxmlformats.org/officeDocument/2006/relationships/image" Target="../media/image2.jpg"/><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theme" Target="../theme/theme17.xml"/><Relationship Id="rId17" Type="http://schemas.openxmlformats.org/officeDocument/2006/relationships/image" Target="../media/image1.emf"/><Relationship Id="rId2" Type="http://schemas.openxmlformats.org/officeDocument/2006/relationships/slideLayout" Target="../slideLayouts/slideLayout138.xml"/><Relationship Id="rId16" Type="http://schemas.openxmlformats.org/officeDocument/2006/relationships/oleObject" Target="../embeddings/oleObject50.bin"/><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tags" Target="../tags/tag138.xml"/><Relationship Id="rId10" Type="http://schemas.openxmlformats.org/officeDocument/2006/relationships/slideLayout" Target="../slideLayouts/slideLayout146.xml"/><Relationship Id="rId19" Type="http://schemas.openxmlformats.org/officeDocument/2006/relationships/image" Target="../media/image3.jpg"/><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tags" Target="../tags/tag137.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tags" Target="../tags/tag153.xml"/><Relationship Id="rId3" Type="http://schemas.openxmlformats.org/officeDocument/2006/relationships/slideLayout" Target="../slideLayouts/slideLayout150.xml"/><Relationship Id="rId21" Type="http://schemas.openxmlformats.org/officeDocument/2006/relationships/tags" Target="../tags/tag156.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 Type="http://schemas.openxmlformats.org/officeDocument/2006/relationships/slideLayout" Target="../slideLayouts/slideLayout149.xml"/><Relationship Id="rId16" Type="http://schemas.openxmlformats.org/officeDocument/2006/relationships/tags" Target="../tags/tag151.xml"/><Relationship Id="rId20" Type="http://schemas.openxmlformats.org/officeDocument/2006/relationships/tags" Target="../tags/tag155.xml"/><Relationship Id="rId1" Type="http://schemas.openxmlformats.org/officeDocument/2006/relationships/slideLayout" Target="../slideLayouts/slideLayout148.xml"/><Relationship Id="rId6" Type="http://schemas.openxmlformats.org/officeDocument/2006/relationships/vmlDrawing" Target="../drawings/vmlDrawing47.vml"/><Relationship Id="rId11" Type="http://schemas.openxmlformats.org/officeDocument/2006/relationships/tags" Target="../tags/tag146.xml"/><Relationship Id="rId24" Type="http://schemas.openxmlformats.org/officeDocument/2006/relationships/image" Target="../media/image4.emf"/><Relationship Id="rId5" Type="http://schemas.openxmlformats.org/officeDocument/2006/relationships/theme" Target="../theme/theme18.xml"/><Relationship Id="rId15" Type="http://schemas.openxmlformats.org/officeDocument/2006/relationships/tags" Target="../tags/tag150.xml"/><Relationship Id="rId23" Type="http://schemas.openxmlformats.org/officeDocument/2006/relationships/oleObject" Target="../embeddings/oleObject53.bin"/><Relationship Id="rId10" Type="http://schemas.openxmlformats.org/officeDocument/2006/relationships/tags" Target="../tags/tag145.xml"/><Relationship Id="rId19" Type="http://schemas.openxmlformats.org/officeDocument/2006/relationships/tags" Target="../tags/tag154.xml"/><Relationship Id="rId4" Type="http://schemas.openxmlformats.org/officeDocument/2006/relationships/slideLayout" Target="../slideLayouts/slideLayout151.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theme" Target="../theme/theme19.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4.vml"/><Relationship Id="rId18" Type="http://schemas.openxmlformats.org/officeDocument/2006/relationships/image" Target="../media/image3.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2.jp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4.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tags" Target="../tags/tag162.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tags" Target="../tags/tag161.xml"/><Relationship Id="rId17" Type="http://schemas.openxmlformats.org/officeDocument/2006/relationships/oleObject" Target="../embeddings/oleObject58.bin"/><Relationship Id="rId2" Type="http://schemas.openxmlformats.org/officeDocument/2006/relationships/slideLayout" Target="../slideLayouts/slideLayout164.xml"/><Relationship Id="rId16" Type="http://schemas.openxmlformats.org/officeDocument/2006/relationships/image" Target="../media/image12.png"/><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vmlDrawing" Target="../drawings/vmlDrawing51.vml"/><Relationship Id="rId5" Type="http://schemas.openxmlformats.org/officeDocument/2006/relationships/slideLayout" Target="../slideLayouts/slideLayout167.xml"/><Relationship Id="rId15" Type="http://schemas.openxmlformats.org/officeDocument/2006/relationships/image" Target="../media/image11.emf"/><Relationship Id="rId10" Type="http://schemas.openxmlformats.org/officeDocument/2006/relationships/theme" Target="../theme/theme20.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oleObject" Target="../embeddings/oleObject57.bin"/></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vmlDrawing" Target="../drawings/vmlDrawing53.vml"/><Relationship Id="rId18" Type="http://schemas.openxmlformats.org/officeDocument/2006/relationships/image" Target="../media/image2.jpg"/><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theme" Target="../theme/theme21.xml"/><Relationship Id="rId17" Type="http://schemas.openxmlformats.org/officeDocument/2006/relationships/image" Target="../media/image1.emf"/><Relationship Id="rId2" Type="http://schemas.openxmlformats.org/officeDocument/2006/relationships/slideLayout" Target="../slideLayouts/slideLayout173.xml"/><Relationship Id="rId16" Type="http://schemas.openxmlformats.org/officeDocument/2006/relationships/oleObject" Target="../embeddings/oleObject61.bin"/><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tags" Target="../tags/tag166.xml"/><Relationship Id="rId10" Type="http://schemas.openxmlformats.org/officeDocument/2006/relationships/slideLayout" Target="../slideLayouts/slideLayout181.xml"/><Relationship Id="rId19" Type="http://schemas.openxmlformats.org/officeDocument/2006/relationships/image" Target="../media/image3.jpg"/><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tags" Target="../tags/tag16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vmlDrawing" Target="../drawings/vmlDrawing56.vml"/><Relationship Id="rId18" Type="http://schemas.openxmlformats.org/officeDocument/2006/relationships/image" Target="../media/image3.jpg"/><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theme" Target="../theme/theme22.xml"/><Relationship Id="rId17" Type="http://schemas.openxmlformats.org/officeDocument/2006/relationships/image" Target="../media/image2.jpg"/><Relationship Id="rId2" Type="http://schemas.openxmlformats.org/officeDocument/2006/relationships/slideLayout" Target="../slideLayouts/slideLayout184.xml"/><Relationship Id="rId16" Type="http://schemas.openxmlformats.org/officeDocument/2006/relationships/image" Target="../media/image1.emf"/><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oleObject" Target="../embeddings/oleObject64.bin"/><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tags" Target="../tags/tag169.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heme" Target="../theme/theme23.xml"/><Relationship Id="rId18" Type="http://schemas.openxmlformats.org/officeDocument/2006/relationships/image" Target="../media/image2.jpg"/><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1.emf"/><Relationship Id="rId2" Type="http://schemas.openxmlformats.org/officeDocument/2006/relationships/slideLayout" Target="../slideLayouts/slideLayout195.xml"/><Relationship Id="rId16" Type="http://schemas.openxmlformats.org/officeDocument/2006/relationships/oleObject" Target="../embeddings/oleObject67.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tags" Target="../tags/tag172.xml"/><Relationship Id="rId10" Type="http://schemas.openxmlformats.org/officeDocument/2006/relationships/slideLayout" Target="../slideLayouts/slideLayout203.xml"/><Relationship Id="rId19" Type="http://schemas.openxmlformats.org/officeDocument/2006/relationships/image" Target="../media/image3.jpg"/><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vmlDrawing" Target="../drawings/vmlDrawing59.vml"/></Relationships>
</file>

<file path=ppt/slideMasters/_rels/slideMaster24.xml.rels><?xml version="1.0" encoding="UTF-8" standalone="yes"?>
<Relationships xmlns="http://schemas.openxmlformats.org/package/2006/relationships"><Relationship Id="rId8" Type="http://schemas.openxmlformats.org/officeDocument/2006/relationships/vmlDrawing" Target="../drawings/vmlDrawing62.vml"/><Relationship Id="rId3" Type="http://schemas.openxmlformats.org/officeDocument/2006/relationships/slideLayout" Target="../slideLayouts/slideLayout208.xml"/><Relationship Id="rId7" Type="http://schemas.openxmlformats.org/officeDocument/2006/relationships/theme" Target="../theme/theme24.xml"/><Relationship Id="rId12" Type="http://schemas.openxmlformats.org/officeDocument/2006/relationships/image" Target="../media/image15.emf"/><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oleObject" Target="../embeddings/oleObject70.bin"/><Relationship Id="rId5" Type="http://schemas.openxmlformats.org/officeDocument/2006/relationships/slideLayout" Target="../slideLayouts/slideLayout210.xml"/><Relationship Id="rId10" Type="http://schemas.openxmlformats.org/officeDocument/2006/relationships/tags" Target="../tags/tag176.xml"/><Relationship Id="rId4" Type="http://schemas.openxmlformats.org/officeDocument/2006/relationships/slideLayout" Target="../slideLayouts/slideLayout209.xml"/><Relationship Id="rId9" Type="http://schemas.openxmlformats.org/officeDocument/2006/relationships/tags" Target="../tags/tag175.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180.xml"/><Relationship Id="rId18" Type="http://schemas.openxmlformats.org/officeDocument/2006/relationships/oleObject" Target="../embeddings/oleObject58.bin"/><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vmlDrawing" Target="../drawings/vmlDrawing66.vml"/><Relationship Id="rId17" Type="http://schemas.openxmlformats.org/officeDocument/2006/relationships/image" Target="../media/image12.png"/><Relationship Id="rId2" Type="http://schemas.openxmlformats.org/officeDocument/2006/relationships/slideLayout" Target="../slideLayouts/slideLayout213.xml"/><Relationship Id="rId16" Type="http://schemas.openxmlformats.org/officeDocument/2006/relationships/image" Target="../media/image11.emf"/><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theme" Target="../theme/theme25.xml"/><Relationship Id="rId5" Type="http://schemas.openxmlformats.org/officeDocument/2006/relationships/slideLayout" Target="../slideLayouts/slideLayout216.xml"/><Relationship Id="rId15" Type="http://schemas.openxmlformats.org/officeDocument/2006/relationships/oleObject" Target="../embeddings/oleObject57.bin"/><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tags" Target="../tags/tag181.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vmlDrawing" Target="../drawings/vmlDrawing68.vml"/><Relationship Id="rId18" Type="http://schemas.openxmlformats.org/officeDocument/2006/relationships/image" Target="../media/image2.jpg"/><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theme" Target="../theme/theme26.xml"/><Relationship Id="rId17" Type="http://schemas.openxmlformats.org/officeDocument/2006/relationships/image" Target="../media/image1.emf"/><Relationship Id="rId2" Type="http://schemas.openxmlformats.org/officeDocument/2006/relationships/slideLayout" Target="../slideLayouts/slideLayout223.xml"/><Relationship Id="rId16" Type="http://schemas.openxmlformats.org/officeDocument/2006/relationships/oleObject" Target="../embeddings/oleObject74.bin"/><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tags" Target="../tags/tag185.xml"/><Relationship Id="rId10" Type="http://schemas.openxmlformats.org/officeDocument/2006/relationships/slideLayout" Target="../slideLayouts/slideLayout231.xml"/><Relationship Id="rId19" Type="http://schemas.openxmlformats.org/officeDocument/2006/relationships/image" Target="../media/image3.jpg"/><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tags" Target="../tags/tag18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7.vml"/><Relationship Id="rId18" Type="http://schemas.openxmlformats.org/officeDocument/2006/relationships/image" Target="../media/image2.jp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4.xml"/><Relationship Id="rId16" Type="http://schemas.openxmlformats.org/officeDocument/2006/relationships/oleObject" Target="../embeddings/oleObject7.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11.xml"/><Relationship Id="rId10" Type="http://schemas.openxmlformats.org/officeDocument/2006/relationships/slideLayout" Target="../slideLayouts/slideLayout32.xml"/><Relationship Id="rId19" Type="http://schemas.openxmlformats.org/officeDocument/2006/relationships/image" Target="../media/image3.jp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image" Target="../media/image4.emf"/><Relationship Id="rId3" Type="http://schemas.openxmlformats.org/officeDocument/2006/relationships/slideLayout" Target="../slideLayouts/slideLayout36.xml"/><Relationship Id="rId21" Type="http://schemas.openxmlformats.org/officeDocument/2006/relationships/tags" Target="../tags/tag28.xml"/><Relationship Id="rId7" Type="http://schemas.openxmlformats.org/officeDocument/2006/relationships/vmlDrawing" Target="../drawings/vmlDrawing10.v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oleObject" Target="../embeddings/oleObject10.bin"/><Relationship Id="rId2" Type="http://schemas.openxmlformats.org/officeDocument/2006/relationships/slideLayout" Target="../slideLayouts/slideLayout35.xml"/><Relationship Id="rId16" Type="http://schemas.openxmlformats.org/officeDocument/2006/relationships/tags" Target="../tags/tag23.xml"/><Relationship Id="rId20" Type="http://schemas.openxmlformats.org/officeDocument/2006/relationships/tags" Target="../tags/tag27.xml"/><Relationship Id="rId1" Type="http://schemas.openxmlformats.org/officeDocument/2006/relationships/slideLayout" Target="../slideLayouts/slideLayout34.xml"/><Relationship Id="rId6" Type="http://schemas.openxmlformats.org/officeDocument/2006/relationships/theme" Target="../theme/theme4.xml"/><Relationship Id="rId11" Type="http://schemas.openxmlformats.org/officeDocument/2006/relationships/tags" Target="../tags/tag18.xml"/><Relationship Id="rId24" Type="http://schemas.openxmlformats.org/officeDocument/2006/relationships/tags" Target="../tags/tag31.xml"/><Relationship Id="rId5" Type="http://schemas.openxmlformats.org/officeDocument/2006/relationships/slideLayout" Target="../slideLayouts/slideLayout38.xml"/><Relationship Id="rId15" Type="http://schemas.openxmlformats.org/officeDocument/2006/relationships/tags" Target="../tags/tag22.xml"/><Relationship Id="rId23" Type="http://schemas.openxmlformats.org/officeDocument/2006/relationships/tags" Target="../tags/tag30.xml"/><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slideLayout" Target="../slideLayouts/slideLayout37.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vmlDrawing" Target="../drawings/vmlDrawing14.vml"/><Relationship Id="rId18" Type="http://schemas.openxmlformats.org/officeDocument/2006/relationships/image" Target="../media/image2.jp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oleObject" Target="../embeddings/oleObject14.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ags" Target="../tags/tag36.xml"/><Relationship Id="rId10" Type="http://schemas.openxmlformats.org/officeDocument/2006/relationships/slideLayout" Target="../slideLayouts/slideLayout48.xml"/><Relationship Id="rId19" Type="http://schemas.openxmlformats.org/officeDocument/2006/relationships/image" Target="../media/image3.jp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vmlDrawing" Target="../drawings/vmlDrawing17.vml"/><Relationship Id="rId18" Type="http://schemas.openxmlformats.org/officeDocument/2006/relationships/image" Target="../media/image3.jp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6.xml"/><Relationship Id="rId17" Type="http://schemas.openxmlformats.org/officeDocument/2006/relationships/image" Target="../media/image2.jpg"/><Relationship Id="rId2" Type="http://schemas.openxmlformats.org/officeDocument/2006/relationships/slideLayout" Target="../slideLayouts/slideLayout51.xml"/><Relationship Id="rId16" Type="http://schemas.openxmlformats.org/officeDocument/2006/relationships/image" Target="../media/image1.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oleObject" Target="../embeddings/oleObject17.bin"/><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ags" Target="../tags/tag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vmlDrawing" Target="../drawings/vmlDrawing20.vml"/><Relationship Id="rId18" Type="http://schemas.openxmlformats.org/officeDocument/2006/relationships/image" Target="../media/image3.jp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7.xml"/><Relationship Id="rId17" Type="http://schemas.openxmlformats.org/officeDocument/2006/relationships/image" Target="../media/image10.png"/><Relationship Id="rId2" Type="http://schemas.openxmlformats.org/officeDocument/2006/relationships/slideLayout" Target="../slideLayouts/slideLayout62.xml"/><Relationship Id="rId16" Type="http://schemas.openxmlformats.org/officeDocument/2006/relationships/image" Target="../media/image9.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oleObject" Target="../embeddings/oleObject20.bin"/><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3" Type="http://schemas.openxmlformats.org/officeDocument/2006/relationships/slideLayout" Target="../slideLayouts/slideLayout85.xml"/><Relationship Id="rId21" Type="http://schemas.openxmlformats.org/officeDocument/2006/relationships/tags" Target="../tags/tag58.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 Type="http://schemas.openxmlformats.org/officeDocument/2006/relationships/slideLayout" Target="../slideLayouts/slideLayout84.xml"/><Relationship Id="rId16" Type="http://schemas.openxmlformats.org/officeDocument/2006/relationships/tags" Target="../tags/tag53.xml"/><Relationship Id="rId20" Type="http://schemas.openxmlformats.org/officeDocument/2006/relationships/tags" Target="../tags/tag57.xml"/><Relationship Id="rId1" Type="http://schemas.openxmlformats.org/officeDocument/2006/relationships/slideLayout" Target="../slideLayouts/slideLayout83.xml"/><Relationship Id="rId6" Type="http://schemas.openxmlformats.org/officeDocument/2006/relationships/vmlDrawing" Target="../drawings/vmlDrawing21.vml"/><Relationship Id="rId11" Type="http://schemas.openxmlformats.org/officeDocument/2006/relationships/tags" Target="../tags/tag48.xml"/><Relationship Id="rId24" Type="http://schemas.openxmlformats.org/officeDocument/2006/relationships/image" Target="../media/image4.emf"/><Relationship Id="rId5" Type="http://schemas.openxmlformats.org/officeDocument/2006/relationships/theme" Target="../theme/theme9.xml"/><Relationship Id="rId15" Type="http://schemas.openxmlformats.org/officeDocument/2006/relationships/tags" Target="../tags/tag52.xml"/><Relationship Id="rId23" Type="http://schemas.openxmlformats.org/officeDocument/2006/relationships/oleObject" Target="../embeddings/oleObject21.bin"/><Relationship Id="rId10" Type="http://schemas.openxmlformats.org/officeDocument/2006/relationships/tags" Target="../tags/tag47.xml"/><Relationship Id="rId19" Type="http://schemas.openxmlformats.org/officeDocument/2006/relationships/tags" Target="../tags/tag56.xml"/><Relationship Id="rId4" Type="http://schemas.openxmlformats.org/officeDocument/2006/relationships/slideLayout" Target="../slideLayouts/slideLayout86.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FB082-FBF6-4A25-AF0F-2CC496B55C54}"/>
              </a:ext>
            </a:extLst>
          </p:cNvPr>
          <p:cNvGraphicFramePr>
            <a:graphicFrameLocks noChangeAspect="1"/>
          </p:cNvGraphicFramePr>
          <p:nvPr userDrawn="1">
            <p:custDataLst>
              <p:tags r:id="rId14"/>
            </p:custDataLst>
            <p:extLst>
              <p:ext uri="{D42A27DB-BD31-4B8C-83A1-F6EECF244321}">
                <p14:modId xmlns:p14="http://schemas.microsoft.com/office/powerpoint/2010/main" val="1442226765"/>
              </p:ex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7593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1" y="1616"/>
                        <a:ext cx="158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ED839C-2D26-4958-A7A0-3FB9CD027AC0}"/>
              </a:ext>
            </a:extLst>
          </p:cNvPr>
          <p:cNvSpPr/>
          <p:nvPr userDrawn="1">
            <p:custDataLst>
              <p:tags r:id="rId15"/>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1969" eaLnBrk="1">
              <a:lnSpc>
                <a:spcPct val="90000"/>
              </a:lnSpc>
              <a:spcBef>
                <a:spcPct val="0"/>
              </a:spcBef>
              <a:spcAft>
                <a:spcPct val="0"/>
              </a:spcAft>
            </a:pPr>
            <a:endParaRPr lang="en-US" sz="4400" b="0" i="0" baseline="0" dirty="0">
              <a:solidFill>
                <a:prstClr val="white"/>
              </a:solidFill>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6"/>
            <a:ext cx="10515600" cy="1325563"/>
          </a:xfrm>
          <a:prstGeom prst="rect">
            <a:avLst/>
          </a:prstGeom>
        </p:spPr>
        <p:txBody>
          <a:bodyPr vert="horz" lIns="91199" tIns="45607" rIns="91199" bIns="45607"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7"/>
            <a:ext cx="10515600" cy="4351339"/>
          </a:xfrm>
          <a:prstGeom prst="rect">
            <a:avLst/>
          </a:prstGeom>
        </p:spPr>
        <p:txBody>
          <a:bodyPr vert="horz" lIns="91199" tIns="45607" rIns="91199" bIns="45607"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798"/>
            <a:ext cx="2743201" cy="365125"/>
          </a:xfrm>
          <a:prstGeom prst="rect">
            <a:avLst/>
          </a:prstGeom>
        </p:spPr>
        <p:txBody>
          <a:bodyPr vert="horz" lIns="91199" tIns="45607" rIns="91199" bIns="45607" rtlCol="0" anchor="ctr"/>
          <a:lstStyle>
            <a:lvl1pPr algn="l">
              <a:defRPr sz="1200">
                <a:solidFill>
                  <a:schemeClr val="tx1">
                    <a:tint val="75000"/>
                  </a:schemeClr>
                </a:solidFill>
              </a:defRPr>
            </a:lvl1pPr>
          </a:lstStyle>
          <a:p>
            <a:pPr defTabSz="911969"/>
            <a:fld id="{8FE7DA74-7F26-482D-91B1-50D3065F5CE8}" type="datetime1">
              <a:rPr lang="en-US" smtClean="0">
                <a:solidFill>
                  <a:prstClr val="black">
                    <a:tint val="75000"/>
                  </a:prstClr>
                </a:solidFill>
              </a:rPr>
              <a:pPr defTabSz="911969"/>
              <a:t>4/30/20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798"/>
            <a:ext cx="4114800" cy="365125"/>
          </a:xfrm>
          <a:prstGeom prst="rect">
            <a:avLst/>
          </a:prstGeom>
        </p:spPr>
        <p:txBody>
          <a:bodyPr vert="horz" lIns="91199" tIns="45607" rIns="91199" bIns="45607" rtlCol="0" anchor="ctr"/>
          <a:lstStyle>
            <a:lvl1pPr algn="ctr">
              <a:defRPr sz="1200">
                <a:solidFill>
                  <a:schemeClr val="tx1">
                    <a:tint val="75000"/>
                  </a:schemeClr>
                </a:solidFill>
              </a:defRPr>
            </a:lvl1pPr>
          </a:lstStyle>
          <a:p>
            <a:pPr defTabSz="911969"/>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599" y="6356798"/>
            <a:ext cx="2743201" cy="365125"/>
          </a:xfrm>
          <a:prstGeom prst="rect">
            <a:avLst/>
          </a:prstGeom>
        </p:spPr>
        <p:txBody>
          <a:bodyPr vert="horz" lIns="91199" tIns="45607" rIns="91199" bIns="45607" rtlCol="0" anchor="ctr"/>
          <a:lstStyle>
            <a:lvl1pPr algn="r">
              <a:defRPr sz="1200">
                <a:solidFill>
                  <a:schemeClr val="tx1">
                    <a:tint val="75000"/>
                  </a:schemeClr>
                </a:solidFill>
              </a:defRPr>
            </a:lvl1pPr>
          </a:lstStyle>
          <a:p>
            <a:pPr defTabSz="911969"/>
            <a:fld id="{48F63A3B-78C7-47BE-AE5E-E10140E04643}" type="slidenum">
              <a:rPr lang="en-US" smtClean="0">
                <a:solidFill>
                  <a:prstClr val="black">
                    <a:tint val="75000"/>
                  </a:prstClr>
                </a:solidFill>
              </a:rPr>
              <a:pPr defTabSz="911969"/>
              <a:t>‹#›</a:t>
            </a:fld>
            <a:endParaRPr lang="en-US" dirty="0">
              <a:solidFill>
                <a:prstClr val="black">
                  <a:tint val="75000"/>
                </a:prstClr>
              </a:solidFill>
            </a:endParaRPr>
          </a:p>
        </p:txBody>
      </p:sp>
      <p:sp>
        <p:nvSpPr>
          <p:cNvPr id="8" name="TextBox 7">
            <a:extLst>
              <a:ext uri="{FF2B5EF4-FFF2-40B4-BE49-F238E27FC236}">
                <a16:creationId xmlns:a16="http://schemas.microsoft.com/office/drawing/2014/main" id="{0FF1DBC5-5F37-4F5F-9ACA-DA091C424BE7}"/>
              </a:ext>
            </a:extLst>
          </p:cNvPr>
          <p:cNvSpPr txBox="1"/>
          <p:nvPr userDrawn="1"/>
        </p:nvSpPr>
        <p:spPr>
          <a:xfrm>
            <a:off x="0" y="6447848"/>
            <a:ext cx="12192000" cy="384492"/>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199" tIns="45607" rIns="91199" bIns="45607" rtlCol="0">
            <a:spAutoFit/>
          </a:bodyPr>
          <a:lstStyle/>
          <a:p>
            <a:pPr algn="ctr" defTabSz="911969"/>
            <a:r>
              <a:rPr lang="en-US" sz="1900">
                <a:solidFill>
                  <a:prstClr val="white"/>
                </a:solidFill>
              </a:rPr>
              <a:t>NPHCDA </a:t>
            </a:r>
            <a:r>
              <a:rPr lang="en-US" sz="1900" dirty="0">
                <a:solidFill>
                  <a:prstClr val="white"/>
                </a:solidFill>
              </a:rPr>
              <a:t>– National Primary Health Care Development Agency</a:t>
            </a:r>
          </a:p>
        </p:txBody>
      </p:sp>
      <p:pic>
        <p:nvPicPr>
          <p:cNvPr id="9" name="Picture 8">
            <a:extLst>
              <a:ext uri="{FF2B5EF4-FFF2-40B4-BE49-F238E27FC236}">
                <a16:creationId xmlns:a16="http://schemas.microsoft.com/office/drawing/2014/main" id="{E633FD98-DD5F-445C-8B80-288591839D59}"/>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 y="5"/>
            <a:ext cx="1009651" cy="857251"/>
          </a:xfrm>
          <a:prstGeom prst="rect">
            <a:avLst/>
          </a:prstGeom>
        </p:spPr>
      </p:pic>
      <p:pic>
        <p:nvPicPr>
          <p:cNvPr id="10" name="Picture 9">
            <a:extLst>
              <a:ext uri="{FF2B5EF4-FFF2-40B4-BE49-F238E27FC236}">
                <a16:creationId xmlns:a16="http://schemas.microsoft.com/office/drawing/2014/main" id="{D9D8FF22-52BD-4BB6-9A1F-FCC91A7991DD}"/>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1191876" y="17"/>
            <a:ext cx="1000125" cy="914400"/>
          </a:xfrm>
          <a:prstGeom prst="rect">
            <a:avLst/>
          </a:prstGeom>
        </p:spPr>
      </p:pic>
    </p:spTree>
    <p:extLst>
      <p:ext uri="{BB962C8B-B14F-4D97-AF65-F5344CB8AC3E}">
        <p14:creationId xmlns:p14="http://schemas.microsoft.com/office/powerpoint/2010/main" val="1428505174"/>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hdr="0" ftr="0" dt="0"/>
  <p:txStyles>
    <p:titleStyle>
      <a:lvl1pPr algn="l" defTabSz="91196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7989" indent="-227989" algn="l" defTabSz="91196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3984" indent="-227989" algn="l" defTabSz="91196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39966"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5943"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1925"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07913"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3900"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19882"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75871"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1969" rtl="0" eaLnBrk="1" latinLnBrk="0" hangingPunct="1">
        <a:defRPr sz="1900" kern="1200">
          <a:solidFill>
            <a:schemeClr val="tx1"/>
          </a:solidFill>
          <a:latin typeface="+mn-lt"/>
          <a:ea typeface="+mn-ea"/>
          <a:cs typeface="+mn-cs"/>
        </a:defRPr>
      </a:lvl1pPr>
      <a:lvl2pPr marL="455981" algn="l" defTabSz="911969" rtl="0" eaLnBrk="1" latinLnBrk="0" hangingPunct="1">
        <a:defRPr sz="1900" kern="1200">
          <a:solidFill>
            <a:schemeClr val="tx1"/>
          </a:solidFill>
          <a:latin typeface="+mn-lt"/>
          <a:ea typeface="+mn-ea"/>
          <a:cs typeface="+mn-cs"/>
        </a:defRPr>
      </a:lvl2pPr>
      <a:lvl3pPr marL="911969" algn="l" defTabSz="911969" rtl="0" eaLnBrk="1" latinLnBrk="0" hangingPunct="1">
        <a:defRPr sz="1900" kern="1200">
          <a:solidFill>
            <a:schemeClr val="tx1"/>
          </a:solidFill>
          <a:latin typeface="+mn-lt"/>
          <a:ea typeface="+mn-ea"/>
          <a:cs typeface="+mn-cs"/>
        </a:defRPr>
      </a:lvl3pPr>
      <a:lvl4pPr marL="1367953" algn="l" defTabSz="911969" rtl="0" eaLnBrk="1" latinLnBrk="0" hangingPunct="1">
        <a:defRPr sz="1900" kern="1200">
          <a:solidFill>
            <a:schemeClr val="tx1"/>
          </a:solidFill>
          <a:latin typeface="+mn-lt"/>
          <a:ea typeface="+mn-ea"/>
          <a:cs typeface="+mn-cs"/>
        </a:defRPr>
      </a:lvl4pPr>
      <a:lvl5pPr marL="1823939" algn="l" defTabSz="911969" rtl="0" eaLnBrk="1" latinLnBrk="0" hangingPunct="1">
        <a:defRPr sz="1900" kern="1200">
          <a:solidFill>
            <a:schemeClr val="tx1"/>
          </a:solidFill>
          <a:latin typeface="+mn-lt"/>
          <a:ea typeface="+mn-ea"/>
          <a:cs typeface="+mn-cs"/>
        </a:defRPr>
      </a:lvl5pPr>
      <a:lvl6pPr marL="2279928" algn="l" defTabSz="911969" rtl="0" eaLnBrk="1" latinLnBrk="0" hangingPunct="1">
        <a:defRPr sz="1900" kern="1200">
          <a:solidFill>
            <a:schemeClr val="tx1"/>
          </a:solidFill>
          <a:latin typeface="+mn-lt"/>
          <a:ea typeface="+mn-ea"/>
          <a:cs typeface="+mn-cs"/>
        </a:defRPr>
      </a:lvl6pPr>
      <a:lvl7pPr marL="2735910" algn="l" defTabSz="911969" rtl="0" eaLnBrk="1" latinLnBrk="0" hangingPunct="1">
        <a:defRPr sz="1900" kern="1200">
          <a:solidFill>
            <a:schemeClr val="tx1"/>
          </a:solidFill>
          <a:latin typeface="+mn-lt"/>
          <a:ea typeface="+mn-ea"/>
          <a:cs typeface="+mn-cs"/>
        </a:defRPr>
      </a:lvl7pPr>
      <a:lvl8pPr marL="3191889" algn="l" defTabSz="911969" rtl="0" eaLnBrk="1" latinLnBrk="0" hangingPunct="1">
        <a:defRPr sz="1900" kern="1200">
          <a:solidFill>
            <a:schemeClr val="tx1"/>
          </a:solidFill>
          <a:latin typeface="+mn-lt"/>
          <a:ea typeface="+mn-ea"/>
          <a:cs typeface="+mn-cs"/>
        </a:defRPr>
      </a:lvl8pPr>
      <a:lvl9pPr marL="3647869" algn="l" defTabSz="911969"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28810873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9261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D85C6E-B8CA-48E2-BB4F-A49800AD8EF8}"/>
              </a:ext>
            </a:extLst>
          </p:cNvPr>
          <p:cNvSpPr/>
          <p:nvPr userDrawn="1">
            <p:custDataLst>
              <p:tags r:id="rId8"/>
            </p:custDataLst>
          </p:nvPr>
        </p:nvSpPr>
        <p:spPr>
          <a:xfrm>
            <a:off x="4" y="0"/>
            <a:ext cx="158751"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0" name="Slide Number"/>
          <p:cNvSpPr txBox="1">
            <a:spLocks/>
          </p:cNvSpPr>
          <p:nvPr userDrawn="1"/>
        </p:nvSpPr>
        <p:spPr bwMode="auto">
          <a:xfrm>
            <a:off x="11801652" y="6565205"/>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013" fontAlgn="base">
              <a:spcBef>
                <a:spcPct val="0"/>
              </a:spcBef>
              <a:spcAft>
                <a:spcPct val="0"/>
              </a:spcAft>
            </a:pPr>
            <a:fld id="{42C328C1-A84F-4A39-A664-DBA00541A8C6}" type="slidenum">
              <a:rPr lang="en-US" sz="1000" smtClean="0">
                <a:solidFill>
                  <a:srgbClr val="1F1F1F"/>
                </a:solidFill>
              </a:rPr>
              <a:pPr algn="r" defTabSz="914013" fontAlgn="base">
                <a:spcBef>
                  <a:spcPct val="0"/>
                </a:spcBef>
                <a:spcAft>
                  <a:spcPct val="0"/>
                </a:spcAft>
              </a:pPr>
              <a:t>‹#›</a:t>
            </a:fld>
            <a:endParaRPr lang="en-US" sz="1000" dirty="0">
              <a:solidFill>
                <a:srgbClr val="1F1F1F"/>
              </a:solidFill>
            </a:endParaRPr>
          </a:p>
        </p:txBody>
      </p:sp>
      <p:sp>
        <p:nvSpPr>
          <p:cNvPr id="18" name="Rectangle 17"/>
          <p:cNvSpPr/>
          <p:nvPr userDrawn="1"/>
        </p:nvSpPr>
        <p:spPr bwMode="auto">
          <a:xfrm>
            <a:off x="0" y="6400584"/>
            <a:ext cx="12192000" cy="25712"/>
          </a:xfrm>
          <a:prstGeom prst="rect">
            <a:avLst/>
          </a:prstGeom>
          <a:gradFill>
            <a:gsLst>
              <a:gs pos="0">
                <a:srgbClr val="DAF2E6"/>
              </a:gs>
              <a:gs pos="100000">
                <a:srgbClr val="339966"/>
              </a:gs>
            </a:gsLst>
            <a:lin ang="0" scaled="1"/>
          </a:gradFill>
          <a:ln w="9525" cap="flat" cmpd="sng" algn="ctr">
            <a:noFill/>
            <a:prstDash val="solid"/>
          </a:ln>
          <a:effectLst/>
        </p:spPr>
        <p:txBody>
          <a:bodyPr lIns="91401" tIns="45702" rIns="91401" bIns="45702" rtlCol="0" anchor="ctr"/>
          <a:lstStyle/>
          <a:p>
            <a:pPr algn="ctr" defTabSz="914013">
              <a:defRPr/>
            </a:pPr>
            <a:endParaRPr lang="en-US" sz="1800" kern="0" dirty="0">
              <a:solidFill>
                <a:srgbClr val="1F1F1F"/>
              </a:solidFill>
              <a:ea typeface="ＭＳ Ｐゴシック"/>
            </a:endParaRPr>
          </a:p>
        </p:txBody>
      </p:sp>
      <p:sp>
        <p:nvSpPr>
          <p:cNvPr id="1033" name="doc id"/>
          <p:cNvSpPr>
            <a:spLocks noChangeArrowheads="1"/>
          </p:cNvSpPr>
          <p:nvPr/>
        </p:nvSpPr>
        <p:spPr bwMode="auto">
          <a:xfrm>
            <a:off x="11064593"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137" fontAlgn="base">
              <a:spcBef>
                <a:spcPct val="0"/>
              </a:spcBef>
              <a:spcAft>
                <a:spcPct val="0"/>
              </a:spcAft>
            </a:pPr>
            <a:endParaRPr lang="en-US" sz="900" dirty="0">
              <a:solidFill>
                <a:srgbClr val="000000"/>
              </a:solidFill>
            </a:endParaRPr>
          </a:p>
        </p:txBody>
      </p:sp>
      <p:sp>
        <p:nvSpPr>
          <p:cNvPr id="1036" name="Rectangle 286"/>
          <p:cNvSpPr>
            <a:spLocks noGrp="1" noChangeArrowheads="1"/>
          </p:cNvSpPr>
          <p:nvPr>
            <p:ph type="body" idx="1"/>
          </p:nvPr>
        </p:nvSpPr>
        <p:spPr bwMode="auto">
          <a:xfrm>
            <a:off x="1976209" y="2925409"/>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33264" y="234867"/>
            <a:ext cx="1172548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33275" y="27536"/>
            <a:ext cx="92012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013" fontAlgn="base">
              <a:spcBef>
                <a:spcPct val="0"/>
              </a:spcBef>
              <a:spcAft>
                <a:spcPct val="0"/>
              </a:spcAft>
            </a:pPr>
            <a:r>
              <a:rPr lang="en-US" sz="1500" dirty="0">
                <a:solidFill>
                  <a:srgbClr val="808080"/>
                </a:solidFill>
              </a:rPr>
              <a:t>TRACKER</a:t>
            </a:r>
          </a:p>
        </p:txBody>
      </p:sp>
      <p:sp>
        <p:nvSpPr>
          <p:cNvPr id="11" name="McK 3. Unit of measure" hidden="1"/>
          <p:cNvSpPr txBox="1">
            <a:spLocks noChangeArrowheads="1"/>
          </p:cNvSpPr>
          <p:nvPr/>
        </p:nvSpPr>
        <p:spPr bwMode="auto">
          <a:xfrm>
            <a:off x="233264" y="542621"/>
            <a:ext cx="1172548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4" name="McK Slide Elements" hidden="1"/>
          <p:cNvGrpSpPr/>
          <p:nvPr userDrawn="1"/>
        </p:nvGrpSpPr>
        <p:grpSpPr bwMode="auto">
          <a:xfrm>
            <a:off x="233261" y="6205242"/>
            <a:ext cx="11725483" cy="513859"/>
            <a:chOff x="171451" y="6081700"/>
            <a:chExt cx="8618537" cy="503632"/>
          </a:xfrm>
        </p:grpSpPr>
        <p:sp>
          <p:nvSpPr>
            <p:cNvPr id="13" name="McK 4. Footnote"/>
            <p:cNvSpPr txBox="1">
              <a:spLocks noChangeArrowheads="1"/>
            </p:cNvSpPr>
            <p:nvPr/>
          </p:nvSpPr>
          <p:spPr bwMode="auto">
            <a:xfrm>
              <a:off x="171451" y="6081700"/>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1F1F1F"/>
                  </a:solidFill>
                  <a:latin typeface="Arial"/>
                </a:rPr>
                <a:t>1 Footnote</a:t>
              </a:r>
            </a:p>
          </p:txBody>
        </p:sp>
        <p:sp>
          <p:nvSpPr>
            <p:cNvPr id="14" name="McK 5. Source"/>
            <p:cNvSpPr>
              <a:spLocks noChangeArrowheads="1"/>
            </p:cNvSpPr>
            <p:nvPr/>
          </p:nvSpPr>
          <p:spPr bwMode="auto">
            <a:xfrm>
              <a:off x="171452" y="6434507"/>
              <a:ext cx="8258174"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711" indent="-621711" defTabSz="913137" fontAlgn="base">
                <a:spcBef>
                  <a:spcPct val="0"/>
                </a:spcBef>
                <a:spcAft>
                  <a:spcPct val="0"/>
                </a:spcAft>
                <a:tabLst>
                  <a:tab pos="624948" algn="l"/>
                </a:tabLst>
              </a:pPr>
              <a:r>
                <a:rPr lang="en-US" sz="1000" dirty="0">
                  <a:solidFill>
                    <a:srgbClr val="1F1F1F"/>
                  </a:solidFill>
                </a:rPr>
                <a:t>SOURCE: Source</a:t>
              </a:r>
            </a:p>
          </p:txBody>
        </p:sp>
      </p:grpSp>
      <p:grpSp>
        <p:nvGrpSpPr>
          <p:cNvPr id="15" name="ACET" hidden="1"/>
          <p:cNvGrpSpPr>
            <a:grpSpLocks/>
          </p:cNvGrpSpPr>
          <p:nvPr/>
        </p:nvGrpSpPr>
        <p:grpSpPr bwMode="auto">
          <a:xfrm>
            <a:off x="1976209" y="2335817"/>
            <a:ext cx="5853024"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013" fontAlgn="base">
                <a:spcBef>
                  <a:spcPct val="0"/>
                </a:spcBef>
                <a:spcAft>
                  <a:spcPct val="0"/>
                </a:spcAft>
              </a:pPr>
              <a:r>
                <a:rPr lang="en-US" sz="1600" b="1" dirty="0">
                  <a:solidFill>
                    <a:srgbClr val="1F1F1F"/>
                  </a:solidFill>
                </a:rPr>
                <a:t>Title</a:t>
              </a:r>
            </a:p>
            <a:p>
              <a:pPr defTabSz="914013" fontAlgn="base">
                <a:spcBef>
                  <a:spcPct val="0"/>
                </a:spcBef>
                <a:spcAft>
                  <a:spcPct val="0"/>
                </a:spcAft>
              </a:pPr>
              <a:r>
                <a:rPr lang="en-US" sz="1600" dirty="0">
                  <a:solidFill>
                    <a:srgbClr val="808080"/>
                  </a:solidFill>
                </a:rPr>
                <a:t>Unit of measure</a:t>
              </a:r>
            </a:p>
          </p:txBody>
        </p:sp>
      </p:grpSp>
      <p:grpSp>
        <p:nvGrpSpPr>
          <p:cNvPr id="21" name="LegendBoxes" hidden="1"/>
          <p:cNvGrpSpPr>
            <a:grpSpLocks/>
          </p:cNvGrpSpPr>
          <p:nvPr userDrawn="1"/>
        </p:nvGrpSpPr>
        <p:grpSpPr bwMode="auto">
          <a:xfrm>
            <a:off x="10919827" y="292447"/>
            <a:ext cx="855274" cy="1013962"/>
            <a:chOff x="4936" y="176"/>
            <a:chExt cx="396" cy="626"/>
          </a:xfrm>
        </p:grpSpPr>
        <p:sp>
          <p:nvSpPr>
            <p:cNvPr id="22"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2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24"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26"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2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28"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2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nvGrpSpPr>
          <p:cNvPr id="30" name="LegendLines" hidden="1"/>
          <p:cNvGrpSpPr>
            <a:grpSpLocks/>
          </p:cNvGrpSpPr>
          <p:nvPr userDrawn="1"/>
        </p:nvGrpSpPr>
        <p:grpSpPr bwMode="auto">
          <a:xfrm>
            <a:off x="10500878" y="292447"/>
            <a:ext cx="1274276" cy="741844"/>
            <a:chOff x="4750" y="176"/>
            <a:chExt cx="590" cy="458"/>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013" fontAlgn="base">
                <a:spcBef>
                  <a:spcPct val="0"/>
                </a:spcBef>
                <a:spcAft>
                  <a:spcPct val="0"/>
                </a:spcAft>
              </a:pPr>
              <a:endParaRPr lang="en-US" sz="1600" dirty="0">
                <a:solidFill>
                  <a:srgbClr val="1F1F1F"/>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013" fontAlgn="base">
                <a:spcBef>
                  <a:spcPct val="0"/>
                </a:spcBef>
                <a:spcAft>
                  <a:spcPct val="0"/>
                </a:spcAft>
              </a:pPr>
              <a:endParaRPr lang="en-US" sz="1600" dirty="0">
                <a:solidFill>
                  <a:srgbClr val="1F1F1F"/>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013" fontAlgn="base">
                <a:spcBef>
                  <a:spcPct val="0"/>
                </a:spcBef>
                <a:spcAft>
                  <a:spcPct val="0"/>
                </a:spcAft>
              </a:pPr>
              <a:endParaRPr lang="en-US" sz="1600" dirty="0">
                <a:solidFill>
                  <a:srgbClr val="1F1F1F"/>
                </a:solidFill>
              </a:endParaRPr>
            </a:p>
          </p:txBody>
        </p:sp>
        <p:sp>
          <p:nvSpPr>
            <p:cNvPr id="34"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35"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36"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grpSp>
      <p:grpSp>
        <p:nvGrpSpPr>
          <p:cNvPr id="37" name="McKSticker" hidden="1"/>
          <p:cNvGrpSpPr/>
          <p:nvPr userDrawn="1"/>
        </p:nvGrpSpPr>
        <p:grpSpPr bwMode="auto">
          <a:xfrm>
            <a:off x="10891789" y="292473"/>
            <a:ext cx="1066894" cy="212366"/>
            <a:chOff x="7956581" y="285750"/>
            <a:chExt cx="784194" cy="208141"/>
          </a:xfrm>
        </p:grpSpPr>
        <p:sp>
          <p:nvSpPr>
            <p:cNvPr id="38" name="StickerRectangle"/>
            <p:cNvSpPr>
              <a:spLocks noChangeArrowheads="1"/>
            </p:cNvSpPr>
            <p:nvPr/>
          </p:nvSpPr>
          <p:spPr bwMode="auto">
            <a:xfrm>
              <a:off x="7956581" y="285750"/>
              <a:ext cx="784194" cy="20814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137" fontAlgn="base">
                <a:spcBef>
                  <a:spcPct val="0"/>
                </a:spcBef>
                <a:spcAft>
                  <a:spcPct val="0"/>
                </a:spcAft>
                <a:buClr>
                  <a:srgbClr val="339966"/>
                </a:buClr>
              </a:pPr>
              <a:r>
                <a:rPr lang="en-US" sz="1200" dirty="0">
                  <a:solidFill>
                    <a:srgbClr val="808080"/>
                  </a:solidFill>
                </a:rPr>
                <a:t>PRELIMINARY</a:t>
              </a:r>
            </a:p>
          </p:txBody>
        </p:sp>
        <p:cxnSp>
          <p:nvCxnSpPr>
            <p:cNvPr id="39" name="AutoShape 31"/>
            <p:cNvCxnSpPr>
              <a:cxnSpLocks noChangeShapeType="1"/>
              <a:stCxn id="38" idx="2"/>
              <a:endCxn id="38" idx="4"/>
            </p:cNvCxnSpPr>
            <p:nvPr/>
          </p:nvCxnSpPr>
          <p:spPr bwMode="auto">
            <a:xfrm>
              <a:off x="7956581" y="285750"/>
              <a:ext cx="0" cy="20814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956581" y="493891"/>
              <a:ext cx="7841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1" name="LegendMoons" hidden="1"/>
          <p:cNvGrpSpPr/>
          <p:nvPr userDrawn="1"/>
        </p:nvGrpSpPr>
        <p:grpSpPr bwMode="auto">
          <a:xfrm>
            <a:off x="10828982" y="292447"/>
            <a:ext cx="946031" cy="1333054"/>
            <a:chOff x="7875175" y="286625"/>
            <a:chExt cx="695359" cy="1306516"/>
          </a:xfrm>
        </p:grpSpPr>
        <p:grpSp>
          <p:nvGrpSpPr>
            <p:cNvPr id="42" name="MoonLegend2"/>
            <p:cNvGrpSpPr>
              <a:grpSpLocks noChangeAspect="1"/>
            </p:cNvGrpSpPr>
            <p:nvPr>
              <p:custDataLst>
                <p:tags r:id="rId9"/>
              </p:custDataLst>
            </p:nvPr>
          </p:nvGrpSpPr>
          <p:grpSpPr bwMode="auto">
            <a:xfrm>
              <a:off x="7875175" y="560866"/>
              <a:ext cx="209550" cy="209551"/>
              <a:chOff x="1694" y="2044"/>
              <a:chExt cx="160" cy="160"/>
            </a:xfrm>
          </p:grpSpPr>
          <p:sp>
            <p:nvSpPr>
              <p:cNvPr id="6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6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nvGrpSpPr>
            <p:cNvPr id="43" name="MoonLegend4"/>
            <p:cNvGrpSpPr>
              <a:grpSpLocks noChangeAspect="1"/>
            </p:cNvGrpSpPr>
            <p:nvPr>
              <p:custDataLst>
                <p:tags r:id="rId10"/>
              </p:custDataLst>
            </p:nvPr>
          </p:nvGrpSpPr>
          <p:grpSpPr bwMode="auto">
            <a:xfrm>
              <a:off x="7875175" y="1109348"/>
              <a:ext cx="209550" cy="209551"/>
              <a:chOff x="4495" y="1198"/>
              <a:chExt cx="160" cy="160"/>
            </a:xfrm>
          </p:grpSpPr>
          <p:sp>
            <p:nvSpPr>
              <p:cNvPr id="5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5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nvGrpSpPr>
            <p:cNvPr id="44" name="MoonLegend5"/>
            <p:cNvGrpSpPr>
              <a:grpSpLocks noChangeAspect="1"/>
            </p:cNvGrpSpPr>
            <p:nvPr>
              <p:custDataLst>
                <p:tags r:id="rId11"/>
              </p:custDataLst>
            </p:nvPr>
          </p:nvGrpSpPr>
          <p:grpSpPr bwMode="auto">
            <a:xfrm>
              <a:off x="7875175" y="1383590"/>
              <a:ext cx="209550" cy="209551"/>
              <a:chOff x="4495" y="1440"/>
              <a:chExt cx="160" cy="160"/>
            </a:xfrm>
          </p:grpSpPr>
          <p:sp>
            <p:nvSpPr>
              <p:cNvPr id="5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5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sp>
          <p:nvSpPr>
            <p:cNvPr id="45" name="Legend1"/>
            <p:cNvSpPr>
              <a:spLocks noChangeArrowheads="1"/>
            </p:cNvSpPr>
            <p:nvPr/>
          </p:nvSpPr>
          <p:spPr bwMode="auto">
            <a:xfrm>
              <a:off x="8195850" y="29932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46" name="Legend2"/>
            <p:cNvSpPr>
              <a:spLocks noChangeArrowheads="1"/>
            </p:cNvSpPr>
            <p:nvPr/>
          </p:nvSpPr>
          <p:spPr bwMode="auto">
            <a:xfrm>
              <a:off x="8195850" y="573963"/>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47" name="Legend3"/>
            <p:cNvSpPr>
              <a:spLocks noChangeArrowheads="1"/>
            </p:cNvSpPr>
            <p:nvPr/>
          </p:nvSpPr>
          <p:spPr bwMode="auto">
            <a:xfrm>
              <a:off x="8195850" y="848602"/>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48" name="Legend4"/>
            <p:cNvSpPr>
              <a:spLocks noChangeArrowheads="1"/>
            </p:cNvSpPr>
            <p:nvPr/>
          </p:nvSpPr>
          <p:spPr bwMode="auto">
            <a:xfrm>
              <a:off x="8195850" y="112006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49" name="Legend5"/>
            <p:cNvSpPr>
              <a:spLocks noChangeArrowheads="1"/>
            </p:cNvSpPr>
            <p:nvPr/>
          </p:nvSpPr>
          <p:spPr bwMode="auto">
            <a:xfrm>
              <a:off x="8195850" y="139629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grpSp>
          <p:nvGrpSpPr>
            <p:cNvPr id="50" name="MoonLegend3"/>
            <p:cNvGrpSpPr>
              <a:grpSpLocks noChangeAspect="1"/>
            </p:cNvGrpSpPr>
            <p:nvPr>
              <p:custDataLst>
                <p:tags r:id="rId12"/>
              </p:custDataLst>
            </p:nvPr>
          </p:nvGrpSpPr>
          <p:grpSpPr bwMode="auto">
            <a:xfrm>
              <a:off x="7875175" y="835107"/>
              <a:ext cx="209550" cy="209551"/>
              <a:chOff x="4495" y="1198"/>
              <a:chExt cx="160" cy="160"/>
            </a:xfrm>
          </p:grpSpPr>
          <p:sp>
            <p:nvSpPr>
              <p:cNvPr id="5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5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nvGrpSpPr>
            <p:cNvPr id="51"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52"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53" name="Arc 42"/>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spTree>
    <p:extLst>
      <p:ext uri="{BB962C8B-B14F-4D97-AF65-F5344CB8AC3E}">
        <p14:creationId xmlns:p14="http://schemas.microsoft.com/office/powerpoint/2010/main" val="398965769"/>
      </p:ext>
    </p:extLst>
  </p:cSld>
  <p:clrMap bg1="lt1" tx1="dk1" bg2="lt2" tx2="dk2" accent1="accent1" accent2="accent2" accent3="accent3" accent4="accent4" accent5="accent5" accent6="accent6" hlink="hlink" folHlink="folHlink"/>
  <p:sldLayoutIdLst>
    <p:sldLayoutId id="2147484563" r:id="rId1"/>
    <p:sldLayoutId id="2147484564" r:id="rId2"/>
    <p:sldLayoutId id="2147484565" r:id="rId3"/>
    <p:sldLayoutId id="2147484568" r:id="rId4"/>
  </p:sldLayoutIdLst>
  <p:hf hdr="0" ftr="0" dt="0"/>
  <p:txStyles>
    <p:titleStyle>
      <a:lvl1pPr algn="l" defTabSz="913137" rtl="0" eaLnBrk="1" fontAlgn="base" hangingPunct="1">
        <a:spcBef>
          <a:spcPct val="0"/>
        </a:spcBef>
        <a:spcAft>
          <a:spcPct val="0"/>
        </a:spcAft>
        <a:tabLst>
          <a:tab pos="275237" algn="l"/>
        </a:tabLst>
        <a:defRPr sz="1900" b="1" baseline="0">
          <a:solidFill>
            <a:srgbClr val="26734D"/>
          </a:solidFill>
          <a:latin typeface="+mj-lt"/>
          <a:ea typeface="+mj-ea"/>
          <a:cs typeface="+mj-cs"/>
        </a:defRPr>
      </a:lvl1pPr>
      <a:lvl2pPr algn="l" defTabSz="913137" rtl="0" eaLnBrk="1" fontAlgn="base" hangingPunct="1">
        <a:spcBef>
          <a:spcPct val="0"/>
        </a:spcBef>
        <a:spcAft>
          <a:spcPct val="0"/>
        </a:spcAft>
        <a:defRPr sz="1900" b="1">
          <a:solidFill>
            <a:schemeClr val="tx2"/>
          </a:solidFill>
          <a:latin typeface="Arial" charset="0"/>
        </a:defRPr>
      </a:lvl2pPr>
      <a:lvl3pPr algn="l" defTabSz="913137" rtl="0" eaLnBrk="1" fontAlgn="base" hangingPunct="1">
        <a:spcBef>
          <a:spcPct val="0"/>
        </a:spcBef>
        <a:spcAft>
          <a:spcPct val="0"/>
        </a:spcAft>
        <a:defRPr sz="1900" b="1">
          <a:solidFill>
            <a:schemeClr val="tx2"/>
          </a:solidFill>
          <a:latin typeface="Arial" charset="0"/>
        </a:defRPr>
      </a:lvl3pPr>
      <a:lvl4pPr algn="l" defTabSz="913137" rtl="0" eaLnBrk="1" fontAlgn="base" hangingPunct="1">
        <a:spcBef>
          <a:spcPct val="0"/>
        </a:spcBef>
        <a:spcAft>
          <a:spcPct val="0"/>
        </a:spcAft>
        <a:defRPr sz="1900" b="1">
          <a:solidFill>
            <a:schemeClr val="tx2"/>
          </a:solidFill>
          <a:latin typeface="Arial" charset="0"/>
        </a:defRPr>
      </a:lvl4pPr>
      <a:lvl5pPr algn="l" defTabSz="913137" rtl="0" eaLnBrk="1" fontAlgn="base" hangingPunct="1">
        <a:spcBef>
          <a:spcPct val="0"/>
        </a:spcBef>
        <a:spcAft>
          <a:spcPct val="0"/>
        </a:spcAft>
        <a:defRPr sz="1900" b="1">
          <a:solidFill>
            <a:schemeClr val="tx2"/>
          </a:solidFill>
          <a:latin typeface="Arial" charset="0"/>
        </a:defRPr>
      </a:lvl5pPr>
      <a:lvl6pPr marL="466283" algn="l" defTabSz="913137" rtl="0" eaLnBrk="1" fontAlgn="base" hangingPunct="1">
        <a:spcBef>
          <a:spcPct val="0"/>
        </a:spcBef>
        <a:spcAft>
          <a:spcPct val="0"/>
        </a:spcAft>
        <a:defRPr sz="1900" b="1">
          <a:solidFill>
            <a:schemeClr val="tx2"/>
          </a:solidFill>
          <a:latin typeface="Arial" charset="0"/>
        </a:defRPr>
      </a:lvl6pPr>
      <a:lvl7pPr marL="932567" algn="l" defTabSz="913137" rtl="0" eaLnBrk="1" fontAlgn="base" hangingPunct="1">
        <a:spcBef>
          <a:spcPct val="0"/>
        </a:spcBef>
        <a:spcAft>
          <a:spcPct val="0"/>
        </a:spcAft>
        <a:defRPr sz="1900" b="1">
          <a:solidFill>
            <a:schemeClr val="tx2"/>
          </a:solidFill>
          <a:latin typeface="Arial" charset="0"/>
        </a:defRPr>
      </a:lvl7pPr>
      <a:lvl8pPr marL="1398849" algn="l" defTabSz="913137" rtl="0" eaLnBrk="1" fontAlgn="base" hangingPunct="1">
        <a:spcBef>
          <a:spcPct val="0"/>
        </a:spcBef>
        <a:spcAft>
          <a:spcPct val="0"/>
        </a:spcAft>
        <a:defRPr sz="1900" b="1">
          <a:solidFill>
            <a:schemeClr val="tx2"/>
          </a:solidFill>
          <a:latin typeface="Arial" charset="0"/>
        </a:defRPr>
      </a:lvl8pPr>
      <a:lvl9pPr marL="1865134" algn="l" defTabSz="913137" rtl="0" eaLnBrk="1" fontAlgn="base" hangingPunct="1">
        <a:spcBef>
          <a:spcPct val="0"/>
        </a:spcBef>
        <a:spcAft>
          <a:spcPct val="0"/>
        </a:spcAft>
        <a:defRPr sz="1900" b="1">
          <a:solidFill>
            <a:schemeClr val="tx2"/>
          </a:solidFill>
          <a:latin typeface="Arial" charset="0"/>
        </a:defRPr>
      </a:lvl9pPr>
    </p:titleStyle>
    <p:bodyStyle>
      <a:lvl1pPr marL="0" indent="0" algn="l" defTabSz="91313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23" indent="-195903" algn="l" defTabSz="91313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283" indent="-267142" algn="l" defTabSz="91313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570" indent="-158667" algn="l" defTabSz="91313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567" rtl="0" eaLnBrk="1" latinLnBrk="0" hangingPunct="1">
        <a:defRPr sz="1800" kern="1200">
          <a:solidFill>
            <a:schemeClr val="tx1"/>
          </a:solidFill>
          <a:latin typeface="+mn-lt"/>
          <a:ea typeface="+mn-ea"/>
          <a:cs typeface="+mn-cs"/>
        </a:defRPr>
      </a:lvl1pPr>
      <a:lvl2pPr marL="466283" algn="l" defTabSz="932567" rtl="0" eaLnBrk="1" latinLnBrk="0" hangingPunct="1">
        <a:defRPr sz="1800" kern="1200">
          <a:solidFill>
            <a:schemeClr val="tx1"/>
          </a:solidFill>
          <a:latin typeface="+mn-lt"/>
          <a:ea typeface="+mn-ea"/>
          <a:cs typeface="+mn-cs"/>
        </a:defRPr>
      </a:lvl2pPr>
      <a:lvl3pPr marL="932567" algn="l" defTabSz="932567" rtl="0" eaLnBrk="1" latinLnBrk="0" hangingPunct="1">
        <a:defRPr sz="1800" kern="1200">
          <a:solidFill>
            <a:schemeClr val="tx1"/>
          </a:solidFill>
          <a:latin typeface="+mn-lt"/>
          <a:ea typeface="+mn-ea"/>
          <a:cs typeface="+mn-cs"/>
        </a:defRPr>
      </a:lvl3pPr>
      <a:lvl4pPr marL="1398849" algn="l" defTabSz="932567" rtl="0" eaLnBrk="1" latinLnBrk="0" hangingPunct="1">
        <a:defRPr sz="1800" kern="1200">
          <a:solidFill>
            <a:schemeClr val="tx1"/>
          </a:solidFill>
          <a:latin typeface="+mn-lt"/>
          <a:ea typeface="+mn-ea"/>
          <a:cs typeface="+mn-cs"/>
        </a:defRPr>
      </a:lvl4pPr>
      <a:lvl5pPr marL="1865134" algn="l" defTabSz="932567" rtl="0" eaLnBrk="1" latinLnBrk="0" hangingPunct="1">
        <a:defRPr sz="1800" kern="1200">
          <a:solidFill>
            <a:schemeClr val="tx1"/>
          </a:solidFill>
          <a:latin typeface="+mn-lt"/>
          <a:ea typeface="+mn-ea"/>
          <a:cs typeface="+mn-cs"/>
        </a:defRPr>
      </a:lvl5pPr>
      <a:lvl6pPr marL="2331419" algn="l" defTabSz="932567" rtl="0" eaLnBrk="1" latinLnBrk="0" hangingPunct="1">
        <a:defRPr sz="1800" kern="1200">
          <a:solidFill>
            <a:schemeClr val="tx1"/>
          </a:solidFill>
          <a:latin typeface="+mn-lt"/>
          <a:ea typeface="+mn-ea"/>
          <a:cs typeface="+mn-cs"/>
        </a:defRPr>
      </a:lvl6pPr>
      <a:lvl7pPr marL="2797701" algn="l" defTabSz="932567" rtl="0" eaLnBrk="1" latinLnBrk="0" hangingPunct="1">
        <a:defRPr sz="1800" kern="1200">
          <a:solidFill>
            <a:schemeClr val="tx1"/>
          </a:solidFill>
          <a:latin typeface="+mn-lt"/>
          <a:ea typeface="+mn-ea"/>
          <a:cs typeface="+mn-cs"/>
        </a:defRPr>
      </a:lvl7pPr>
      <a:lvl8pPr marL="3263984" algn="l" defTabSz="932567" rtl="0" eaLnBrk="1" latinLnBrk="0" hangingPunct="1">
        <a:defRPr sz="1800" kern="1200">
          <a:solidFill>
            <a:schemeClr val="tx1"/>
          </a:solidFill>
          <a:latin typeface="+mn-lt"/>
          <a:ea typeface="+mn-ea"/>
          <a:cs typeface="+mn-cs"/>
        </a:defRPr>
      </a:lvl8pPr>
      <a:lvl9pPr marL="3730267" algn="l" defTabSz="93256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638994"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Slide Number"/>
          <p:cNvSpPr txBox="1">
            <a:spLocks/>
          </p:cNvSpPr>
          <p:nvPr/>
        </p:nvSpPr>
        <p:spPr bwMode="auto">
          <a:xfrm>
            <a:off x="11801650" y="656520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1788" fontAlgn="base">
              <a:spcBef>
                <a:spcPct val="0"/>
              </a:spcBef>
              <a:spcAft>
                <a:spcPct val="0"/>
              </a:spcAft>
            </a:pPr>
            <a:fld id="{42C328C1-A84F-4A39-A664-DBA00541A8C6}" type="slidenum">
              <a:rPr lang="en-US" smtClean="0">
                <a:solidFill>
                  <a:srgbClr val="1F1F1F"/>
                </a:solidFill>
              </a:rPr>
              <a:pPr algn="r" defTabSz="911788" fontAlgn="base">
                <a:spcBef>
                  <a:spcPct val="0"/>
                </a:spcBef>
                <a:spcAft>
                  <a:spcPct val="0"/>
                </a:spcAft>
              </a:pPr>
              <a:t>‹#›</a:t>
            </a:fld>
            <a:endParaRPr lang="en-US" dirty="0">
              <a:solidFill>
                <a:srgbClr val="1F1F1F"/>
              </a:solidFill>
            </a:endParaRPr>
          </a:p>
        </p:txBody>
      </p:sp>
      <p:sp>
        <p:nvSpPr>
          <p:cNvPr id="1033" name="doc id"/>
          <p:cNvSpPr>
            <a:spLocks noChangeArrowheads="1"/>
          </p:cNvSpPr>
          <p:nvPr/>
        </p:nvSpPr>
        <p:spPr bwMode="auto">
          <a:xfrm>
            <a:off x="11064608"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1398" fontAlgn="base">
              <a:spcBef>
                <a:spcPct val="0"/>
              </a:spcBef>
              <a:spcAft>
                <a:spcPct val="0"/>
              </a:spcAft>
            </a:pPr>
            <a:endParaRPr lang="en-US" sz="900" dirty="0">
              <a:solidFill>
                <a:srgbClr val="000000"/>
              </a:solidFill>
            </a:endParaRPr>
          </a:p>
        </p:txBody>
      </p:sp>
      <p:sp>
        <p:nvSpPr>
          <p:cNvPr id="1034" name="Working Draft" hidden="1"/>
          <p:cNvSpPr txBox="1">
            <a:spLocks noChangeArrowheads="1"/>
          </p:cNvSpPr>
          <p:nvPr/>
        </p:nvSpPr>
        <p:spPr bwMode="auto">
          <a:xfrm rot="5400000">
            <a:off x="10917158" y="2567690"/>
            <a:ext cx="235962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788" eaLnBrk="1" fontAlgn="base" hangingPunct="1">
              <a:spcBef>
                <a:spcPct val="0"/>
              </a:spcBef>
              <a:spcAft>
                <a:spcPct val="0"/>
              </a:spcAft>
              <a:defRPr/>
            </a:pPr>
            <a:r>
              <a:rPr lang="en-US" sz="600">
                <a:solidFill>
                  <a:srgbClr val="1F1F1F"/>
                </a:solidFill>
                <a:latin typeface="Arial"/>
              </a:rPr>
              <a:t>Last Modified 2015-12-14 07:07 AM W. Central Africa Standard Time</a:t>
            </a:r>
            <a:endParaRPr lang="en-US" dirty="0">
              <a:solidFill>
                <a:srgbClr val="1F1F1F"/>
              </a:solidFill>
              <a:latin typeface="Arial"/>
            </a:endParaRPr>
          </a:p>
        </p:txBody>
      </p:sp>
      <p:sp>
        <p:nvSpPr>
          <p:cNvPr id="1035" name="Printed" hidden="1"/>
          <p:cNvSpPr txBox="1">
            <a:spLocks noChangeArrowheads="1"/>
          </p:cNvSpPr>
          <p:nvPr/>
        </p:nvSpPr>
        <p:spPr bwMode="auto">
          <a:xfrm rot="5400000">
            <a:off x="11029371" y="4785658"/>
            <a:ext cx="213520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788" eaLnBrk="1" fontAlgn="base" hangingPunct="1">
              <a:spcBef>
                <a:spcPct val="0"/>
              </a:spcBef>
              <a:spcAft>
                <a:spcPct val="0"/>
              </a:spcAft>
              <a:defRPr/>
            </a:pPr>
            <a:r>
              <a:rPr lang="en-US" sz="600" dirty="0">
                <a:solidFill>
                  <a:srgbClr val="1F1F1F"/>
                </a:solidFill>
                <a:latin typeface="Arial"/>
              </a:rPr>
              <a:t>Printed 2015/03/17 03:13 PM W. Central Africa Standard Time</a:t>
            </a:r>
            <a:endParaRPr lang="en-US" dirty="0">
              <a:solidFill>
                <a:srgbClr val="1F1F1F"/>
              </a:solidFill>
              <a:latin typeface="Arial"/>
            </a:endParaRPr>
          </a:p>
        </p:txBody>
      </p:sp>
      <p:sp>
        <p:nvSpPr>
          <p:cNvPr id="1036" name="Rectangle 286"/>
          <p:cNvSpPr>
            <a:spLocks noGrp="1" noChangeArrowheads="1"/>
          </p:cNvSpPr>
          <p:nvPr>
            <p:ph type="body" idx="1"/>
          </p:nvPr>
        </p:nvSpPr>
        <p:spPr bwMode="auto">
          <a:xfrm>
            <a:off x="1976213" y="2925409"/>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33289" y="234867"/>
            <a:ext cx="1172548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33260" y="27536"/>
            <a:ext cx="92012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788" fontAlgn="base">
              <a:spcBef>
                <a:spcPct val="0"/>
              </a:spcBef>
              <a:spcAft>
                <a:spcPct val="0"/>
              </a:spcAft>
            </a:pPr>
            <a:r>
              <a:rPr lang="en-US" sz="1500" dirty="0">
                <a:solidFill>
                  <a:srgbClr val="808080"/>
                </a:solidFill>
              </a:rPr>
              <a:t>TRACKER</a:t>
            </a:r>
          </a:p>
        </p:txBody>
      </p:sp>
      <p:sp>
        <p:nvSpPr>
          <p:cNvPr id="11" name="McK 3. Unit of measure" hidden="1"/>
          <p:cNvSpPr txBox="1">
            <a:spLocks noChangeArrowheads="1"/>
          </p:cNvSpPr>
          <p:nvPr/>
        </p:nvSpPr>
        <p:spPr bwMode="auto">
          <a:xfrm>
            <a:off x="233289" y="542635"/>
            <a:ext cx="1172548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3" name="McK Slide Elements" hidden="1"/>
          <p:cNvGrpSpPr/>
          <p:nvPr/>
        </p:nvGrpSpPr>
        <p:grpSpPr bwMode="auto">
          <a:xfrm>
            <a:off x="233261" y="6205220"/>
            <a:ext cx="11725483" cy="513859"/>
            <a:chOff x="171451" y="6081700"/>
            <a:chExt cx="8618537" cy="503632"/>
          </a:xfrm>
        </p:grpSpPr>
        <p:sp>
          <p:nvSpPr>
            <p:cNvPr id="13" name="McK 4. Footnote"/>
            <p:cNvSpPr txBox="1">
              <a:spLocks noChangeArrowheads="1"/>
            </p:cNvSpPr>
            <p:nvPr/>
          </p:nvSpPr>
          <p:spPr bwMode="auto">
            <a:xfrm>
              <a:off x="171451" y="6081700"/>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1F1F1F"/>
                  </a:solidFill>
                  <a:latin typeface="Arial"/>
                </a:rPr>
                <a:t>1 Footnote</a:t>
              </a:r>
            </a:p>
          </p:txBody>
        </p:sp>
        <p:sp>
          <p:nvSpPr>
            <p:cNvPr id="14" name="McK 5. Source"/>
            <p:cNvSpPr>
              <a:spLocks noChangeArrowheads="1"/>
            </p:cNvSpPr>
            <p:nvPr/>
          </p:nvSpPr>
          <p:spPr bwMode="auto">
            <a:xfrm>
              <a:off x="171452" y="6434507"/>
              <a:ext cx="8258174"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0526" indent="-620526" defTabSz="911398" fontAlgn="base">
                <a:spcBef>
                  <a:spcPct val="0"/>
                </a:spcBef>
                <a:spcAft>
                  <a:spcPct val="0"/>
                </a:spcAft>
                <a:tabLst>
                  <a:tab pos="623757" algn="l"/>
                </a:tabLst>
              </a:pPr>
              <a:r>
                <a:rPr lang="en-US" sz="1000" dirty="0">
                  <a:solidFill>
                    <a:srgbClr val="1F1F1F"/>
                  </a:solidFill>
                </a:rPr>
                <a:t>SOURCE: Source</a:t>
              </a:r>
            </a:p>
          </p:txBody>
        </p:sp>
      </p:grpSp>
      <p:grpSp>
        <p:nvGrpSpPr>
          <p:cNvPr id="4" name="ACET" hidden="1"/>
          <p:cNvGrpSpPr>
            <a:grpSpLocks/>
          </p:cNvGrpSpPr>
          <p:nvPr/>
        </p:nvGrpSpPr>
        <p:grpSpPr bwMode="auto">
          <a:xfrm>
            <a:off x="1976213" y="2335817"/>
            <a:ext cx="5853024"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1788" fontAlgn="base">
                <a:spcBef>
                  <a:spcPct val="0"/>
                </a:spcBef>
                <a:spcAft>
                  <a:spcPct val="0"/>
                </a:spcAft>
              </a:pPr>
              <a:r>
                <a:rPr lang="en-US" sz="1600" b="1" dirty="0">
                  <a:solidFill>
                    <a:srgbClr val="1F1F1F"/>
                  </a:solidFill>
                </a:rPr>
                <a:t>Title</a:t>
              </a:r>
            </a:p>
            <a:p>
              <a:pPr defTabSz="911788" fontAlgn="base">
                <a:spcBef>
                  <a:spcPct val="0"/>
                </a:spcBef>
                <a:spcAft>
                  <a:spcPct val="0"/>
                </a:spcAft>
              </a:pPr>
              <a:r>
                <a:rPr lang="en-US" sz="1600" dirty="0">
                  <a:solidFill>
                    <a:srgbClr val="808080"/>
                  </a:solidFill>
                </a:rPr>
                <a:t>Unit of measure</a:t>
              </a:r>
            </a:p>
          </p:txBody>
        </p:sp>
      </p:grpSp>
      <p:grpSp>
        <p:nvGrpSpPr>
          <p:cNvPr id="5" name="LegendBoxes" hidden="1"/>
          <p:cNvGrpSpPr>
            <a:grpSpLocks/>
          </p:cNvGrpSpPr>
          <p:nvPr/>
        </p:nvGrpSpPr>
        <p:grpSpPr bwMode="auto">
          <a:xfrm>
            <a:off x="10919890" y="292467"/>
            <a:ext cx="855277" cy="1013962"/>
            <a:chOff x="4936" y="176"/>
            <a:chExt cx="396" cy="626"/>
          </a:xfrm>
        </p:grpSpPr>
        <p:sp>
          <p:nvSpPr>
            <p:cNvPr id="22"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2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sp>
          <p:nvSpPr>
            <p:cNvPr id="24"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sp>
          <p:nvSpPr>
            <p:cNvPr id="26"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2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sp>
          <p:nvSpPr>
            <p:cNvPr id="28"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2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grpSp>
      <p:grpSp>
        <p:nvGrpSpPr>
          <p:cNvPr id="6" name="LegendLines" hidden="1"/>
          <p:cNvGrpSpPr>
            <a:grpSpLocks/>
          </p:cNvGrpSpPr>
          <p:nvPr/>
        </p:nvGrpSpPr>
        <p:grpSpPr bwMode="auto">
          <a:xfrm>
            <a:off x="10500459" y="292449"/>
            <a:ext cx="1274276" cy="741845"/>
            <a:chOff x="4750" y="176"/>
            <a:chExt cx="590" cy="458"/>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788" fontAlgn="base">
                <a:spcBef>
                  <a:spcPct val="0"/>
                </a:spcBef>
                <a:spcAft>
                  <a:spcPct val="0"/>
                </a:spcAft>
              </a:pPr>
              <a:endParaRPr lang="en-US" sz="1600">
                <a:solidFill>
                  <a:srgbClr val="1F1F1F"/>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788" fontAlgn="base">
                <a:spcBef>
                  <a:spcPct val="0"/>
                </a:spcBef>
                <a:spcAft>
                  <a:spcPct val="0"/>
                </a:spcAft>
              </a:pPr>
              <a:endParaRPr lang="en-US" sz="1600">
                <a:solidFill>
                  <a:srgbClr val="1F1F1F"/>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1788" fontAlgn="base">
                <a:spcBef>
                  <a:spcPct val="0"/>
                </a:spcBef>
                <a:spcAft>
                  <a:spcPct val="0"/>
                </a:spcAft>
              </a:pPr>
              <a:endParaRPr lang="en-US" sz="1600">
                <a:solidFill>
                  <a:srgbClr val="1F1F1F"/>
                </a:solidFill>
              </a:endParaRPr>
            </a:p>
          </p:txBody>
        </p:sp>
        <p:sp>
          <p:nvSpPr>
            <p:cNvPr id="34"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35"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36"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grpSp>
      <p:grpSp>
        <p:nvGrpSpPr>
          <p:cNvPr id="7" name="McKSticker" hidden="1"/>
          <p:cNvGrpSpPr/>
          <p:nvPr/>
        </p:nvGrpSpPr>
        <p:grpSpPr bwMode="auto">
          <a:xfrm>
            <a:off x="10892461" y="292447"/>
            <a:ext cx="1066894" cy="212366"/>
            <a:chOff x="7956581" y="285750"/>
            <a:chExt cx="784194" cy="208141"/>
          </a:xfrm>
        </p:grpSpPr>
        <p:sp>
          <p:nvSpPr>
            <p:cNvPr id="38" name="StickerRectangle"/>
            <p:cNvSpPr>
              <a:spLocks noChangeArrowheads="1"/>
            </p:cNvSpPr>
            <p:nvPr/>
          </p:nvSpPr>
          <p:spPr bwMode="auto">
            <a:xfrm>
              <a:off x="7956581" y="285750"/>
              <a:ext cx="784194" cy="20814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1398" fontAlgn="base">
                <a:spcBef>
                  <a:spcPct val="0"/>
                </a:spcBef>
                <a:spcAft>
                  <a:spcPct val="0"/>
                </a:spcAft>
                <a:buClr>
                  <a:srgbClr val="339966"/>
                </a:buClr>
              </a:pPr>
              <a:r>
                <a:rPr lang="en-US" sz="1200" dirty="0">
                  <a:solidFill>
                    <a:srgbClr val="808080"/>
                  </a:solidFill>
                </a:rPr>
                <a:t>PRELIMINARY</a:t>
              </a:r>
            </a:p>
          </p:txBody>
        </p:sp>
        <p:cxnSp>
          <p:nvCxnSpPr>
            <p:cNvPr id="39" name="AutoShape 31"/>
            <p:cNvCxnSpPr>
              <a:cxnSpLocks noChangeShapeType="1"/>
              <a:stCxn id="38" idx="2"/>
              <a:endCxn id="38" idx="4"/>
            </p:cNvCxnSpPr>
            <p:nvPr/>
          </p:nvCxnSpPr>
          <p:spPr bwMode="auto">
            <a:xfrm>
              <a:off x="7956581" y="285750"/>
              <a:ext cx="0" cy="20814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956581" y="493891"/>
              <a:ext cx="7841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a:xfrm>
            <a:off x="10829873" y="292447"/>
            <a:ext cx="946031" cy="1333054"/>
            <a:chOff x="7875175" y="286625"/>
            <a:chExt cx="695359" cy="1306516"/>
          </a:xfrm>
        </p:grpSpPr>
        <p:grpSp>
          <p:nvGrpSpPr>
            <p:cNvPr id="9" name="MoonLegend2"/>
            <p:cNvGrpSpPr>
              <a:grpSpLocks noChangeAspect="1"/>
            </p:cNvGrpSpPr>
            <p:nvPr>
              <p:custDataLst>
                <p:tags r:id="rId8"/>
              </p:custDataLst>
            </p:nvPr>
          </p:nvGrpSpPr>
          <p:grpSpPr bwMode="auto">
            <a:xfrm>
              <a:off x="7875175" y="560866"/>
              <a:ext cx="209550" cy="209551"/>
              <a:chOff x="1694" y="2044"/>
              <a:chExt cx="160" cy="160"/>
            </a:xfrm>
          </p:grpSpPr>
          <p:sp>
            <p:nvSpPr>
              <p:cNvPr id="6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sp>
            <p:nvSpPr>
              <p:cNvPr id="6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grpSp>
        <p:grpSp>
          <p:nvGrpSpPr>
            <p:cNvPr id="12" name="MoonLegend4"/>
            <p:cNvGrpSpPr>
              <a:grpSpLocks noChangeAspect="1"/>
            </p:cNvGrpSpPr>
            <p:nvPr>
              <p:custDataLst>
                <p:tags r:id="rId9"/>
              </p:custDataLst>
            </p:nvPr>
          </p:nvGrpSpPr>
          <p:grpSpPr bwMode="auto">
            <a:xfrm>
              <a:off x="7875175" y="1109348"/>
              <a:ext cx="209550" cy="209551"/>
              <a:chOff x="4495" y="1198"/>
              <a:chExt cx="160" cy="160"/>
            </a:xfrm>
          </p:grpSpPr>
          <p:sp>
            <p:nvSpPr>
              <p:cNvPr id="5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sp>
            <p:nvSpPr>
              <p:cNvPr id="5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grpSp>
        <p:grpSp>
          <p:nvGrpSpPr>
            <p:cNvPr id="15" name="MoonLegend5"/>
            <p:cNvGrpSpPr>
              <a:grpSpLocks noChangeAspect="1"/>
            </p:cNvGrpSpPr>
            <p:nvPr>
              <p:custDataLst>
                <p:tags r:id="rId10"/>
              </p:custDataLst>
            </p:nvPr>
          </p:nvGrpSpPr>
          <p:grpSpPr bwMode="auto">
            <a:xfrm>
              <a:off x="7875175" y="1383590"/>
              <a:ext cx="209550" cy="209551"/>
              <a:chOff x="4495" y="1440"/>
              <a:chExt cx="160" cy="160"/>
            </a:xfrm>
          </p:grpSpPr>
          <p:sp>
            <p:nvSpPr>
              <p:cNvPr id="5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sp>
            <p:nvSpPr>
              <p:cNvPr id="5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grpSp>
        <p:sp>
          <p:nvSpPr>
            <p:cNvPr id="45" name="Legend1"/>
            <p:cNvSpPr>
              <a:spLocks noChangeArrowheads="1"/>
            </p:cNvSpPr>
            <p:nvPr/>
          </p:nvSpPr>
          <p:spPr bwMode="auto">
            <a:xfrm>
              <a:off x="8195850" y="29932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46" name="Legend2"/>
            <p:cNvSpPr>
              <a:spLocks noChangeArrowheads="1"/>
            </p:cNvSpPr>
            <p:nvPr/>
          </p:nvSpPr>
          <p:spPr bwMode="auto">
            <a:xfrm>
              <a:off x="8195850" y="573963"/>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47" name="Legend3"/>
            <p:cNvSpPr>
              <a:spLocks noChangeArrowheads="1"/>
            </p:cNvSpPr>
            <p:nvPr/>
          </p:nvSpPr>
          <p:spPr bwMode="auto">
            <a:xfrm>
              <a:off x="8195850" y="848602"/>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48" name="Legend4"/>
            <p:cNvSpPr>
              <a:spLocks noChangeArrowheads="1"/>
            </p:cNvSpPr>
            <p:nvPr/>
          </p:nvSpPr>
          <p:spPr bwMode="auto">
            <a:xfrm>
              <a:off x="8195850" y="112006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sp>
          <p:nvSpPr>
            <p:cNvPr id="49" name="Legend5"/>
            <p:cNvSpPr>
              <a:spLocks noChangeArrowheads="1"/>
            </p:cNvSpPr>
            <p:nvPr/>
          </p:nvSpPr>
          <p:spPr bwMode="auto">
            <a:xfrm>
              <a:off x="8195850" y="139629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398" fontAlgn="base">
                <a:spcBef>
                  <a:spcPct val="0"/>
                </a:spcBef>
                <a:spcAft>
                  <a:spcPct val="0"/>
                </a:spcAft>
                <a:buClr>
                  <a:srgbClr val="339966"/>
                </a:buClr>
              </a:pPr>
              <a:r>
                <a:rPr lang="en-US" sz="1200" dirty="0">
                  <a:solidFill>
                    <a:srgbClr val="1F1F1F"/>
                  </a:solidFill>
                </a:rPr>
                <a:t>Legend</a:t>
              </a:r>
            </a:p>
          </p:txBody>
        </p:sp>
        <p:grpSp>
          <p:nvGrpSpPr>
            <p:cNvPr id="21" name="MoonLegend3"/>
            <p:cNvGrpSpPr>
              <a:grpSpLocks noChangeAspect="1"/>
            </p:cNvGrpSpPr>
            <p:nvPr>
              <p:custDataLst>
                <p:tags r:id="rId11"/>
              </p:custDataLst>
            </p:nvPr>
          </p:nvGrpSpPr>
          <p:grpSpPr bwMode="auto">
            <a:xfrm>
              <a:off x="7875175" y="835107"/>
              <a:ext cx="209550" cy="209551"/>
              <a:chOff x="4495" y="1198"/>
              <a:chExt cx="160" cy="160"/>
            </a:xfrm>
          </p:grpSpPr>
          <p:sp>
            <p:nvSpPr>
              <p:cNvPr id="5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sp>
            <p:nvSpPr>
              <p:cNvPr id="5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grpSp>
        <p:grpSp>
          <p:nvGrpSpPr>
            <p:cNvPr id="30" name="MoonLegend1"/>
            <p:cNvGrpSpPr>
              <a:grpSpLocks noChangeAspect="1"/>
            </p:cNvGrpSpPr>
            <p:nvPr userDrawn="1">
              <p:custDataLst>
                <p:tags r:id="rId12"/>
              </p:custDataLst>
            </p:nvPr>
          </p:nvGrpSpPr>
          <p:grpSpPr bwMode="auto">
            <a:xfrm>
              <a:off x="7875175" y="286625"/>
              <a:ext cx="209550" cy="209551"/>
              <a:chOff x="1694" y="2044"/>
              <a:chExt cx="160" cy="160"/>
            </a:xfrm>
          </p:grpSpPr>
          <p:sp>
            <p:nvSpPr>
              <p:cNvPr id="5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sp>
            <p:nvSpPr>
              <p:cNvPr id="53" name="Arc 42"/>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1788" fontAlgn="base">
                  <a:spcBef>
                    <a:spcPct val="0"/>
                  </a:spcBef>
                  <a:spcAft>
                    <a:spcPct val="0"/>
                  </a:spcAft>
                </a:pPr>
                <a:endParaRPr lang="en-US" sz="1600">
                  <a:solidFill>
                    <a:srgbClr val="1F1F1F"/>
                  </a:solidFill>
                </a:endParaRPr>
              </a:p>
            </p:txBody>
          </p:sp>
        </p:grpSp>
      </p:grpSp>
    </p:spTree>
    <p:extLst>
      <p:ext uri="{BB962C8B-B14F-4D97-AF65-F5344CB8AC3E}">
        <p14:creationId xmlns:p14="http://schemas.microsoft.com/office/powerpoint/2010/main" val="524553555"/>
      </p:ext>
    </p:extLst>
  </p:cSld>
  <p:clrMap bg1="lt1" tx1="dk1" bg2="lt2" tx2="dk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Lst>
  <p:hf hdr="0" ftr="0" dt="0"/>
  <p:txStyles>
    <p:titleStyle>
      <a:lvl1pPr algn="l" defTabSz="911398" rtl="0" eaLnBrk="1" fontAlgn="base" hangingPunct="1">
        <a:spcBef>
          <a:spcPct val="0"/>
        </a:spcBef>
        <a:spcAft>
          <a:spcPct val="0"/>
        </a:spcAft>
        <a:tabLst>
          <a:tab pos="274712" algn="l"/>
        </a:tabLst>
        <a:defRPr sz="1900" b="1" baseline="0">
          <a:solidFill>
            <a:srgbClr val="26734D"/>
          </a:solidFill>
          <a:latin typeface="+mj-lt"/>
          <a:ea typeface="+mj-ea"/>
          <a:cs typeface="+mj-cs"/>
        </a:defRPr>
      </a:lvl1pPr>
      <a:lvl2pPr algn="l" defTabSz="911398" rtl="0" eaLnBrk="1" fontAlgn="base" hangingPunct="1">
        <a:spcBef>
          <a:spcPct val="0"/>
        </a:spcBef>
        <a:spcAft>
          <a:spcPct val="0"/>
        </a:spcAft>
        <a:defRPr sz="1900" b="1">
          <a:solidFill>
            <a:schemeClr val="tx2"/>
          </a:solidFill>
          <a:latin typeface="Arial" charset="0"/>
        </a:defRPr>
      </a:lvl2pPr>
      <a:lvl3pPr algn="l" defTabSz="911398" rtl="0" eaLnBrk="1" fontAlgn="base" hangingPunct="1">
        <a:spcBef>
          <a:spcPct val="0"/>
        </a:spcBef>
        <a:spcAft>
          <a:spcPct val="0"/>
        </a:spcAft>
        <a:defRPr sz="1900" b="1">
          <a:solidFill>
            <a:schemeClr val="tx2"/>
          </a:solidFill>
          <a:latin typeface="Arial" charset="0"/>
        </a:defRPr>
      </a:lvl3pPr>
      <a:lvl4pPr algn="l" defTabSz="911398" rtl="0" eaLnBrk="1" fontAlgn="base" hangingPunct="1">
        <a:spcBef>
          <a:spcPct val="0"/>
        </a:spcBef>
        <a:spcAft>
          <a:spcPct val="0"/>
        </a:spcAft>
        <a:defRPr sz="1900" b="1">
          <a:solidFill>
            <a:schemeClr val="tx2"/>
          </a:solidFill>
          <a:latin typeface="Arial" charset="0"/>
        </a:defRPr>
      </a:lvl4pPr>
      <a:lvl5pPr algn="l" defTabSz="911398" rtl="0" eaLnBrk="1" fontAlgn="base" hangingPunct="1">
        <a:spcBef>
          <a:spcPct val="0"/>
        </a:spcBef>
        <a:spcAft>
          <a:spcPct val="0"/>
        </a:spcAft>
        <a:defRPr sz="1900" b="1">
          <a:solidFill>
            <a:schemeClr val="tx2"/>
          </a:solidFill>
          <a:latin typeface="Arial" charset="0"/>
        </a:defRPr>
      </a:lvl5pPr>
      <a:lvl6pPr marL="465384" algn="l" defTabSz="911398" rtl="0" eaLnBrk="1" fontAlgn="base" hangingPunct="1">
        <a:spcBef>
          <a:spcPct val="0"/>
        </a:spcBef>
        <a:spcAft>
          <a:spcPct val="0"/>
        </a:spcAft>
        <a:defRPr sz="1900" b="1">
          <a:solidFill>
            <a:schemeClr val="tx2"/>
          </a:solidFill>
          <a:latin typeface="Arial" charset="0"/>
        </a:defRPr>
      </a:lvl6pPr>
      <a:lvl7pPr marL="930790" algn="l" defTabSz="911398" rtl="0" eaLnBrk="1" fontAlgn="base" hangingPunct="1">
        <a:spcBef>
          <a:spcPct val="0"/>
        </a:spcBef>
        <a:spcAft>
          <a:spcPct val="0"/>
        </a:spcAft>
        <a:defRPr sz="1900" b="1">
          <a:solidFill>
            <a:schemeClr val="tx2"/>
          </a:solidFill>
          <a:latin typeface="Arial" charset="0"/>
        </a:defRPr>
      </a:lvl7pPr>
      <a:lvl8pPr marL="1396185" algn="l" defTabSz="911398" rtl="0" eaLnBrk="1" fontAlgn="base" hangingPunct="1">
        <a:spcBef>
          <a:spcPct val="0"/>
        </a:spcBef>
        <a:spcAft>
          <a:spcPct val="0"/>
        </a:spcAft>
        <a:defRPr sz="1900" b="1">
          <a:solidFill>
            <a:schemeClr val="tx2"/>
          </a:solidFill>
          <a:latin typeface="Arial" charset="0"/>
        </a:defRPr>
      </a:lvl8pPr>
      <a:lvl9pPr marL="1861579" algn="l" defTabSz="911398" rtl="0" eaLnBrk="1" fontAlgn="base" hangingPunct="1">
        <a:spcBef>
          <a:spcPct val="0"/>
        </a:spcBef>
        <a:spcAft>
          <a:spcPct val="0"/>
        </a:spcAft>
        <a:defRPr sz="1900" b="1">
          <a:solidFill>
            <a:schemeClr val="tx2"/>
          </a:solidFill>
          <a:latin typeface="Arial" charset="0"/>
        </a:defRPr>
      </a:lvl9pPr>
    </p:titleStyle>
    <p:bodyStyle>
      <a:lvl1pPr marL="0" indent="0" algn="l" defTabSz="911398"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148" indent="-195530" algn="l" defTabSz="911398"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384" indent="-266633" algn="l" defTabSz="91139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5376" indent="-158367" algn="l" defTabSz="91139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3249" indent="-132507" algn="l" defTabSz="91139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3249" indent="-132507" algn="l" defTabSz="91139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3249" indent="-132507" algn="l" defTabSz="91139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3249" indent="-132507" algn="l" defTabSz="91139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3249" indent="-132507" algn="l" defTabSz="91139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0790" rtl="0" eaLnBrk="1" latinLnBrk="0" hangingPunct="1">
        <a:defRPr sz="1800" kern="1200">
          <a:solidFill>
            <a:schemeClr val="tx1"/>
          </a:solidFill>
          <a:latin typeface="+mn-lt"/>
          <a:ea typeface="+mn-ea"/>
          <a:cs typeface="+mn-cs"/>
        </a:defRPr>
      </a:lvl1pPr>
      <a:lvl2pPr marL="465384" algn="l" defTabSz="930790" rtl="0" eaLnBrk="1" latinLnBrk="0" hangingPunct="1">
        <a:defRPr sz="1800" kern="1200">
          <a:solidFill>
            <a:schemeClr val="tx1"/>
          </a:solidFill>
          <a:latin typeface="+mn-lt"/>
          <a:ea typeface="+mn-ea"/>
          <a:cs typeface="+mn-cs"/>
        </a:defRPr>
      </a:lvl2pPr>
      <a:lvl3pPr marL="930790" algn="l" defTabSz="930790" rtl="0" eaLnBrk="1" latinLnBrk="0" hangingPunct="1">
        <a:defRPr sz="1800" kern="1200">
          <a:solidFill>
            <a:schemeClr val="tx1"/>
          </a:solidFill>
          <a:latin typeface="+mn-lt"/>
          <a:ea typeface="+mn-ea"/>
          <a:cs typeface="+mn-cs"/>
        </a:defRPr>
      </a:lvl3pPr>
      <a:lvl4pPr marL="1396185" algn="l" defTabSz="930790" rtl="0" eaLnBrk="1" latinLnBrk="0" hangingPunct="1">
        <a:defRPr sz="1800" kern="1200">
          <a:solidFill>
            <a:schemeClr val="tx1"/>
          </a:solidFill>
          <a:latin typeface="+mn-lt"/>
          <a:ea typeface="+mn-ea"/>
          <a:cs typeface="+mn-cs"/>
        </a:defRPr>
      </a:lvl4pPr>
      <a:lvl5pPr marL="1861579" algn="l" defTabSz="930790" rtl="0" eaLnBrk="1" latinLnBrk="0" hangingPunct="1">
        <a:defRPr sz="1800" kern="1200">
          <a:solidFill>
            <a:schemeClr val="tx1"/>
          </a:solidFill>
          <a:latin typeface="+mn-lt"/>
          <a:ea typeface="+mn-ea"/>
          <a:cs typeface="+mn-cs"/>
        </a:defRPr>
      </a:lvl5pPr>
      <a:lvl6pPr marL="2326972" algn="l" defTabSz="930790" rtl="0" eaLnBrk="1" latinLnBrk="0" hangingPunct="1">
        <a:defRPr sz="1800" kern="1200">
          <a:solidFill>
            <a:schemeClr val="tx1"/>
          </a:solidFill>
          <a:latin typeface="+mn-lt"/>
          <a:ea typeface="+mn-ea"/>
          <a:cs typeface="+mn-cs"/>
        </a:defRPr>
      </a:lvl6pPr>
      <a:lvl7pPr marL="2792365" algn="l" defTabSz="930790" rtl="0" eaLnBrk="1" latinLnBrk="0" hangingPunct="1">
        <a:defRPr sz="1800" kern="1200">
          <a:solidFill>
            <a:schemeClr val="tx1"/>
          </a:solidFill>
          <a:latin typeface="+mn-lt"/>
          <a:ea typeface="+mn-ea"/>
          <a:cs typeface="+mn-cs"/>
        </a:defRPr>
      </a:lvl7pPr>
      <a:lvl8pPr marL="3257761" algn="l" defTabSz="930790" rtl="0" eaLnBrk="1" latinLnBrk="0" hangingPunct="1">
        <a:defRPr sz="1800" kern="1200">
          <a:solidFill>
            <a:schemeClr val="tx1"/>
          </a:solidFill>
          <a:latin typeface="+mn-lt"/>
          <a:ea typeface="+mn-ea"/>
          <a:cs typeface="+mn-cs"/>
        </a:defRPr>
      </a:lvl8pPr>
      <a:lvl9pPr marL="3723158" algn="l" defTabSz="93079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009625008"/>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645137"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20" name="Slide Number"/>
          <p:cNvSpPr txBox="1">
            <a:spLocks/>
          </p:cNvSpPr>
          <p:nvPr userDrawn="1"/>
        </p:nvSpPr>
        <p:spPr bwMode="auto">
          <a:xfrm>
            <a:off x="11801649" y="656520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1F1F1F"/>
                </a:solidFill>
              </a:rPr>
              <a:pPr algn="r" defTabSz="914400" fontAlgn="base">
                <a:spcBef>
                  <a:spcPct val="0"/>
                </a:spcBef>
                <a:spcAft>
                  <a:spcPct val="0"/>
                </a:spcAft>
              </a:pPr>
              <a:t>‹#›</a:t>
            </a:fld>
            <a:endParaRPr lang="en-US" dirty="0">
              <a:solidFill>
                <a:srgbClr val="1F1F1F"/>
              </a:solidFill>
            </a:endParaRPr>
          </a:p>
        </p:txBody>
      </p:sp>
      <p:sp>
        <p:nvSpPr>
          <p:cNvPr id="18" name="Rectangle 17"/>
          <p:cNvSpPr/>
          <p:nvPr userDrawn="1"/>
        </p:nvSpPr>
        <p:spPr bwMode="auto">
          <a:xfrm>
            <a:off x="0" y="6400584"/>
            <a:ext cx="12192000" cy="25712"/>
          </a:xfrm>
          <a:prstGeom prst="rect">
            <a:avLst/>
          </a:prstGeom>
          <a:gradFill>
            <a:gsLst>
              <a:gs pos="0">
                <a:srgbClr val="DAF2E6"/>
              </a:gs>
              <a:gs pos="100000">
                <a:srgbClr val="339966"/>
              </a:gs>
            </a:gsLst>
            <a:lin ang="0" scaled="1"/>
          </a:gradFill>
          <a:ln w="9525" cap="flat" cmpd="sng" algn="ctr">
            <a:noFill/>
            <a:prstDash val="solid"/>
          </a:ln>
          <a:effectLst/>
        </p:spPr>
        <p:txBody>
          <a:bodyPr lIns="111063" tIns="55532" rIns="111063" bIns="55532" rtlCol="0" anchor="ctr"/>
          <a:lstStyle/>
          <a:p>
            <a:pPr algn="ctr" defTabSz="1110630">
              <a:defRPr/>
            </a:pPr>
            <a:endParaRPr lang="en-US" sz="2200" kern="0" dirty="0" err="1">
              <a:solidFill>
                <a:srgbClr val="1F1F1F"/>
              </a:solidFill>
              <a:ea typeface="ＭＳ Ｐゴシック"/>
            </a:endParaRPr>
          </a:p>
        </p:txBody>
      </p:sp>
      <p:sp>
        <p:nvSpPr>
          <p:cNvPr id="1033" name="doc id"/>
          <p:cNvSpPr>
            <a:spLocks noChangeArrowheads="1"/>
          </p:cNvSpPr>
          <p:nvPr/>
        </p:nvSpPr>
        <p:spPr bwMode="auto">
          <a:xfrm>
            <a:off x="11064592"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087492" fontAlgn="base">
              <a:spcBef>
                <a:spcPct val="0"/>
              </a:spcBef>
              <a:spcAft>
                <a:spcPct val="0"/>
              </a:spcAft>
            </a:pPr>
            <a:r>
              <a:rPr lang="en-US" sz="1000" dirty="0">
                <a:solidFill>
                  <a:srgbClr val="000000"/>
                </a:solidFill>
              </a:rPr>
              <a:t>Doc ID</a:t>
            </a:r>
          </a:p>
        </p:txBody>
      </p:sp>
      <p:sp>
        <p:nvSpPr>
          <p:cNvPr id="1034" name="Working Draft"/>
          <p:cNvSpPr txBox="1">
            <a:spLocks noChangeArrowheads="1"/>
          </p:cNvSpPr>
          <p:nvPr/>
        </p:nvSpPr>
        <p:spPr bwMode="auto">
          <a:xfrm rot="5400000">
            <a:off x="10752852" y="2559520"/>
            <a:ext cx="2688236"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a:solidFill>
                  <a:srgbClr val="1F1F1F"/>
                </a:solidFill>
                <a:latin typeface="Arial"/>
              </a:rPr>
              <a:t>Last Modified 2017/10/17 6:26 PM W. Central Africa Standard Time</a:t>
            </a:r>
            <a:endParaRPr lang="en-US" dirty="0">
              <a:solidFill>
                <a:srgbClr val="1F1F1F"/>
              </a:solidFill>
              <a:latin typeface="Arial"/>
            </a:endParaRPr>
          </a:p>
        </p:txBody>
      </p:sp>
      <p:sp>
        <p:nvSpPr>
          <p:cNvPr id="1035" name="Printed"/>
          <p:cNvSpPr txBox="1">
            <a:spLocks noChangeArrowheads="1"/>
          </p:cNvSpPr>
          <p:nvPr/>
        </p:nvSpPr>
        <p:spPr bwMode="auto">
          <a:xfrm rot="5400000">
            <a:off x="11955103" y="4777500"/>
            <a:ext cx="283732"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dirty="0">
                <a:solidFill>
                  <a:srgbClr val="1F1F1F"/>
                </a:solidFill>
                <a:latin typeface="Arial"/>
              </a:rPr>
              <a:t>Printed</a:t>
            </a:r>
            <a:endParaRPr lang="en-US" dirty="0">
              <a:solidFill>
                <a:srgbClr val="1F1F1F"/>
              </a:solidFill>
              <a:latin typeface="Arial"/>
            </a:endParaRPr>
          </a:p>
        </p:txBody>
      </p:sp>
      <p:sp>
        <p:nvSpPr>
          <p:cNvPr id="1036" name="Rectangle 286"/>
          <p:cNvSpPr>
            <a:spLocks noGrp="1" noChangeArrowheads="1"/>
          </p:cNvSpPr>
          <p:nvPr>
            <p:ph type="body" idx="1"/>
          </p:nvPr>
        </p:nvSpPr>
        <p:spPr bwMode="auto">
          <a:xfrm>
            <a:off x="1976207" y="2925409"/>
            <a:ext cx="5853024" cy="14619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33259" y="234863"/>
            <a:ext cx="11725485" cy="353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33258" y="27536"/>
            <a:ext cx="1041952"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700" dirty="0">
                <a:solidFill>
                  <a:srgbClr val="808080"/>
                </a:solidFill>
              </a:rPr>
              <a:t>TRACKER</a:t>
            </a:r>
          </a:p>
        </p:txBody>
      </p:sp>
      <p:sp>
        <p:nvSpPr>
          <p:cNvPr id="11" name="3. Unit of measure" hidden="1"/>
          <p:cNvSpPr txBox="1">
            <a:spLocks noChangeArrowheads="1"/>
          </p:cNvSpPr>
          <p:nvPr/>
        </p:nvSpPr>
        <p:spPr bwMode="auto">
          <a:xfrm>
            <a:off x="233259" y="542616"/>
            <a:ext cx="1172548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900" dirty="0">
                <a:solidFill>
                  <a:srgbClr val="808080"/>
                </a:solidFill>
                <a:latin typeface="Arial"/>
              </a:rPr>
              <a:t>Unit of measure</a:t>
            </a:r>
          </a:p>
        </p:txBody>
      </p:sp>
      <p:grpSp>
        <p:nvGrpSpPr>
          <p:cNvPr id="4" name="Slide Elements" hidden="1"/>
          <p:cNvGrpSpPr/>
          <p:nvPr userDrawn="1"/>
        </p:nvGrpSpPr>
        <p:grpSpPr bwMode="auto">
          <a:xfrm>
            <a:off x="233260" y="6174454"/>
            <a:ext cx="11725483" cy="560028"/>
            <a:chOff x="171451" y="6051536"/>
            <a:chExt cx="8618537" cy="548879"/>
          </a:xfrm>
        </p:grpSpPr>
        <p:sp>
          <p:nvSpPr>
            <p:cNvPr id="13" name="Slide Elements"/>
            <p:cNvSpPr txBox="1">
              <a:spLocks noChangeArrowheads="1"/>
            </p:cNvSpPr>
            <p:nvPr/>
          </p:nvSpPr>
          <p:spPr bwMode="auto">
            <a:xfrm>
              <a:off x="171451" y="6051536"/>
              <a:ext cx="861853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1F1F1F"/>
                  </a:solidFill>
                  <a:latin typeface="Arial"/>
                </a:rPr>
                <a:t>1 Footnote</a:t>
              </a:r>
            </a:p>
          </p:txBody>
        </p:sp>
        <p:sp>
          <p:nvSpPr>
            <p:cNvPr id="14" name="Slide Elements"/>
            <p:cNvSpPr>
              <a:spLocks noChangeArrowheads="1"/>
            </p:cNvSpPr>
            <p:nvPr/>
          </p:nvSpPr>
          <p:spPr bwMode="auto">
            <a:xfrm>
              <a:off x="171452" y="6419425"/>
              <a:ext cx="825817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740420" indent="-740420" defTabSz="1087492" fontAlgn="base">
                <a:spcBef>
                  <a:spcPct val="0"/>
                </a:spcBef>
                <a:spcAft>
                  <a:spcPct val="0"/>
                </a:spcAft>
                <a:tabLst>
                  <a:tab pos="744277" algn="l"/>
                </a:tabLst>
              </a:pPr>
              <a:r>
                <a:rPr lang="en-US" sz="1200" dirty="0">
                  <a:solidFill>
                    <a:srgbClr val="1F1F1F"/>
                  </a:solidFill>
                </a:rPr>
                <a:t>SOURCE: Source</a:t>
              </a:r>
            </a:p>
          </p:txBody>
        </p:sp>
      </p:grpSp>
      <p:grpSp>
        <p:nvGrpSpPr>
          <p:cNvPr id="15" name="ACET" hidden="1"/>
          <p:cNvGrpSpPr>
            <a:grpSpLocks/>
          </p:cNvGrpSpPr>
          <p:nvPr/>
        </p:nvGrpSpPr>
        <p:grpSpPr bwMode="auto">
          <a:xfrm>
            <a:off x="1976207" y="2243497"/>
            <a:ext cx="5853024" cy="60254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b="1" dirty="0">
                  <a:solidFill>
                    <a:srgbClr val="1F1F1F"/>
                  </a:solidFill>
                </a:rPr>
                <a:t>Title</a:t>
              </a:r>
            </a:p>
            <a:p>
              <a:pPr defTabSz="914400" fontAlgn="base">
                <a:spcBef>
                  <a:spcPct val="0"/>
                </a:spcBef>
                <a:spcAft>
                  <a:spcPct val="0"/>
                </a:spcAft>
              </a:pPr>
              <a:r>
                <a:rPr lang="en-US" dirty="0">
                  <a:solidFill>
                    <a:srgbClr val="808080"/>
                  </a:solidFill>
                </a:rPr>
                <a:t>Unit of measure</a:t>
              </a:r>
            </a:p>
          </p:txBody>
        </p:sp>
      </p:grpSp>
      <p:grpSp>
        <p:nvGrpSpPr>
          <p:cNvPr id="21" name="LegendBoxes" hidden="1"/>
          <p:cNvGrpSpPr>
            <a:grpSpLocks/>
          </p:cNvGrpSpPr>
          <p:nvPr userDrawn="1"/>
        </p:nvGrpSpPr>
        <p:grpSpPr bwMode="auto">
          <a:xfrm>
            <a:off x="10919886" y="292447"/>
            <a:ext cx="989183" cy="1060934"/>
            <a:chOff x="4936" y="176"/>
            <a:chExt cx="458" cy="655"/>
          </a:xfrm>
        </p:grpSpPr>
        <p:sp>
          <p:nvSpPr>
            <p:cNvPr id="22" name="Legend1"/>
            <p:cNvSpPr>
              <a:spLocks noChangeArrowheads="1"/>
            </p:cNvSpPr>
            <p:nvPr/>
          </p:nvSpPr>
          <p:spPr bwMode="auto">
            <a:xfrm>
              <a:off x="5096" y="176"/>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2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24" name="Legend2"/>
            <p:cNvSpPr>
              <a:spLocks noChangeArrowheads="1"/>
            </p:cNvSpPr>
            <p:nvPr/>
          </p:nvSpPr>
          <p:spPr bwMode="auto">
            <a:xfrm>
              <a:off x="5096" y="346"/>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26" name="Legend3"/>
            <p:cNvSpPr>
              <a:spLocks noChangeArrowheads="1"/>
            </p:cNvSpPr>
            <p:nvPr/>
          </p:nvSpPr>
          <p:spPr bwMode="auto">
            <a:xfrm>
              <a:off x="5096" y="517"/>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2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28" name="Legend4"/>
            <p:cNvSpPr>
              <a:spLocks noChangeArrowheads="1"/>
            </p:cNvSpPr>
            <p:nvPr/>
          </p:nvSpPr>
          <p:spPr bwMode="auto">
            <a:xfrm>
              <a:off x="5096" y="688"/>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2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nvGrpSpPr>
          <p:cNvPr id="30" name="LegendLines" hidden="1"/>
          <p:cNvGrpSpPr>
            <a:grpSpLocks/>
          </p:cNvGrpSpPr>
          <p:nvPr userDrawn="1"/>
        </p:nvGrpSpPr>
        <p:grpSpPr bwMode="auto">
          <a:xfrm>
            <a:off x="10500888" y="292447"/>
            <a:ext cx="1408182" cy="788817"/>
            <a:chOff x="4750" y="176"/>
            <a:chExt cx="652" cy="487"/>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a:solidFill>
                  <a:srgbClr val="1F1F1F"/>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a:solidFill>
                  <a:srgbClr val="1F1F1F"/>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a:solidFill>
                  <a:srgbClr val="1F1F1F"/>
                </a:solidFill>
              </a:endParaRPr>
            </a:p>
          </p:txBody>
        </p:sp>
        <p:sp>
          <p:nvSpPr>
            <p:cNvPr id="34" name="Legend1"/>
            <p:cNvSpPr>
              <a:spLocks noChangeArrowheads="1"/>
            </p:cNvSpPr>
            <p:nvPr/>
          </p:nvSpPr>
          <p:spPr bwMode="auto">
            <a:xfrm>
              <a:off x="5104" y="176"/>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35" name="Legend2"/>
            <p:cNvSpPr>
              <a:spLocks noChangeArrowheads="1"/>
            </p:cNvSpPr>
            <p:nvPr/>
          </p:nvSpPr>
          <p:spPr bwMode="auto">
            <a:xfrm>
              <a:off x="5104" y="344"/>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36" name="Legend3"/>
            <p:cNvSpPr>
              <a:spLocks noChangeArrowheads="1"/>
            </p:cNvSpPr>
            <p:nvPr/>
          </p:nvSpPr>
          <p:spPr bwMode="auto">
            <a:xfrm>
              <a:off x="5104" y="520"/>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grpSp>
      <p:grpSp>
        <p:nvGrpSpPr>
          <p:cNvPr id="37" name="McKSticker" hidden="1"/>
          <p:cNvGrpSpPr/>
          <p:nvPr userDrawn="1"/>
        </p:nvGrpSpPr>
        <p:grpSpPr bwMode="auto">
          <a:xfrm>
            <a:off x="10629663" y="292447"/>
            <a:ext cx="1329082" cy="258532"/>
            <a:chOff x="7763865" y="285750"/>
            <a:chExt cx="976910" cy="253385"/>
          </a:xfrm>
        </p:grpSpPr>
        <p:sp>
          <p:nvSpPr>
            <p:cNvPr id="38" name="StickerRectangle"/>
            <p:cNvSpPr>
              <a:spLocks noChangeArrowheads="1"/>
            </p:cNvSpPr>
            <p:nvPr/>
          </p:nvSpPr>
          <p:spPr bwMode="auto">
            <a:xfrm>
              <a:off x="7763865" y="285750"/>
              <a:ext cx="976910" cy="2533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087492" fontAlgn="base">
                <a:spcBef>
                  <a:spcPct val="0"/>
                </a:spcBef>
                <a:spcAft>
                  <a:spcPct val="0"/>
                </a:spcAft>
                <a:buClr>
                  <a:srgbClr val="339966"/>
                </a:buClr>
              </a:pPr>
              <a:r>
                <a:rPr lang="en-US" sz="1500" dirty="0">
                  <a:solidFill>
                    <a:srgbClr val="808080"/>
                  </a:solidFill>
                </a:rPr>
                <a:t>PRELIMINARY</a:t>
              </a:r>
            </a:p>
          </p:txBody>
        </p:sp>
        <p:cxnSp>
          <p:nvCxnSpPr>
            <p:cNvPr id="39" name="AutoShape 31"/>
            <p:cNvCxnSpPr>
              <a:cxnSpLocks noChangeShapeType="1"/>
              <a:stCxn id="38" idx="2"/>
              <a:endCxn id="38" idx="4"/>
            </p:cNvCxnSpPr>
            <p:nvPr/>
          </p:nvCxnSpPr>
          <p:spPr bwMode="auto">
            <a:xfrm>
              <a:off x="7763865" y="285750"/>
              <a:ext cx="0" cy="2533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763865" y="539135"/>
              <a:ext cx="97691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1" name="LegendMoons" hidden="1"/>
          <p:cNvGrpSpPr/>
          <p:nvPr userDrawn="1"/>
        </p:nvGrpSpPr>
        <p:grpSpPr bwMode="auto">
          <a:xfrm>
            <a:off x="10828942" y="292447"/>
            <a:ext cx="1080684" cy="1363037"/>
            <a:chOff x="7875175" y="286625"/>
            <a:chExt cx="794331" cy="1335902"/>
          </a:xfrm>
        </p:grpSpPr>
        <p:grpSp>
          <p:nvGrpSpPr>
            <p:cNvPr id="42" name="MoonLegend2"/>
            <p:cNvGrpSpPr>
              <a:grpSpLocks noChangeAspect="1"/>
            </p:cNvGrpSpPr>
            <p:nvPr>
              <p:custDataLst>
                <p:tags r:id="rId8"/>
              </p:custDataLst>
            </p:nvPr>
          </p:nvGrpSpPr>
          <p:grpSpPr bwMode="auto">
            <a:xfrm>
              <a:off x="7875175" y="560866"/>
              <a:ext cx="209550" cy="209551"/>
              <a:chOff x="1694" y="2044"/>
              <a:chExt cx="160" cy="160"/>
            </a:xfrm>
          </p:grpSpPr>
          <p:sp>
            <p:nvSpPr>
              <p:cNvPr id="6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6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nvGrpSpPr>
            <p:cNvPr id="43" name="MoonLegend4"/>
            <p:cNvGrpSpPr>
              <a:grpSpLocks noChangeAspect="1"/>
            </p:cNvGrpSpPr>
            <p:nvPr>
              <p:custDataLst>
                <p:tags r:id="rId9"/>
              </p:custDataLst>
            </p:nvPr>
          </p:nvGrpSpPr>
          <p:grpSpPr bwMode="auto">
            <a:xfrm>
              <a:off x="7875175" y="1109348"/>
              <a:ext cx="209550" cy="209551"/>
              <a:chOff x="4495" y="1198"/>
              <a:chExt cx="160" cy="160"/>
            </a:xfrm>
          </p:grpSpPr>
          <p:sp>
            <p:nvSpPr>
              <p:cNvPr id="5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5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nvGrpSpPr>
            <p:cNvPr id="44" name="MoonLegend5"/>
            <p:cNvGrpSpPr>
              <a:grpSpLocks noChangeAspect="1"/>
            </p:cNvGrpSpPr>
            <p:nvPr>
              <p:custDataLst>
                <p:tags r:id="rId10"/>
              </p:custDataLst>
            </p:nvPr>
          </p:nvGrpSpPr>
          <p:grpSpPr bwMode="auto">
            <a:xfrm>
              <a:off x="7875175" y="1383590"/>
              <a:ext cx="209550" cy="209551"/>
              <a:chOff x="4495" y="1440"/>
              <a:chExt cx="160" cy="160"/>
            </a:xfrm>
          </p:grpSpPr>
          <p:sp>
            <p:nvSpPr>
              <p:cNvPr id="5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5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sp>
          <p:nvSpPr>
            <p:cNvPr id="45" name="Legend1"/>
            <p:cNvSpPr>
              <a:spLocks noChangeArrowheads="1"/>
            </p:cNvSpPr>
            <p:nvPr/>
          </p:nvSpPr>
          <p:spPr bwMode="auto">
            <a:xfrm>
              <a:off x="8195850" y="299325"/>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dirty="0">
                  <a:solidFill>
                    <a:srgbClr val="1F1F1F"/>
                  </a:solidFill>
                </a:rPr>
                <a:t>Legend</a:t>
              </a:r>
            </a:p>
          </p:txBody>
        </p:sp>
        <p:sp>
          <p:nvSpPr>
            <p:cNvPr id="46" name="Legend2"/>
            <p:cNvSpPr>
              <a:spLocks noChangeArrowheads="1"/>
            </p:cNvSpPr>
            <p:nvPr/>
          </p:nvSpPr>
          <p:spPr bwMode="auto">
            <a:xfrm>
              <a:off x="8195850" y="573963"/>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dirty="0">
                  <a:solidFill>
                    <a:srgbClr val="1F1F1F"/>
                  </a:solidFill>
                </a:rPr>
                <a:t>Legend</a:t>
              </a:r>
            </a:p>
          </p:txBody>
        </p:sp>
        <p:sp>
          <p:nvSpPr>
            <p:cNvPr id="47" name="Legend3"/>
            <p:cNvSpPr>
              <a:spLocks noChangeArrowheads="1"/>
            </p:cNvSpPr>
            <p:nvPr/>
          </p:nvSpPr>
          <p:spPr bwMode="auto">
            <a:xfrm>
              <a:off x="8195850" y="848602"/>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dirty="0">
                  <a:solidFill>
                    <a:srgbClr val="1F1F1F"/>
                  </a:solidFill>
                </a:rPr>
                <a:t>Legend</a:t>
              </a:r>
            </a:p>
          </p:txBody>
        </p:sp>
        <p:sp>
          <p:nvSpPr>
            <p:cNvPr id="48" name="Legend4"/>
            <p:cNvSpPr>
              <a:spLocks noChangeArrowheads="1"/>
            </p:cNvSpPr>
            <p:nvPr/>
          </p:nvSpPr>
          <p:spPr bwMode="auto">
            <a:xfrm>
              <a:off x="8195850" y="1120065"/>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49" name="Legend5"/>
            <p:cNvSpPr>
              <a:spLocks noChangeArrowheads="1"/>
            </p:cNvSpPr>
            <p:nvPr/>
          </p:nvSpPr>
          <p:spPr bwMode="auto">
            <a:xfrm>
              <a:off x="8195850" y="1396290"/>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dirty="0">
                  <a:solidFill>
                    <a:srgbClr val="1F1F1F"/>
                  </a:solidFill>
                </a:rPr>
                <a:t>Legend</a:t>
              </a:r>
            </a:p>
          </p:txBody>
        </p:sp>
        <p:grpSp>
          <p:nvGrpSpPr>
            <p:cNvPr id="50" name="MoonLegend3"/>
            <p:cNvGrpSpPr>
              <a:grpSpLocks noChangeAspect="1"/>
            </p:cNvGrpSpPr>
            <p:nvPr>
              <p:custDataLst>
                <p:tags r:id="rId11"/>
              </p:custDataLst>
            </p:nvPr>
          </p:nvGrpSpPr>
          <p:grpSpPr bwMode="auto">
            <a:xfrm>
              <a:off x="7875175" y="835107"/>
              <a:ext cx="209550" cy="209551"/>
              <a:chOff x="4495" y="1198"/>
              <a:chExt cx="160" cy="160"/>
            </a:xfrm>
          </p:grpSpPr>
          <p:sp>
            <p:nvSpPr>
              <p:cNvPr id="5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5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nvGrpSpPr>
            <p:cNvPr id="51" name="MoonLegend1"/>
            <p:cNvGrpSpPr>
              <a:grpSpLocks noChangeAspect="1"/>
            </p:cNvGrpSpPr>
            <p:nvPr userDrawn="1">
              <p:custDataLst>
                <p:tags r:id="rId12"/>
              </p:custDataLst>
            </p:nvPr>
          </p:nvGrpSpPr>
          <p:grpSpPr bwMode="auto">
            <a:xfrm>
              <a:off x="7875175" y="286625"/>
              <a:ext cx="209550" cy="209551"/>
              <a:chOff x="1694" y="2044"/>
              <a:chExt cx="160" cy="160"/>
            </a:xfrm>
          </p:grpSpPr>
          <p:sp>
            <p:nvSpPr>
              <p:cNvPr id="5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53" name="Arc 42"/>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spTree>
    <p:extLst>
      <p:ext uri="{BB962C8B-B14F-4D97-AF65-F5344CB8AC3E}">
        <p14:creationId xmlns:p14="http://schemas.microsoft.com/office/powerpoint/2010/main" val="4212706993"/>
      </p:ext>
    </p:extLst>
  </p:cSld>
  <p:clrMap bg1="lt1" tx1="dk1" bg2="lt2" tx2="dk2" accent1="accent1" accent2="accent2" accent3="accent3" accent4="accent4" accent5="accent5" accent6="accent6" hlink="hlink" folHlink="folHlink"/>
  <p:sldLayoutIdLst>
    <p:sldLayoutId id="2147484787" r:id="rId1"/>
    <p:sldLayoutId id="2147484788" r:id="rId2"/>
    <p:sldLayoutId id="2147484789" r:id="rId3"/>
    <p:sldLayoutId id="2147484790" r:id="rId4"/>
  </p:sldLayoutIdLst>
  <p:hf hdr="0" ftr="0" dt="0"/>
  <p:txStyles>
    <p:titleStyle>
      <a:lvl1pPr algn="l" defTabSz="1087492" rtl="0" eaLnBrk="1" fontAlgn="base" hangingPunct="1">
        <a:spcBef>
          <a:spcPct val="0"/>
        </a:spcBef>
        <a:spcAft>
          <a:spcPct val="0"/>
        </a:spcAft>
        <a:tabLst>
          <a:tab pos="327790" algn="l"/>
        </a:tabLst>
        <a:defRPr sz="2300" b="1" baseline="0">
          <a:solidFill>
            <a:srgbClr val="26734D"/>
          </a:solidFill>
          <a:latin typeface="+mj-lt"/>
          <a:ea typeface="+mj-ea"/>
          <a:cs typeface="+mj-cs"/>
        </a:defRPr>
      </a:lvl1pPr>
      <a:lvl2pPr algn="l" defTabSz="1087492" rtl="0" eaLnBrk="1" fontAlgn="base" hangingPunct="1">
        <a:spcBef>
          <a:spcPct val="0"/>
        </a:spcBef>
        <a:spcAft>
          <a:spcPct val="0"/>
        </a:spcAft>
        <a:defRPr sz="2300" b="1">
          <a:solidFill>
            <a:schemeClr val="tx2"/>
          </a:solidFill>
          <a:latin typeface="Arial" charset="0"/>
        </a:defRPr>
      </a:lvl2pPr>
      <a:lvl3pPr algn="l" defTabSz="1087492" rtl="0" eaLnBrk="1" fontAlgn="base" hangingPunct="1">
        <a:spcBef>
          <a:spcPct val="0"/>
        </a:spcBef>
        <a:spcAft>
          <a:spcPct val="0"/>
        </a:spcAft>
        <a:defRPr sz="2300" b="1">
          <a:solidFill>
            <a:schemeClr val="tx2"/>
          </a:solidFill>
          <a:latin typeface="Arial" charset="0"/>
        </a:defRPr>
      </a:lvl3pPr>
      <a:lvl4pPr algn="l" defTabSz="1087492" rtl="0" eaLnBrk="1" fontAlgn="base" hangingPunct="1">
        <a:spcBef>
          <a:spcPct val="0"/>
        </a:spcBef>
        <a:spcAft>
          <a:spcPct val="0"/>
        </a:spcAft>
        <a:defRPr sz="2300" b="1">
          <a:solidFill>
            <a:schemeClr val="tx2"/>
          </a:solidFill>
          <a:latin typeface="Arial" charset="0"/>
        </a:defRPr>
      </a:lvl4pPr>
      <a:lvl5pPr algn="l" defTabSz="1087492" rtl="0" eaLnBrk="1" fontAlgn="base" hangingPunct="1">
        <a:spcBef>
          <a:spcPct val="0"/>
        </a:spcBef>
        <a:spcAft>
          <a:spcPct val="0"/>
        </a:spcAft>
        <a:defRPr sz="2300" b="1">
          <a:solidFill>
            <a:schemeClr val="tx2"/>
          </a:solidFill>
          <a:latin typeface="Arial" charset="0"/>
        </a:defRPr>
      </a:lvl5pPr>
      <a:lvl6pPr marL="555315" algn="l" defTabSz="1087492" rtl="0" eaLnBrk="1" fontAlgn="base" hangingPunct="1">
        <a:spcBef>
          <a:spcPct val="0"/>
        </a:spcBef>
        <a:spcAft>
          <a:spcPct val="0"/>
        </a:spcAft>
        <a:defRPr sz="2300" b="1">
          <a:solidFill>
            <a:schemeClr val="tx2"/>
          </a:solidFill>
          <a:latin typeface="Arial" charset="0"/>
        </a:defRPr>
      </a:lvl6pPr>
      <a:lvl7pPr marL="1110630" algn="l" defTabSz="1087492" rtl="0" eaLnBrk="1" fontAlgn="base" hangingPunct="1">
        <a:spcBef>
          <a:spcPct val="0"/>
        </a:spcBef>
        <a:spcAft>
          <a:spcPct val="0"/>
        </a:spcAft>
        <a:defRPr sz="2300" b="1">
          <a:solidFill>
            <a:schemeClr val="tx2"/>
          </a:solidFill>
          <a:latin typeface="Arial" charset="0"/>
        </a:defRPr>
      </a:lvl7pPr>
      <a:lvl8pPr marL="1665945" algn="l" defTabSz="1087492" rtl="0" eaLnBrk="1" fontAlgn="base" hangingPunct="1">
        <a:spcBef>
          <a:spcPct val="0"/>
        </a:spcBef>
        <a:spcAft>
          <a:spcPct val="0"/>
        </a:spcAft>
        <a:defRPr sz="2300" b="1">
          <a:solidFill>
            <a:schemeClr val="tx2"/>
          </a:solidFill>
          <a:latin typeface="Arial" charset="0"/>
        </a:defRPr>
      </a:lvl8pPr>
      <a:lvl9pPr marL="2221260" algn="l" defTabSz="1087492" rtl="0" eaLnBrk="1" fontAlgn="base" hangingPunct="1">
        <a:spcBef>
          <a:spcPct val="0"/>
        </a:spcBef>
        <a:spcAft>
          <a:spcPct val="0"/>
        </a:spcAft>
        <a:defRPr sz="2300" b="1">
          <a:solidFill>
            <a:schemeClr val="tx2"/>
          </a:solidFill>
          <a:latin typeface="Arial" charset="0"/>
        </a:defRPr>
      </a:lvl9pPr>
    </p:titleStyle>
    <p:bodyStyle>
      <a:lvl1pPr marL="0" indent="0" algn="l" defTabSz="1087492"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5238" indent="-233310" algn="l" defTabSz="1087492" rtl="0" eaLnBrk="1" fontAlgn="base" hangingPunct="1">
        <a:spcBef>
          <a:spcPct val="0"/>
        </a:spcBef>
        <a:spcAft>
          <a:spcPct val="0"/>
        </a:spcAft>
        <a:buClr>
          <a:schemeClr val="tx2"/>
        </a:buClr>
        <a:buSzPct val="125000"/>
        <a:buFont typeface="Arial" charset="0"/>
        <a:buChar char="▪"/>
        <a:defRPr sz="1900" baseline="0">
          <a:solidFill>
            <a:schemeClr val="tx1"/>
          </a:solidFill>
          <a:latin typeface="+mn-lt"/>
        </a:defRPr>
      </a:lvl2pPr>
      <a:lvl3pPr marL="555315" indent="-318150" algn="l" defTabSz="1087492"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6205" indent="-188961" algn="l" defTabSz="1087492"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4pPr>
      <a:lvl5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630" rtl="0" eaLnBrk="1" latinLnBrk="0" hangingPunct="1">
        <a:defRPr sz="2200" kern="1200">
          <a:solidFill>
            <a:schemeClr val="tx1"/>
          </a:solidFill>
          <a:latin typeface="+mn-lt"/>
          <a:ea typeface="+mn-ea"/>
          <a:cs typeface="+mn-cs"/>
        </a:defRPr>
      </a:lvl1pPr>
      <a:lvl2pPr marL="555315" algn="l" defTabSz="1110630" rtl="0" eaLnBrk="1" latinLnBrk="0" hangingPunct="1">
        <a:defRPr sz="2200" kern="1200">
          <a:solidFill>
            <a:schemeClr val="tx1"/>
          </a:solidFill>
          <a:latin typeface="+mn-lt"/>
          <a:ea typeface="+mn-ea"/>
          <a:cs typeface="+mn-cs"/>
        </a:defRPr>
      </a:lvl2pPr>
      <a:lvl3pPr marL="1110630" algn="l" defTabSz="1110630" rtl="0" eaLnBrk="1" latinLnBrk="0" hangingPunct="1">
        <a:defRPr sz="2200" kern="1200">
          <a:solidFill>
            <a:schemeClr val="tx1"/>
          </a:solidFill>
          <a:latin typeface="+mn-lt"/>
          <a:ea typeface="+mn-ea"/>
          <a:cs typeface="+mn-cs"/>
        </a:defRPr>
      </a:lvl3pPr>
      <a:lvl4pPr marL="1665945" algn="l" defTabSz="1110630" rtl="0" eaLnBrk="1" latinLnBrk="0" hangingPunct="1">
        <a:defRPr sz="2200" kern="1200">
          <a:solidFill>
            <a:schemeClr val="tx1"/>
          </a:solidFill>
          <a:latin typeface="+mn-lt"/>
          <a:ea typeface="+mn-ea"/>
          <a:cs typeface="+mn-cs"/>
        </a:defRPr>
      </a:lvl4pPr>
      <a:lvl5pPr marL="2221260" algn="l" defTabSz="1110630" rtl="0" eaLnBrk="1" latinLnBrk="0" hangingPunct="1">
        <a:defRPr sz="2200" kern="1200">
          <a:solidFill>
            <a:schemeClr val="tx1"/>
          </a:solidFill>
          <a:latin typeface="+mn-lt"/>
          <a:ea typeface="+mn-ea"/>
          <a:cs typeface="+mn-cs"/>
        </a:defRPr>
      </a:lvl5pPr>
      <a:lvl6pPr marL="2776576" algn="l" defTabSz="1110630" rtl="0" eaLnBrk="1" latinLnBrk="0" hangingPunct="1">
        <a:defRPr sz="2200" kern="1200">
          <a:solidFill>
            <a:schemeClr val="tx1"/>
          </a:solidFill>
          <a:latin typeface="+mn-lt"/>
          <a:ea typeface="+mn-ea"/>
          <a:cs typeface="+mn-cs"/>
        </a:defRPr>
      </a:lvl6pPr>
      <a:lvl7pPr marL="3331891" algn="l" defTabSz="1110630" rtl="0" eaLnBrk="1" latinLnBrk="0" hangingPunct="1">
        <a:defRPr sz="2200" kern="1200">
          <a:solidFill>
            <a:schemeClr val="tx1"/>
          </a:solidFill>
          <a:latin typeface="+mn-lt"/>
          <a:ea typeface="+mn-ea"/>
          <a:cs typeface="+mn-cs"/>
        </a:defRPr>
      </a:lvl7pPr>
      <a:lvl8pPr marL="3887206" algn="l" defTabSz="1110630" rtl="0" eaLnBrk="1" latinLnBrk="0" hangingPunct="1">
        <a:defRPr sz="2200" kern="1200">
          <a:solidFill>
            <a:schemeClr val="tx1"/>
          </a:solidFill>
          <a:latin typeface="+mn-lt"/>
          <a:ea typeface="+mn-ea"/>
          <a:cs typeface="+mn-cs"/>
        </a:defRPr>
      </a:lvl8pPr>
      <a:lvl9pPr marL="4442521" algn="l" defTabSz="1110630" rtl="0" eaLnBrk="1" latinLnBrk="0" hangingPunct="1">
        <a:defRPr sz="22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extLst>
              <p:ext uri="{D42A27DB-BD31-4B8C-83A1-F6EECF244321}">
                <p14:modId xmlns:p14="http://schemas.microsoft.com/office/powerpoint/2010/main" val="3819222878"/>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5026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119" y="1592"/>
                        <a:ext cx="2116" cy="1587"/>
                      </a:xfrm>
                      <a:prstGeom prst="rect">
                        <a:avLst/>
                      </a:prstGeom>
                    </p:spPr>
                  </p:pic>
                </p:oleObj>
              </mc:Fallback>
            </mc:AlternateContent>
          </a:graphicData>
        </a:graphic>
      </p:graphicFrame>
      <p:sp>
        <p:nvSpPr>
          <p:cNvPr id="16387" name="Rectangle 3"/>
          <p:cNvSpPr>
            <a:spLocks noGrp="1" noChangeArrowheads="1"/>
          </p:cNvSpPr>
          <p:nvPr>
            <p:ph type="body" idx="1"/>
          </p:nvPr>
        </p:nvSpPr>
        <p:spPr bwMode="auto">
          <a:xfrm>
            <a:off x="609600" y="1181104"/>
            <a:ext cx="10972800" cy="4945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5220" name="Rectangle 4"/>
          <p:cNvSpPr>
            <a:spLocks noGrp="1" noChangeArrowheads="1"/>
          </p:cNvSpPr>
          <p:nvPr>
            <p:ph type="dt" sz="half" idx="2"/>
          </p:nvPr>
        </p:nvSpPr>
        <p:spPr bwMode="auto">
          <a:xfrm>
            <a:off x="0" y="6618129"/>
            <a:ext cx="16256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000" b="0" i="1">
                <a:solidFill>
                  <a:srgbClr val="000000"/>
                </a:solidFill>
                <a:latin typeface="+mj-lt"/>
              </a:defRPr>
            </a:lvl1pPr>
          </a:lstStyle>
          <a:p>
            <a:pPr defTabSz="914400"/>
            <a:fld id="{B5F4ECAC-03E4-484C-B6D9-5B918FB01785}" type="datetimeFigureOut">
              <a:rPr lang="en-US" smtClean="0"/>
              <a:pPr defTabSz="914400"/>
              <a:t>4/30/2019</a:t>
            </a:fld>
            <a:endParaRPr lang="en-US"/>
          </a:p>
        </p:txBody>
      </p:sp>
      <p:sp>
        <p:nvSpPr>
          <p:cNvPr id="265221" name="Rectangle 5"/>
          <p:cNvSpPr>
            <a:spLocks noGrp="1" noChangeArrowheads="1"/>
          </p:cNvSpPr>
          <p:nvPr>
            <p:ph type="ftr" sz="quarter" idx="3"/>
          </p:nvPr>
        </p:nvSpPr>
        <p:spPr bwMode="auto">
          <a:xfrm>
            <a:off x="1727200" y="6618130"/>
            <a:ext cx="79248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b="0" i="1">
                <a:solidFill>
                  <a:srgbClr val="000000"/>
                </a:solidFill>
                <a:latin typeface="+mj-lt"/>
              </a:defRPr>
            </a:lvl1pPr>
          </a:lstStyle>
          <a:p>
            <a:pPr defTabSz="914400"/>
            <a:endParaRPr lang="en-US"/>
          </a:p>
        </p:txBody>
      </p:sp>
      <p:sp>
        <p:nvSpPr>
          <p:cNvPr id="265222"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defTabSz="914400"/>
            <a:fld id="{D08BA9CE-8EFE-BE48-98DC-77CBE9860290}" type="slidenum">
              <a:rPr lang="en-US" smtClean="0"/>
              <a:pPr defTabSz="914400"/>
              <a:t>‹#›</a:t>
            </a:fld>
            <a:endParaRPr lang="en-US"/>
          </a:p>
        </p:txBody>
      </p:sp>
      <p:sp>
        <p:nvSpPr>
          <p:cNvPr id="16391" name="Rectangle 7"/>
          <p:cNvSpPr>
            <a:spLocks noGrp="1" noChangeArrowheads="1"/>
          </p:cNvSpPr>
          <p:nvPr>
            <p:ph type="title"/>
          </p:nvPr>
        </p:nvSpPr>
        <p:spPr bwMode="gray">
          <a:xfrm>
            <a:off x="0" y="0"/>
            <a:ext cx="12192000" cy="903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2" name="Rectangle 1"/>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4" name="Straight Connector 13"/>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2" name="Picture 11"/>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3" name="Object 12" hidden="1"/>
          <p:cNvGraphicFramePr>
            <a:graphicFrameLocks noChangeAspect="1"/>
          </p:cNvGraphicFramePr>
          <p:nvPr>
            <p:custDataLst>
              <p:tags r:id="rId13"/>
            </p:custDataLst>
            <p:extLst>
              <p:ext uri="{D42A27DB-BD31-4B8C-83A1-F6EECF244321}">
                <p14:modId xmlns:p14="http://schemas.microsoft.com/office/powerpoint/2010/main" val="1882922638"/>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50269"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5"/>
                      <a:stretch>
                        <a:fillRect/>
                      </a:stretch>
                    </p:blipFill>
                    <p:spPr>
                      <a:xfrm>
                        <a:off x="2119" y="1592"/>
                        <a:ext cx="2116" cy="1587"/>
                      </a:xfrm>
                      <a:prstGeom prst="rect">
                        <a:avLst/>
                      </a:prstGeom>
                    </p:spPr>
                  </p:pic>
                </p:oleObj>
              </mc:Fallback>
            </mc:AlternateContent>
          </a:graphicData>
        </a:graphic>
      </p:graphicFrame>
      <p:sp>
        <p:nvSpPr>
          <p:cNvPr id="16" name="Rectangle 15"/>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7" name="Isosceles Triangle 16"/>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8" name="Straight Connector 17"/>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9" name="Picture 18"/>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84335"/>
      </p:ext>
    </p:extLst>
  </p:cSld>
  <p:clrMap bg1="lt1" tx1="dk1" bg2="lt2" tx2="dk2" accent1="accent1" accent2="accent2" accent3="accent3" accent4="accent4" accent5="accent5" accent6="accent6" hlink="hlink" folHlink="folHlink"/>
  <p:sldLayoutIdLst>
    <p:sldLayoutId id="2147484792" r:id="rId1"/>
    <p:sldLayoutId id="2147484793" r:id="rId2"/>
    <p:sldLayoutId id="2147484794" r:id="rId3"/>
    <p:sldLayoutId id="2147484795" r:id="rId4"/>
    <p:sldLayoutId id="2147484796" r:id="rId5"/>
    <p:sldLayoutId id="2147484797" r:id="rId6"/>
    <p:sldLayoutId id="2147484799" r:id="rId7"/>
    <p:sldLayoutId id="2147484800" r:id="rId8"/>
    <p:sldLayoutId id="2147484801" r:id="rId9"/>
  </p:sldLayoutIdLst>
  <p:txStyles>
    <p:titleStyle>
      <a:lvl1pPr marL="119063" indent="0"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800">
          <a:solidFill>
            <a:schemeClr val="tx1"/>
          </a:solidFill>
          <a:latin typeface="+mn-lt"/>
          <a:ea typeface="+mn-ea"/>
          <a:cs typeface="+mn-cs"/>
        </a:defRPr>
      </a:lvl2pPr>
      <a:lvl3pPr marL="1143000" indent="-228600" algn="l" rtl="0" eaLnBrk="1" fontAlgn="base" hangingPunct="1">
        <a:spcBef>
          <a:spcPct val="20000"/>
        </a:spcBef>
        <a:spcAft>
          <a:spcPct val="0"/>
        </a:spcAft>
        <a:buChar char="•"/>
        <a:defRPr sz="16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FB082-FBF6-4A25-AF0F-2CC496B55C54}"/>
              </a:ext>
            </a:extLst>
          </p:cNvPr>
          <p:cNvGraphicFramePr>
            <a:graphicFrameLocks noChangeAspect="1"/>
          </p:cNvGraphicFramePr>
          <p:nvPr userDrawn="1">
            <p:custDataLst>
              <p:tags r:id="rId14"/>
            </p:custDataLst>
            <p:extLst>
              <p:ext uri="{D42A27DB-BD31-4B8C-83A1-F6EECF244321}">
                <p14:modId xmlns:p14="http://schemas.microsoft.com/office/powerpoint/2010/main" val="1837711164"/>
              </p:ex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65230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1" y="1616"/>
                        <a:ext cx="158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ED839C-2D26-4958-A7A0-3FB9CD027AC0}"/>
              </a:ext>
            </a:extLst>
          </p:cNvPr>
          <p:cNvSpPr/>
          <p:nvPr userDrawn="1">
            <p:custDataLst>
              <p:tags r:id="rId15"/>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1969">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a:xfrm>
            <a:off x="838200" y="365126"/>
            <a:ext cx="10515600" cy="1325563"/>
          </a:xfrm>
          <a:prstGeom prst="rect">
            <a:avLst/>
          </a:prstGeom>
        </p:spPr>
        <p:txBody>
          <a:bodyPr vert="horz" lIns="91199" tIns="45607" rIns="91199" bIns="45607"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7"/>
            <a:ext cx="10515600" cy="4351339"/>
          </a:xfrm>
          <a:prstGeom prst="rect">
            <a:avLst/>
          </a:prstGeom>
        </p:spPr>
        <p:txBody>
          <a:bodyPr vert="horz" lIns="91199" tIns="45607" rIns="91199" bIns="45607"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798"/>
            <a:ext cx="2743201" cy="365125"/>
          </a:xfrm>
          <a:prstGeom prst="rect">
            <a:avLst/>
          </a:prstGeom>
        </p:spPr>
        <p:txBody>
          <a:bodyPr vert="horz" lIns="91199" tIns="45607" rIns="91199" bIns="45607" rtlCol="0" anchor="ctr"/>
          <a:lstStyle>
            <a:lvl1pPr algn="l">
              <a:defRPr sz="1200">
                <a:solidFill>
                  <a:schemeClr val="tx1">
                    <a:tint val="75000"/>
                  </a:schemeClr>
                </a:solidFill>
              </a:defRPr>
            </a:lvl1pPr>
          </a:lstStyle>
          <a:p>
            <a:pPr defTabSz="911969"/>
            <a:fld id="{8FE7DA74-7F26-482D-91B1-50D3065F5CE8}" type="datetime1">
              <a:rPr lang="en-US" smtClean="0">
                <a:solidFill>
                  <a:prstClr val="black">
                    <a:tint val="75000"/>
                  </a:prstClr>
                </a:solidFill>
              </a:rPr>
              <a:pPr defTabSz="911969"/>
              <a:t>4/30/20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798"/>
            <a:ext cx="4114800" cy="365125"/>
          </a:xfrm>
          <a:prstGeom prst="rect">
            <a:avLst/>
          </a:prstGeom>
        </p:spPr>
        <p:txBody>
          <a:bodyPr vert="horz" lIns="91199" tIns="45607" rIns="91199" bIns="45607" rtlCol="0" anchor="ctr"/>
          <a:lstStyle>
            <a:lvl1pPr algn="ctr">
              <a:defRPr sz="1200">
                <a:solidFill>
                  <a:schemeClr val="tx1">
                    <a:tint val="75000"/>
                  </a:schemeClr>
                </a:solidFill>
              </a:defRPr>
            </a:lvl1pPr>
          </a:lstStyle>
          <a:p>
            <a:pPr defTabSz="911969"/>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599" y="6356798"/>
            <a:ext cx="2743201" cy="365125"/>
          </a:xfrm>
          <a:prstGeom prst="rect">
            <a:avLst/>
          </a:prstGeom>
        </p:spPr>
        <p:txBody>
          <a:bodyPr vert="horz" lIns="91199" tIns="45607" rIns="91199" bIns="45607" rtlCol="0" anchor="ctr"/>
          <a:lstStyle>
            <a:lvl1pPr algn="r">
              <a:defRPr sz="1200">
                <a:solidFill>
                  <a:schemeClr val="tx1">
                    <a:tint val="75000"/>
                  </a:schemeClr>
                </a:solidFill>
              </a:defRPr>
            </a:lvl1pPr>
          </a:lstStyle>
          <a:p>
            <a:pPr defTabSz="911969"/>
            <a:fld id="{48F63A3B-78C7-47BE-AE5E-E10140E04643}" type="slidenum">
              <a:rPr lang="en-US" smtClean="0">
                <a:solidFill>
                  <a:prstClr val="black">
                    <a:tint val="75000"/>
                  </a:prstClr>
                </a:solidFill>
              </a:rPr>
              <a:pPr defTabSz="911969"/>
              <a:t>‹#›</a:t>
            </a:fld>
            <a:endParaRPr lang="en-US" dirty="0">
              <a:solidFill>
                <a:prstClr val="black">
                  <a:tint val="75000"/>
                </a:prstClr>
              </a:solidFill>
            </a:endParaRPr>
          </a:p>
        </p:txBody>
      </p:sp>
      <p:sp>
        <p:nvSpPr>
          <p:cNvPr id="8" name="TextBox 7">
            <a:extLst>
              <a:ext uri="{FF2B5EF4-FFF2-40B4-BE49-F238E27FC236}">
                <a16:creationId xmlns:a16="http://schemas.microsoft.com/office/drawing/2014/main" id="{0FF1DBC5-5F37-4F5F-9ACA-DA091C424BE7}"/>
              </a:ext>
            </a:extLst>
          </p:cNvPr>
          <p:cNvSpPr txBox="1"/>
          <p:nvPr userDrawn="1"/>
        </p:nvSpPr>
        <p:spPr>
          <a:xfrm>
            <a:off x="0" y="6447848"/>
            <a:ext cx="12192000" cy="384492"/>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199" tIns="45607" rIns="91199" bIns="45607" rtlCol="0">
            <a:spAutoFit/>
          </a:bodyPr>
          <a:lstStyle/>
          <a:p>
            <a:pPr algn="ctr" defTabSz="911969"/>
            <a:r>
              <a:rPr lang="en-US">
                <a:solidFill>
                  <a:prstClr val="white"/>
                </a:solidFill>
              </a:rPr>
              <a:t>NPHCDA </a:t>
            </a:r>
            <a:r>
              <a:rPr lang="en-US" dirty="0">
                <a:solidFill>
                  <a:prstClr val="white"/>
                </a:solidFill>
              </a:rPr>
              <a:t>– National Primary Health Care Development Agency</a:t>
            </a:r>
          </a:p>
        </p:txBody>
      </p:sp>
      <p:pic>
        <p:nvPicPr>
          <p:cNvPr id="9" name="Picture 8">
            <a:extLst>
              <a:ext uri="{FF2B5EF4-FFF2-40B4-BE49-F238E27FC236}">
                <a16:creationId xmlns:a16="http://schemas.microsoft.com/office/drawing/2014/main" id="{E633FD98-DD5F-445C-8B80-288591839D59}"/>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 y="5"/>
            <a:ext cx="1009651" cy="857251"/>
          </a:xfrm>
          <a:prstGeom prst="rect">
            <a:avLst/>
          </a:prstGeom>
        </p:spPr>
      </p:pic>
      <p:pic>
        <p:nvPicPr>
          <p:cNvPr id="10" name="Picture 9">
            <a:extLst>
              <a:ext uri="{FF2B5EF4-FFF2-40B4-BE49-F238E27FC236}">
                <a16:creationId xmlns:a16="http://schemas.microsoft.com/office/drawing/2014/main" id="{D9D8FF22-52BD-4BB6-9A1F-FCC91A7991DD}"/>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1191876" y="17"/>
            <a:ext cx="1000125" cy="914400"/>
          </a:xfrm>
          <a:prstGeom prst="rect">
            <a:avLst/>
          </a:prstGeom>
        </p:spPr>
      </p:pic>
    </p:spTree>
    <p:extLst>
      <p:ext uri="{BB962C8B-B14F-4D97-AF65-F5344CB8AC3E}">
        <p14:creationId xmlns:p14="http://schemas.microsoft.com/office/powerpoint/2010/main" val="2034035242"/>
      </p:ext>
    </p:extLst>
  </p:cSld>
  <p:clrMap bg1="lt1" tx1="dk1" bg2="lt2" tx2="dk2" accent1="accent1" accent2="accent2" accent3="accent3" accent4="accent4" accent5="accent5" accent6="accent6" hlink="hlink" folHlink="folHlink"/>
  <p:sldLayoutIdLst>
    <p:sldLayoutId id="2147484803" r:id="rId1"/>
    <p:sldLayoutId id="2147484804" r:id="rId2"/>
    <p:sldLayoutId id="2147484805" r:id="rId3"/>
    <p:sldLayoutId id="2147484806" r:id="rId4"/>
    <p:sldLayoutId id="2147484807" r:id="rId5"/>
    <p:sldLayoutId id="2147484808" r:id="rId6"/>
    <p:sldLayoutId id="2147484809" r:id="rId7"/>
    <p:sldLayoutId id="2147484810" r:id="rId8"/>
    <p:sldLayoutId id="2147484811" r:id="rId9"/>
    <p:sldLayoutId id="2147484812" r:id="rId10"/>
    <p:sldLayoutId id="2147484813" r:id="rId11"/>
  </p:sldLayoutIdLst>
  <p:hf hdr="0" ftr="0" dt="0"/>
  <p:txStyles>
    <p:titleStyle>
      <a:lvl1pPr algn="l" defTabSz="91196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7989" indent="-227989" algn="l" defTabSz="91196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3984" indent="-227989" algn="l" defTabSz="91196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39966"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5943"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1925"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07913"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3900"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19882"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75871"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1969" rtl="0" eaLnBrk="1" latinLnBrk="0" hangingPunct="1">
        <a:defRPr sz="1900" kern="1200">
          <a:solidFill>
            <a:schemeClr val="tx1"/>
          </a:solidFill>
          <a:latin typeface="+mn-lt"/>
          <a:ea typeface="+mn-ea"/>
          <a:cs typeface="+mn-cs"/>
        </a:defRPr>
      </a:lvl1pPr>
      <a:lvl2pPr marL="455981" algn="l" defTabSz="911969" rtl="0" eaLnBrk="1" latinLnBrk="0" hangingPunct="1">
        <a:defRPr sz="1900" kern="1200">
          <a:solidFill>
            <a:schemeClr val="tx1"/>
          </a:solidFill>
          <a:latin typeface="+mn-lt"/>
          <a:ea typeface="+mn-ea"/>
          <a:cs typeface="+mn-cs"/>
        </a:defRPr>
      </a:lvl2pPr>
      <a:lvl3pPr marL="911969" algn="l" defTabSz="911969" rtl="0" eaLnBrk="1" latinLnBrk="0" hangingPunct="1">
        <a:defRPr sz="1900" kern="1200">
          <a:solidFill>
            <a:schemeClr val="tx1"/>
          </a:solidFill>
          <a:latin typeface="+mn-lt"/>
          <a:ea typeface="+mn-ea"/>
          <a:cs typeface="+mn-cs"/>
        </a:defRPr>
      </a:lvl3pPr>
      <a:lvl4pPr marL="1367953" algn="l" defTabSz="911969" rtl="0" eaLnBrk="1" latinLnBrk="0" hangingPunct="1">
        <a:defRPr sz="1900" kern="1200">
          <a:solidFill>
            <a:schemeClr val="tx1"/>
          </a:solidFill>
          <a:latin typeface="+mn-lt"/>
          <a:ea typeface="+mn-ea"/>
          <a:cs typeface="+mn-cs"/>
        </a:defRPr>
      </a:lvl4pPr>
      <a:lvl5pPr marL="1823939" algn="l" defTabSz="911969" rtl="0" eaLnBrk="1" latinLnBrk="0" hangingPunct="1">
        <a:defRPr sz="1900" kern="1200">
          <a:solidFill>
            <a:schemeClr val="tx1"/>
          </a:solidFill>
          <a:latin typeface="+mn-lt"/>
          <a:ea typeface="+mn-ea"/>
          <a:cs typeface="+mn-cs"/>
        </a:defRPr>
      </a:lvl5pPr>
      <a:lvl6pPr marL="2279928" algn="l" defTabSz="911969" rtl="0" eaLnBrk="1" latinLnBrk="0" hangingPunct="1">
        <a:defRPr sz="1900" kern="1200">
          <a:solidFill>
            <a:schemeClr val="tx1"/>
          </a:solidFill>
          <a:latin typeface="+mn-lt"/>
          <a:ea typeface="+mn-ea"/>
          <a:cs typeface="+mn-cs"/>
        </a:defRPr>
      </a:lvl6pPr>
      <a:lvl7pPr marL="2735910" algn="l" defTabSz="911969" rtl="0" eaLnBrk="1" latinLnBrk="0" hangingPunct="1">
        <a:defRPr sz="1900" kern="1200">
          <a:solidFill>
            <a:schemeClr val="tx1"/>
          </a:solidFill>
          <a:latin typeface="+mn-lt"/>
          <a:ea typeface="+mn-ea"/>
          <a:cs typeface="+mn-cs"/>
        </a:defRPr>
      </a:lvl7pPr>
      <a:lvl8pPr marL="3191889" algn="l" defTabSz="911969" rtl="0" eaLnBrk="1" latinLnBrk="0" hangingPunct="1">
        <a:defRPr sz="1900" kern="1200">
          <a:solidFill>
            <a:schemeClr val="tx1"/>
          </a:solidFill>
          <a:latin typeface="+mn-lt"/>
          <a:ea typeface="+mn-ea"/>
          <a:cs typeface="+mn-cs"/>
        </a:defRPr>
      </a:lvl8pPr>
      <a:lvl9pPr marL="3647869" algn="l" defTabSz="911969"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extLst>
              <p:ext uri="{D42A27DB-BD31-4B8C-83A1-F6EECF244321}">
                <p14:modId xmlns:p14="http://schemas.microsoft.com/office/powerpoint/2010/main" val="2947182453"/>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5845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119" y="1592"/>
                        <a:ext cx="2116" cy="1587"/>
                      </a:xfrm>
                      <a:prstGeom prst="rect">
                        <a:avLst/>
                      </a:prstGeom>
                    </p:spPr>
                  </p:pic>
                </p:oleObj>
              </mc:Fallback>
            </mc:AlternateContent>
          </a:graphicData>
        </a:graphic>
      </p:graphicFrame>
      <p:sp>
        <p:nvSpPr>
          <p:cNvPr id="16387" name="Rectangle 3"/>
          <p:cNvSpPr>
            <a:spLocks noGrp="1" noChangeArrowheads="1"/>
          </p:cNvSpPr>
          <p:nvPr>
            <p:ph type="body" idx="1"/>
          </p:nvPr>
        </p:nvSpPr>
        <p:spPr bwMode="auto">
          <a:xfrm>
            <a:off x="609600" y="1181104"/>
            <a:ext cx="10972800" cy="4945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5220" name="Rectangle 4"/>
          <p:cNvSpPr>
            <a:spLocks noGrp="1" noChangeArrowheads="1"/>
          </p:cNvSpPr>
          <p:nvPr>
            <p:ph type="dt" sz="half" idx="2"/>
          </p:nvPr>
        </p:nvSpPr>
        <p:spPr bwMode="auto">
          <a:xfrm>
            <a:off x="0" y="6618129"/>
            <a:ext cx="16256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000" b="0" i="1">
                <a:solidFill>
                  <a:srgbClr val="000000"/>
                </a:solidFill>
                <a:latin typeface="+mj-lt"/>
              </a:defRPr>
            </a:lvl1pPr>
          </a:lstStyle>
          <a:p>
            <a:pPr defTabSz="914400"/>
            <a:fld id="{B5F4ECAC-03E4-484C-B6D9-5B918FB01785}" type="datetimeFigureOut">
              <a:rPr lang="en-US" smtClean="0"/>
              <a:pPr defTabSz="914400"/>
              <a:t>4/30/2019</a:t>
            </a:fld>
            <a:endParaRPr lang="en-US"/>
          </a:p>
        </p:txBody>
      </p:sp>
      <p:sp>
        <p:nvSpPr>
          <p:cNvPr id="265221" name="Rectangle 5"/>
          <p:cNvSpPr>
            <a:spLocks noGrp="1" noChangeArrowheads="1"/>
          </p:cNvSpPr>
          <p:nvPr>
            <p:ph type="ftr" sz="quarter" idx="3"/>
          </p:nvPr>
        </p:nvSpPr>
        <p:spPr bwMode="auto">
          <a:xfrm>
            <a:off x="1727200" y="6618130"/>
            <a:ext cx="79248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b="0" i="1">
                <a:solidFill>
                  <a:srgbClr val="000000"/>
                </a:solidFill>
                <a:latin typeface="+mj-lt"/>
              </a:defRPr>
            </a:lvl1pPr>
          </a:lstStyle>
          <a:p>
            <a:pPr defTabSz="914400"/>
            <a:endParaRPr lang="en-US"/>
          </a:p>
        </p:txBody>
      </p:sp>
      <p:sp>
        <p:nvSpPr>
          <p:cNvPr id="265222"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defTabSz="914400"/>
            <a:fld id="{D08BA9CE-8EFE-BE48-98DC-77CBE9860290}" type="slidenum">
              <a:rPr lang="en-US" smtClean="0"/>
              <a:pPr defTabSz="914400"/>
              <a:t>‹#›</a:t>
            </a:fld>
            <a:endParaRPr lang="en-US"/>
          </a:p>
        </p:txBody>
      </p:sp>
      <p:sp>
        <p:nvSpPr>
          <p:cNvPr id="16391" name="Rectangle 7"/>
          <p:cNvSpPr>
            <a:spLocks noGrp="1" noChangeArrowheads="1"/>
          </p:cNvSpPr>
          <p:nvPr>
            <p:ph type="title"/>
          </p:nvPr>
        </p:nvSpPr>
        <p:spPr bwMode="gray">
          <a:xfrm>
            <a:off x="0" y="0"/>
            <a:ext cx="12192000" cy="903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2" name="Rectangle 1"/>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4" name="Straight Connector 13"/>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2" name="Picture 11"/>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3" name="Object 12" hidden="1"/>
          <p:cNvGraphicFramePr>
            <a:graphicFrameLocks noChangeAspect="1"/>
          </p:cNvGraphicFramePr>
          <p:nvPr>
            <p:custDataLst>
              <p:tags r:id="rId13"/>
            </p:custDataLst>
            <p:extLst>
              <p:ext uri="{D42A27DB-BD31-4B8C-83A1-F6EECF244321}">
                <p14:modId xmlns:p14="http://schemas.microsoft.com/office/powerpoint/2010/main" val="2231114430"/>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58459"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5"/>
                      <a:stretch>
                        <a:fillRect/>
                      </a:stretch>
                    </p:blipFill>
                    <p:spPr>
                      <a:xfrm>
                        <a:off x="2119" y="1592"/>
                        <a:ext cx="2116" cy="1587"/>
                      </a:xfrm>
                      <a:prstGeom prst="rect">
                        <a:avLst/>
                      </a:prstGeom>
                    </p:spPr>
                  </p:pic>
                </p:oleObj>
              </mc:Fallback>
            </mc:AlternateContent>
          </a:graphicData>
        </a:graphic>
      </p:graphicFrame>
      <p:sp>
        <p:nvSpPr>
          <p:cNvPr id="16" name="Rectangle 15"/>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7" name="Isosceles Triangle 16"/>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8" name="Straight Connector 17"/>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9" name="Picture 18"/>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8759601"/>
      </p:ext>
    </p:extLst>
  </p:cSld>
  <p:clrMap bg1="lt1" tx1="dk1" bg2="lt2" tx2="dk2" accent1="accent1" accent2="accent2" accent3="accent3" accent4="accent4" accent5="accent5" accent6="accent6" hlink="hlink" folHlink="folHlink"/>
  <p:sldLayoutIdLst>
    <p:sldLayoutId id="2147484815" r:id="rId1"/>
    <p:sldLayoutId id="2147484816" r:id="rId2"/>
    <p:sldLayoutId id="2147484817" r:id="rId3"/>
    <p:sldLayoutId id="2147484818" r:id="rId4"/>
    <p:sldLayoutId id="2147484819" r:id="rId5"/>
    <p:sldLayoutId id="2147484820" r:id="rId6"/>
    <p:sldLayoutId id="2147484822" r:id="rId7"/>
    <p:sldLayoutId id="2147484823" r:id="rId8"/>
    <p:sldLayoutId id="2147484824" r:id="rId9"/>
  </p:sldLayoutIdLst>
  <p:txStyles>
    <p:titleStyle>
      <a:lvl1pPr marL="119063" indent="0"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800">
          <a:solidFill>
            <a:schemeClr val="tx1"/>
          </a:solidFill>
          <a:latin typeface="+mn-lt"/>
          <a:ea typeface="+mn-ea"/>
          <a:cs typeface="+mn-cs"/>
        </a:defRPr>
      </a:lvl2pPr>
      <a:lvl3pPr marL="1143000" indent="-228600" algn="l" rtl="0" eaLnBrk="1" fontAlgn="base" hangingPunct="1">
        <a:spcBef>
          <a:spcPct val="20000"/>
        </a:spcBef>
        <a:spcAft>
          <a:spcPct val="0"/>
        </a:spcAft>
        <a:buChar char="•"/>
        <a:defRPr sz="16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extLst>
              <p:ext uri="{D42A27DB-BD31-4B8C-83A1-F6EECF244321}">
                <p14:modId xmlns:p14="http://schemas.microsoft.com/office/powerpoint/2010/main" val="2300569906"/>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6050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119" y="1592"/>
                        <a:ext cx="2116" cy="1587"/>
                      </a:xfrm>
                      <a:prstGeom prst="rect">
                        <a:avLst/>
                      </a:prstGeom>
                    </p:spPr>
                  </p:pic>
                </p:oleObj>
              </mc:Fallback>
            </mc:AlternateContent>
          </a:graphicData>
        </a:graphic>
      </p:graphicFrame>
      <p:sp>
        <p:nvSpPr>
          <p:cNvPr id="16387" name="Rectangle 3"/>
          <p:cNvSpPr>
            <a:spLocks noGrp="1" noChangeArrowheads="1"/>
          </p:cNvSpPr>
          <p:nvPr>
            <p:ph type="body" idx="1"/>
          </p:nvPr>
        </p:nvSpPr>
        <p:spPr bwMode="auto">
          <a:xfrm>
            <a:off x="609600" y="1181104"/>
            <a:ext cx="10972800" cy="4945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5220" name="Rectangle 4"/>
          <p:cNvSpPr>
            <a:spLocks noGrp="1" noChangeArrowheads="1"/>
          </p:cNvSpPr>
          <p:nvPr>
            <p:ph type="dt" sz="half" idx="2"/>
          </p:nvPr>
        </p:nvSpPr>
        <p:spPr bwMode="auto">
          <a:xfrm>
            <a:off x="0" y="6618129"/>
            <a:ext cx="16256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000" b="0" i="1">
                <a:solidFill>
                  <a:srgbClr val="000000"/>
                </a:solidFill>
                <a:latin typeface="+mj-lt"/>
              </a:defRPr>
            </a:lvl1pPr>
          </a:lstStyle>
          <a:p>
            <a:pPr defTabSz="914400"/>
            <a:fld id="{B5F4ECAC-03E4-484C-B6D9-5B918FB01785}" type="datetimeFigureOut">
              <a:rPr lang="en-US" smtClean="0"/>
              <a:pPr defTabSz="914400"/>
              <a:t>4/30/2019</a:t>
            </a:fld>
            <a:endParaRPr lang="en-US"/>
          </a:p>
        </p:txBody>
      </p:sp>
      <p:sp>
        <p:nvSpPr>
          <p:cNvPr id="265221" name="Rectangle 5"/>
          <p:cNvSpPr>
            <a:spLocks noGrp="1" noChangeArrowheads="1"/>
          </p:cNvSpPr>
          <p:nvPr>
            <p:ph type="ftr" sz="quarter" idx="3"/>
          </p:nvPr>
        </p:nvSpPr>
        <p:spPr bwMode="auto">
          <a:xfrm>
            <a:off x="1727200" y="6618130"/>
            <a:ext cx="79248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b="0" i="1">
                <a:solidFill>
                  <a:srgbClr val="000000"/>
                </a:solidFill>
                <a:latin typeface="+mj-lt"/>
              </a:defRPr>
            </a:lvl1pPr>
          </a:lstStyle>
          <a:p>
            <a:pPr defTabSz="914400"/>
            <a:endParaRPr lang="en-US"/>
          </a:p>
        </p:txBody>
      </p:sp>
      <p:sp>
        <p:nvSpPr>
          <p:cNvPr id="265222"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defTabSz="914400"/>
            <a:fld id="{D08BA9CE-8EFE-BE48-98DC-77CBE9860290}" type="slidenum">
              <a:rPr lang="en-US" smtClean="0"/>
              <a:pPr defTabSz="914400"/>
              <a:t>‹#›</a:t>
            </a:fld>
            <a:endParaRPr lang="en-US"/>
          </a:p>
        </p:txBody>
      </p:sp>
      <p:sp>
        <p:nvSpPr>
          <p:cNvPr id="16391" name="Rectangle 7"/>
          <p:cNvSpPr>
            <a:spLocks noGrp="1" noChangeArrowheads="1"/>
          </p:cNvSpPr>
          <p:nvPr>
            <p:ph type="title"/>
          </p:nvPr>
        </p:nvSpPr>
        <p:spPr bwMode="gray">
          <a:xfrm>
            <a:off x="0" y="0"/>
            <a:ext cx="12192000" cy="903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2" name="Rectangle 1"/>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4" name="Straight Connector 13"/>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2" name="Picture 11"/>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3" name="Object 12" hidden="1"/>
          <p:cNvGraphicFramePr>
            <a:graphicFrameLocks noChangeAspect="1"/>
          </p:cNvGraphicFramePr>
          <p:nvPr>
            <p:custDataLst>
              <p:tags r:id="rId13"/>
            </p:custDataLst>
            <p:extLst>
              <p:ext uri="{D42A27DB-BD31-4B8C-83A1-F6EECF244321}">
                <p14:modId xmlns:p14="http://schemas.microsoft.com/office/powerpoint/2010/main" val="2278894412"/>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60507"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5"/>
                      <a:stretch>
                        <a:fillRect/>
                      </a:stretch>
                    </p:blipFill>
                    <p:spPr>
                      <a:xfrm>
                        <a:off x="2119" y="1592"/>
                        <a:ext cx="2116" cy="1587"/>
                      </a:xfrm>
                      <a:prstGeom prst="rect">
                        <a:avLst/>
                      </a:prstGeom>
                    </p:spPr>
                  </p:pic>
                </p:oleObj>
              </mc:Fallback>
            </mc:AlternateContent>
          </a:graphicData>
        </a:graphic>
      </p:graphicFrame>
      <p:sp>
        <p:nvSpPr>
          <p:cNvPr id="16" name="Rectangle 15"/>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7" name="Isosceles Triangle 16"/>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8" name="Straight Connector 17"/>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9" name="Picture 18"/>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8481215"/>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 id="2147484829" r:id="rId4"/>
    <p:sldLayoutId id="2147484830" r:id="rId5"/>
    <p:sldLayoutId id="2147484831" r:id="rId6"/>
    <p:sldLayoutId id="2147484833" r:id="rId7"/>
    <p:sldLayoutId id="2147484834" r:id="rId8"/>
    <p:sldLayoutId id="2147484835" r:id="rId9"/>
  </p:sldLayoutIdLst>
  <p:txStyles>
    <p:titleStyle>
      <a:lvl1pPr marL="119063" indent="0"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800">
          <a:solidFill>
            <a:schemeClr val="tx1"/>
          </a:solidFill>
          <a:latin typeface="+mn-lt"/>
          <a:ea typeface="+mn-ea"/>
          <a:cs typeface="+mn-cs"/>
        </a:defRPr>
      </a:lvl2pPr>
      <a:lvl3pPr marL="1143000" indent="-228600" algn="l" rtl="0" eaLnBrk="1" fontAlgn="base" hangingPunct="1">
        <a:spcBef>
          <a:spcPct val="20000"/>
        </a:spcBef>
        <a:spcAft>
          <a:spcPct val="0"/>
        </a:spcAft>
        <a:buChar char="•"/>
        <a:defRPr sz="16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FB082-FBF6-4A25-AF0F-2CC496B55C54}"/>
              </a:ext>
            </a:extLst>
          </p:cNvPr>
          <p:cNvGraphicFramePr>
            <a:graphicFrameLocks noChangeAspect="1"/>
          </p:cNvGraphicFramePr>
          <p:nvPr>
            <p:custDataLst>
              <p:tags r:id="rId14"/>
            </p:custDataLst>
            <p:extLst>
              <p:ext uri="{D42A27DB-BD31-4B8C-83A1-F6EECF244321}">
                <p14:modId xmlns:p14="http://schemas.microsoft.com/office/powerpoint/2010/main" val="808212445"/>
              </p:ex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6663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1" y="1595"/>
                        <a:ext cx="158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ED839C-2D26-4958-A7A0-3FB9CD027AC0}"/>
              </a:ext>
            </a:extLst>
          </p:cNvPr>
          <p:cNvSpPr/>
          <p:nvPr>
            <p:custDataLst>
              <p:tags r:id="rId15"/>
            </p:custDataLst>
          </p:nvPr>
        </p:nvSpPr>
        <p:spPr>
          <a:xfrm>
            <a:off x="4"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013">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a:xfrm>
            <a:off x="838200" y="365126"/>
            <a:ext cx="10515600" cy="1325563"/>
          </a:xfrm>
          <a:prstGeom prst="rect">
            <a:avLst/>
          </a:prstGeom>
        </p:spPr>
        <p:txBody>
          <a:bodyPr vert="horz" lIns="91401" tIns="45702" rIns="91401" bIns="45702"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01" tIns="45702" rIns="91401" bIns="45702"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898"/>
            <a:ext cx="2743201" cy="365125"/>
          </a:xfrm>
          <a:prstGeom prst="rect">
            <a:avLst/>
          </a:prstGeom>
        </p:spPr>
        <p:txBody>
          <a:bodyPr vert="horz" lIns="91401" tIns="45702" rIns="91401" bIns="45702" rtlCol="0" anchor="ctr"/>
          <a:lstStyle>
            <a:lvl1pPr algn="l">
              <a:defRPr sz="1200">
                <a:solidFill>
                  <a:schemeClr val="tx1">
                    <a:tint val="75000"/>
                  </a:schemeClr>
                </a:solidFill>
              </a:defRPr>
            </a:lvl1pPr>
          </a:lstStyle>
          <a:p>
            <a:pPr defTabSz="914013"/>
            <a:fld id="{36AAAF84-6719-452E-A617-DC05F6A58F97}" type="datetime1">
              <a:rPr lang="en-US" smtClean="0">
                <a:solidFill>
                  <a:prstClr val="black">
                    <a:tint val="75000"/>
                  </a:prstClr>
                </a:solidFill>
              </a:rPr>
              <a:pPr defTabSz="914013"/>
              <a:t>4/30/20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898"/>
            <a:ext cx="4114800" cy="365125"/>
          </a:xfrm>
          <a:prstGeom prst="rect">
            <a:avLst/>
          </a:prstGeom>
        </p:spPr>
        <p:txBody>
          <a:bodyPr vert="horz" lIns="91401" tIns="45702" rIns="91401" bIns="45702" rtlCol="0" anchor="ctr"/>
          <a:lstStyle>
            <a:lvl1pPr algn="ctr">
              <a:defRPr sz="1200">
                <a:solidFill>
                  <a:schemeClr val="tx1">
                    <a:tint val="75000"/>
                  </a:schemeClr>
                </a:solidFill>
              </a:defRPr>
            </a:lvl1pPr>
          </a:lstStyle>
          <a:p>
            <a:pPr defTabSz="914013"/>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599" y="6356898"/>
            <a:ext cx="2743201" cy="365125"/>
          </a:xfrm>
          <a:prstGeom prst="rect">
            <a:avLst/>
          </a:prstGeom>
        </p:spPr>
        <p:txBody>
          <a:bodyPr vert="horz" lIns="91401" tIns="45702" rIns="91401" bIns="45702" rtlCol="0" anchor="ctr"/>
          <a:lstStyle>
            <a:lvl1pPr algn="r">
              <a:defRPr sz="1200">
                <a:solidFill>
                  <a:schemeClr val="tx1">
                    <a:tint val="75000"/>
                  </a:schemeClr>
                </a:solidFill>
              </a:defRPr>
            </a:lvl1pPr>
          </a:lstStyle>
          <a:p>
            <a:pPr defTabSz="914013"/>
            <a:fld id="{48F63A3B-78C7-47BE-AE5E-E10140E04643}" type="slidenum">
              <a:rPr lang="en-US" smtClean="0">
                <a:solidFill>
                  <a:prstClr val="black">
                    <a:tint val="75000"/>
                  </a:prstClr>
                </a:solidFill>
              </a:rPr>
              <a:pPr defTabSz="914013"/>
              <a:t>‹#›</a:t>
            </a:fld>
            <a:endParaRPr lang="en-US" dirty="0">
              <a:solidFill>
                <a:prstClr val="black">
                  <a:tint val="75000"/>
                </a:prstClr>
              </a:solidFill>
            </a:endParaRPr>
          </a:p>
        </p:txBody>
      </p:sp>
      <p:sp>
        <p:nvSpPr>
          <p:cNvPr id="8" name="TextBox 7">
            <a:extLst>
              <a:ext uri="{FF2B5EF4-FFF2-40B4-BE49-F238E27FC236}">
                <a16:creationId xmlns:a16="http://schemas.microsoft.com/office/drawing/2014/main" id="{0FF1DBC5-5F37-4F5F-9ACA-DA091C424BE7}"/>
              </a:ext>
            </a:extLst>
          </p:cNvPr>
          <p:cNvSpPr txBox="1"/>
          <p:nvPr/>
        </p:nvSpPr>
        <p:spPr>
          <a:xfrm>
            <a:off x="0" y="6447368"/>
            <a:ext cx="12192000" cy="384684"/>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401" tIns="45702" rIns="91401" bIns="45702" rtlCol="0">
            <a:spAutoFit/>
          </a:bodyPr>
          <a:lstStyle/>
          <a:p>
            <a:pPr algn="ctr" defTabSz="914013"/>
            <a:r>
              <a:rPr lang="en-US">
                <a:solidFill>
                  <a:prstClr val="white"/>
                </a:solidFill>
              </a:rPr>
              <a:t>NPHCDA </a:t>
            </a:r>
            <a:r>
              <a:rPr lang="en-US" dirty="0">
                <a:solidFill>
                  <a:prstClr val="white"/>
                </a:solidFill>
              </a:rPr>
              <a:t>– National Primary Health Care Development Agency</a:t>
            </a:r>
          </a:p>
        </p:txBody>
      </p:sp>
      <p:pic>
        <p:nvPicPr>
          <p:cNvPr id="9" name="Picture 8">
            <a:extLst>
              <a:ext uri="{FF2B5EF4-FFF2-40B4-BE49-F238E27FC236}">
                <a16:creationId xmlns:a16="http://schemas.microsoft.com/office/drawing/2014/main" id="{E633FD98-DD5F-445C-8B80-288591839D5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 y="0"/>
            <a:ext cx="1009651" cy="857250"/>
          </a:xfrm>
          <a:prstGeom prst="rect">
            <a:avLst/>
          </a:prstGeom>
        </p:spPr>
      </p:pic>
      <p:pic>
        <p:nvPicPr>
          <p:cNvPr id="10" name="Picture 9">
            <a:extLst>
              <a:ext uri="{FF2B5EF4-FFF2-40B4-BE49-F238E27FC236}">
                <a16:creationId xmlns:a16="http://schemas.microsoft.com/office/drawing/2014/main" id="{D9D8FF22-52BD-4BB6-9A1F-FCC91A7991D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191876" y="3"/>
            <a:ext cx="1000125" cy="914400"/>
          </a:xfrm>
          <a:prstGeom prst="rect">
            <a:avLst/>
          </a:prstGeom>
        </p:spPr>
      </p:pic>
    </p:spTree>
    <p:extLst>
      <p:ext uri="{BB962C8B-B14F-4D97-AF65-F5344CB8AC3E}">
        <p14:creationId xmlns:p14="http://schemas.microsoft.com/office/powerpoint/2010/main" val="1991455662"/>
      </p:ext>
    </p:extLst>
  </p:cSld>
  <p:clrMap bg1="lt1" tx1="dk1" bg2="lt2" tx2="dk2" accent1="accent1" accent2="accent2" accent3="accent3" accent4="accent4" accent5="accent5" accent6="accent6" hlink="hlink" folHlink="folHlink"/>
  <p:sldLayoutIdLst>
    <p:sldLayoutId id="2147484837" r:id="rId1"/>
    <p:sldLayoutId id="2147484838" r:id="rId2"/>
    <p:sldLayoutId id="2147484839" r:id="rId3"/>
    <p:sldLayoutId id="2147484840" r:id="rId4"/>
    <p:sldLayoutId id="2147484841" r:id="rId5"/>
    <p:sldLayoutId id="2147484842" r:id="rId6"/>
    <p:sldLayoutId id="2147484843" r:id="rId7"/>
    <p:sldLayoutId id="2147484844" r:id="rId8"/>
    <p:sldLayoutId id="2147484845" r:id="rId9"/>
    <p:sldLayoutId id="2147484846" r:id="rId10"/>
    <p:sldLayoutId id="2147484847" r:id="rId11"/>
  </p:sldLayoutIdLst>
  <p:hf hdr="0" ftr="0" dt="0"/>
  <p:txStyles>
    <p:titleStyle>
      <a:lvl1pPr algn="l" defTabSz="91401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03" indent="-228503" algn="l" defTabSz="91401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12" indent="-228503" algn="l" defTabSz="91401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16" indent="-228503" algn="l" defTabSz="91401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9523"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528"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533"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40"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547"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553"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13" rtl="0" eaLnBrk="1" latinLnBrk="0" hangingPunct="1">
        <a:defRPr sz="1800" kern="1200">
          <a:solidFill>
            <a:schemeClr val="tx1"/>
          </a:solidFill>
          <a:latin typeface="+mn-lt"/>
          <a:ea typeface="+mn-ea"/>
          <a:cs typeface="+mn-cs"/>
        </a:defRPr>
      </a:lvl1pPr>
      <a:lvl2pPr marL="457007" algn="l" defTabSz="914013" rtl="0" eaLnBrk="1" latinLnBrk="0" hangingPunct="1">
        <a:defRPr sz="1800" kern="1200">
          <a:solidFill>
            <a:schemeClr val="tx1"/>
          </a:solidFill>
          <a:latin typeface="+mn-lt"/>
          <a:ea typeface="+mn-ea"/>
          <a:cs typeface="+mn-cs"/>
        </a:defRPr>
      </a:lvl2pPr>
      <a:lvl3pPr marL="914013" algn="l" defTabSz="914013" rtl="0" eaLnBrk="1" latinLnBrk="0" hangingPunct="1">
        <a:defRPr sz="1800" kern="1200">
          <a:solidFill>
            <a:schemeClr val="tx1"/>
          </a:solidFill>
          <a:latin typeface="+mn-lt"/>
          <a:ea typeface="+mn-ea"/>
          <a:cs typeface="+mn-cs"/>
        </a:defRPr>
      </a:lvl3pPr>
      <a:lvl4pPr marL="1371019" algn="l" defTabSz="914013" rtl="0" eaLnBrk="1" latinLnBrk="0" hangingPunct="1">
        <a:defRPr sz="1800" kern="1200">
          <a:solidFill>
            <a:schemeClr val="tx1"/>
          </a:solidFill>
          <a:latin typeface="+mn-lt"/>
          <a:ea typeface="+mn-ea"/>
          <a:cs typeface="+mn-cs"/>
        </a:defRPr>
      </a:lvl4pPr>
      <a:lvl5pPr marL="1828025" algn="l" defTabSz="914013" rtl="0" eaLnBrk="1" latinLnBrk="0" hangingPunct="1">
        <a:defRPr sz="1800" kern="1200">
          <a:solidFill>
            <a:schemeClr val="tx1"/>
          </a:solidFill>
          <a:latin typeface="+mn-lt"/>
          <a:ea typeface="+mn-ea"/>
          <a:cs typeface="+mn-cs"/>
        </a:defRPr>
      </a:lvl5pPr>
      <a:lvl6pPr marL="2285031" algn="l" defTabSz="914013" rtl="0" eaLnBrk="1" latinLnBrk="0" hangingPunct="1">
        <a:defRPr sz="1800" kern="1200">
          <a:solidFill>
            <a:schemeClr val="tx1"/>
          </a:solidFill>
          <a:latin typeface="+mn-lt"/>
          <a:ea typeface="+mn-ea"/>
          <a:cs typeface="+mn-cs"/>
        </a:defRPr>
      </a:lvl6pPr>
      <a:lvl7pPr marL="2742037" algn="l" defTabSz="914013" rtl="0" eaLnBrk="1" latinLnBrk="0" hangingPunct="1">
        <a:defRPr sz="1800" kern="1200">
          <a:solidFill>
            <a:schemeClr val="tx1"/>
          </a:solidFill>
          <a:latin typeface="+mn-lt"/>
          <a:ea typeface="+mn-ea"/>
          <a:cs typeface="+mn-cs"/>
        </a:defRPr>
      </a:lvl7pPr>
      <a:lvl8pPr marL="3199044" algn="l" defTabSz="914013" rtl="0" eaLnBrk="1" latinLnBrk="0" hangingPunct="1">
        <a:defRPr sz="1800" kern="1200">
          <a:solidFill>
            <a:schemeClr val="tx1"/>
          </a:solidFill>
          <a:latin typeface="+mn-lt"/>
          <a:ea typeface="+mn-ea"/>
          <a:cs typeface="+mn-cs"/>
        </a:defRPr>
      </a:lvl8pPr>
      <a:lvl9pPr marL="3656050" algn="l" defTabSz="91401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919873123"/>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669709"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20" name="Slide Number"/>
          <p:cNvSpPr txBox="1">
            <a:spLocks/>
          </p:cNvSpPr>
          <p:nvPr userDrawn="1"/>
        </p:nvSpPr>
        <p:spPr bwMode="auto">
          <a:xfrm>
            <a:off x="11801649" y="656520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1F1F1F"/>
                </a:solidFill>
              </a:rPr>
              <a:pPr algn="r" defTabSz="914400" fontAlgn="base">
                <a:spcBef>
                  <a:spcPct val="0"/>
                </a:spcBef>
                <a:spcAft>
                  <a:spcPct val="0"/>
                </a:spcAft>
              </a:pPr>
              <a:t>‹#›</a:t>
            </a:fld>
            <a:endParaRPr lang="en-US" dirty="0">
              <a:solidFill>
                <a:srgbClr val="1F1F1F"/>
              </a:solidFill>
            </a:endParaRPr>
          </a:p>
        </p:txBody>
      </p:sp>
      <p:sp>
        <p:nvSpPr>
          <p:cNvPr id="18" name="Rectangle 17"/>
          <p:cNvSpPr/>
          <p:nvPr userDrawn="1"/>
        </p:nvSpPr>
        <p:spPr bwMode="auto">
          <a:xfrm>
            <a:off x="0" y="6400584"/>
            <a:ext cx="12192000" cy="25712"/>
          </a:xfrm>
          <a:prstGeom prst="rect">
            <a:avLst/>
          </a:prstGeom>
          <a:gradFill>
            <a:gsLst>
              <a:gs pos="0">
                <a:srgbClr val="DAF2E6"/>
              </a:gs>
              <a:gs pos="100000">
                <a:srgbClr val="339966"/>
              </a:gs>
            </a:gsLst>
            <a:lin ang="0" scaled="1"/>
          </a:gradFill>
          <a:ln w="9525" cap="flat" cmpd="sng" algn="ctr">
            <a:noFill/>
            <a:prstDash val="solid"/>
          </a:ln>
          <a:effectLst/>
        </p:spPr>
        <p:txBody>
          <a:bodyPr lIns="111063" tIns="55532" rIns="111063" bIns="55532" rtlCol="0" anchor="ctr"/>
          <a:lstStyle/>
          <a:p>
            <a:pPr algn="ctr" defTabSz="1110630">
              <a:defRPr/>
            </a:pPr>
            <a:endParaRPr lang="en-US" sz="2200" kern="0" dirty="0" err="1">
              <a:solidFill>
                <a:srgbClr val="1F1F1F"/>
              </a:solidFill>
              <a:ea typeface="ＭＳ Ｐゴシック"/>
            </a:endParaRPr>
          </a:p>
        </p:txBody>
      </p:sp>
      <p:sp>
        <p:nvSpPr>
          <p:cNvPr id="1033" name="doc id"/>
          <p:cNvSpPr>
            <a:spLocks noChangeArrowheads="1"/>
          </p:cNvSpPr>
          <p:nvPr/>
        </p:nvSpPr>
        <p:spPr bwMode="auto">
          <a:xfrm>
            <a:off x="11064592"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087492" fontAlgn="base">
              <a:spcBef>
                <a:spcPct val="0"/>
              </a:spcBef>
              <a:spcAft>
                <a:spcPct val="0"/>
              </a:spcAft>
            </a:pPr>
            <a:r>
              <a:rPr lang="en-US" sz="1000" dirty="0">
                <a:solidFill>
                  <a:srgbClr val="000000"/>
                </a:solidFill>
              </a:rPr>
              <a:t>Doc ID</a:t>
            </a:r>
          </a:p>
        </p:txBody>
      </p:sp>
      <p:sp>
        <p:nvSpPr>
          <p:cNvPr id="1034" name="Working Draft"/>
          <p:cNvSpPr txBox="1">
            <a:spLocks noChangeArrowheads="1"/>
          </p:cNvSpPr>
          <p:nvPr/>
        </p:nvSpPr>
        <p:spPr bwMode="auto">
          <a:xfrm rot="5400000">
            <a:off x="10752852" y="2559520"/>
            <a:ext cx="2688236"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a:solidFill>
                  <a:srgbClr val="1F1F1F"/>
                </a:solidFill>
                <a:latin typeface="Arial"/>
              </a:rPr>
              <a:t>Last Modified 2017/10/17 6:26 PM W. Central Africa Standard Time</a:t>
            </a:r>
            <a:endParaRPr lang="en-US" dirty="0">
              <a:solidFill>
                <a:srgbClr val="1F1F1F"/>
              </a:solidFill>
              <a:latin typeface="Arial"/>
            </a:endParaRPr>
          </a:p>
        </p:txBody>
      </p:sp>
      <p:sp>
        <p:nvSpPr>
          <p:cNvPr id="1035" name="Printed"/>
          <p:cNvSpPr txBox="1">
            <a:spLocks noChangeArrowheads="1"/>
          </p:cNvSpPr>
          <p:nvPr/>
        </p:nvSpPr>
        <p:spPr bwMode="auto">
          <a:xfrm rot="5400000">
            <a:off x="11955103" y="4777500"/>
            <a:ext cx="283732"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700" dirty="0">
                <a:solidFill>
                  <a:srgbClr val="1F1F1F"/>
                </a:solidFill>
                <a:latin typeface="Arial"/>
              </a:rPr>
              <a:t>Printed</a:t>
            </a:r>
            <a:endParaRPr lang="en-US" dirty="0">
              <a:solidFill>
                <a:srgbClr val="1F1F1F"/>
              </a:solidFill>
              <a:latin typeface="Arial"/>
            </a:endParaRPr>
          </a:p>
        </p:txBody>
      </p:sp>
      <p:sp>
        <p:nvSpPr>
          <p:cNvPr id="1036" name="Rectangle 286"/>
          <p:cNvSpPr>
            <a:spLocks noGrp="1" noChangeArrowheads="1"/>
          </p:cNvSpPr>
          <p:nvPr>
            <p:ph type="body" idx="1"/>
          </p:nvPr>
        </p:nvSpPr>
        <p:spPr bwMode="auto">
          <a:xfrm>
            <a:off x="1976207" y="2925409"/>
            <a:ext cx="5853024" cy="14619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33259" y="234863"/>
            <a:ext cx="11725485" cy="353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33258" y="27536"/>
            <a:ext cx="1041952"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700" dirty="0">
                <a:solidFill>
                  <a:srgbClr val="808080"/>
                </a:solidFill>
              </a:rPr>
              <a:t>TRACKER</a:t>
            </a:r>
          </a:p>
        </p:txBody>
      </p:sp>
      <p:sp>
        <p:nvSpPr>
          <p:cNvPr id="11" name="3. Unit of measure" hidden="1"/>
          <p:cNvSpPr txBox="1">
            <a:spLocks noChangeArrowheads="1"/>
          </p:cNvSpPr>
          <p:nvPr/>
        </p:nvSpPr>
        <p:spPr bwMode="auto">
          <a:xfrm>
            <a:off x="233259" y="542616"/>
            <a:ext cx="1172548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900" dirty="0">
                <a:solidFill>
                  <a:srgbClr val="808080"/>
                </a:solidFill>
                <a:latin typeface="Arial"/>
              </a:rPr>
              <a:t>Unit of measure</a:t>
            </a:r>
          </a:p>
        </p:txBody>
      </p:sp>
      <p:grpSp>
        <p:nvGrpSpPr>
          <p:cNvPr id="4" name="Slide Elements" hidden="1"/>
          <p:cNvGrpSpPr/>
          <p:nvPr userDrawn="1"/>
        </p:nvGrpSpPr>
        <p:grpSpPr bwMode="auto">
          <a:xfrm>
            <a:off x="233260" y="6174454"/>
            <a:ext cx="11725483" cy="560028"/>
            <a:chOff x="171451" y="6051536"/>
            <a:chExt cx="8618537" cy="548879"/>
          </a:xfrm>
        </p:grpSpPr>
        <p:sp>
          <p:nvSpPr>
            <p:cNvPr id="13" name="Slide Elements"/>
            <p:cNvSpPr txBox="1">
              <a:spLocks noChangeArrowheads="1"/>
            </p:cNvSpPr>
            <p:nvPr/>
          </p:nvSpPr>
          <p:spPr bwMode="auto">
            <a:xfrm>
              <a:off x="171451" y="6051536"/>
              <a:ext cx="861853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1F1F1F"/>
                  </a:solidFill>
                  <a:latin typeface="Arial"/>
                </a:rPr>
                <a:t>1 Footnote</a:t>
              </a:r>
            </a:p>
          </p:txBody>
        </p:sp>
        <p:sp>
          <p:nvSpPr>
            <p:cNvPr id="14" name="Slide Elements"/>
            <p:cNvSpPr>
              <a:spLocks noChangeArrowheads="1"/>
            </p:cNvSpPr>
            <p:nvPr/>
          </p:nvSpPr>
          <p:spPr bwMode="auto">
            <a:xfrm>
              <a:off x="171452" y="6419425"/>
              <a:ext cx="825817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740420" indent="-740420" defTabSz="1087492" fontAlgn="base">
                <a:spcBef>
                  <a:spcPct val="0"/>
                </a:spcBef>
                <a:spcAft>
                  <a:spcPct val="0"/>
                </a:spcAft>
                <a:tabLst>
                  <a:tab pos="744277" algn="l"/>
                </a:tabLst>
              </a:pPr>
              <a:r>
                <a:rPr lang="en-US" sz="1200" dirty="0">
                  <a:solidFill>
                    <a:srgbClr val="1F1F1F"/>
                  </a:solidFill>
                </a:rPr>
                <a:t>SOURCE: Source</a:t>
              </a:r>
            </a:p>
          </p:txBody>
        </p:sp>
      </p:grpSp>
      <p:grpSp>
        <p:nvGrpSpPr>
          <p:cNvPr id="15" name="ACET" hidden="1"/>
          <p:cNvGrpSpPr>
            <a:grpSpLocks/>
          </p:cNvGrpSpPr>
          <p:nvPr/>
        </p:nvGrpSpPr>
        <p:grpSpPr bwMode="auto">
          <a:xfrm>
            <a:off x="1976207" y="2243497"/>
            <a:ext cx="5853024" cy="602545"/>
            <a:chOff x="915" y="658"/>
            <a:chExt cx="2686" cy="37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58"/>
              <a:ext cx="2686" cy="3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b="1" dirty="0">
                  <a:solidFill>
                    <a:srgbClr val="1F1F1F"/>
                  </a:solidFill>
                </a:rPr>
                <a:t>Title</a:t>
              </a:r>
            </a:p>
            <a:p>
              <a:pPr defTabSz="914400" fontAlgn="base">
                <a:spcBef>
                  <a:spcPct val="0"/>
                </a:spcBef>
                <a:spcAft>
                  <a:spcPct val="0"/>
                </a:spcAft>
              </a:pPr>
              <a:r>
                <a:rPr lang="en-US" dirty="0">
                  <a:solidFill>
                    <a:srgbClr val="808080"/>
                  </a:solidFill>
                </a:rPr>
                <a:t>Unit of measure</a:t>
              </a:r>
            </a:p>
          </p:txBody>
        </p:sp>
      </p:grpSp>
      <p:grpSp>
        <p:nvGrpSpPr>
          <p:cNvPr id="21" name="LegendBoxes" hidden="1"/>
          <p:cNvGrpSpPr>
            <a:grpSpLocks/>
          </p:cNvGrpSpPr>
          <p:nvPr userDrawn="1"/>
        </p:nvGrpSpPr>
        <p:grpSpPr bwMode="auto">
          <a:xfrm>
            <a:off x="10919886" y="292447"/>
            <a:ext cx="989183" cy="1060934"/>
            <a:chOff x="4936" y="176"/>
            <a:chExt cx="458" cy="655"/>
          </a:xfrm>
        </p:grpSpPr>
        <p:sp>
          <p:nvSpPr>
            <p:cNvPr id="22" name="Legend1"/>
            <p:cNvSpPr>
              <a:spLocks noChangeArrowheads="1"/>
            </p:cNvSpPr>
            <p:nvPr/>
          </p:nvSpPr>
          <p:spPr bwMode="auto">
            <a:xfrm>
              <a:off x="5096" y="176"/>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2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24" name="Legend2"/>
            <p:cNvSpPr>
              <a:spLocks noChangeArrowheads="1"/>
            </p:cNvSpPr>
            <p:nvPr/>
          </p:nvSpPr>
          <p:spPr bwMode="auto">
            <a:xfrm>
              <a:off x="5096" y="346"/>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26" name="Legend3"/>
            <p:cNvSpPr>
              <a:spLocks noChangeArrowheads="1"/>
            </p:cNvSpPr>
            <p:nvPr/>
          </p:nvSpPr>
          <p:spPr bwMode="auto">
            <a:xfrm>
              <a:off x="5096" y="517"/>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2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28" name="Legend4"/>
            <p:cNvSpPr>
              <a:spLocks noChangeArrowheads="1"/>
            </p:cNvSpPr>
            <p:nvPr/>
          </p:nvSpPr>
          <p:spPr bwMode="auto">
            <a:xfrm>
              <a:off x="5096" y="688"/>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2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nvGrpSpPr>
          <p:cNvPr id="30" name="LegendLines" hidden="1"/>
          <p:cNvGrpSpPr>
            <a:grpSpLocks/>
          </p:cNvGrpSpPr>
          <p:nvPr userDrawn="1"/>
        </p:nvGrpSpPr>
        <p:grpSpPr bwMode="auto">
          <a:xfrm>
            <a:off x="10500888" y="292447"/>
            <a:ext cx="1408182" cy="788817"/>
            <a:chOff x="4750" y="176"/>
            <a:chExt cx="652" cy="487"/>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a:solidFill>
                  <a:srgbClr val="1F1F1F"/>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a:solidFill>
                  <a:srgbClr val="1F1F1F"/>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a:solidFill>
                  <a:srgbClr val="1F1F1F"/>
                </a:solidFill>
              </a:endParaRPr>
            </a:p>
          </p:txBody>
        </p:sp>
        <p:sp>
          <p:nvSpPr>
            <p:cNvPr id="34" name="Legend1"/>
            <p:cNvSpPr>
              <a:spLocks noChangeArrowheads="1"/>
            </p:cNvSpPr>
            <p:nvPr/>
          </p:nvSpPr>
          <p:spPr bwMode="auto">
            <a:xfrm>
              <a:off x="5104" y="176"/>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35" name="Legend2"/>
            <p:cNvSpPr>
              <a:spLocks noChangeArrowheads="1"/>
            </p:cNvSpPr>
            <p:nvPr/>
          </p:nvSpPr>
          <p:spPr bwMode="auto">
            <a:xfrm>
              <a:off x="5104" y="344"/>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36" name="Legend3"/>
            <p:cNvSpPr>
              <a:spLocks noChangeArrowheads="1"/>
            </p:cNvSpPr>
            <p:nvPr/>
          </p:nvSpPr>
          <p:spPr bwMode="auto">
            <a:xfrm>
              <a:off x="5104" y="520"/>
              <a:ext cx="298" cy="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grpSp>
      <p:grpSp>
        <p:nvGrpSpPr>
          <p:cNvPr id="37" name="McKSticker" hidden="1"/>
          <p:cNvGrpSpPr/>
          <p:nvPr userDrawn="1"/>
        </p:nvGrpSpPr>
        <p:grpSpPr bwMode="auto">
          <a:xfrm>
            <a:off x="10629663" y="292447"/>
            <a:ext cx="1329082" cy="258532"/>
            <a:chOff x="7763865" y="285750"/>
            <a:chExt cx="976910" cy="253385"/>
          </a:xfrm>
        </p:grpSpPr>
        <p:sp>
          <p:nvSpPr>
            <p:cNvPr id="38" name="StickerRectangle"/>
            <p:cNvSpPr>
              <a:spLocks noChangeArrowheads="1"/>
            </p:cNvSpPr>
            <p:nvPr/>
          </p:nvSpPr>
          <p:spPr bwMode="auto">
            <a:xfrm>
              <a:off x="7763865" y="285750"/>
              <a:ext cx="976910" cy="2533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087492" fontAlgn="base">
                <a:spcBef>
                  <a:spcPct val="0"/>
                </a:spcBef>
                <a:spcAft>
                  <a:spcPct val="0"/>
                </a:spcAft>
                <a:buClr>
                  <a:srgbClr val="339966"/>
                </a:buClr>
              </a:pPr>
              <a:r>
                <a:rPr lang="en-US" sz="1500" dirty="0">
                  <a:solidFill>
                    <a:srgbClr val="808080"/>
                  </a:solidFill>
                </a:rPr>
                <a:t>PRELIMINARY</a:t>
              </a:r>
            </a:p>
          </p:txBody>
        </p:sp>
        <p:cxnSp>
          <p:nvCxnSpPr>
            <p:cNvPr id="39" name="AutoShape 31"/>
            <p:cNvCxnSpPr>
              <a:cxnSpLocks noChangeShapeType="1"/>
              <a:stCxn id="38" idx="2"/>
              <a:endCxn id="38" idx="4"/>
            </p:cNvCxnSpPr>
            <p:nvPr/>
          </p:nvCxnSpPr>
          <p:spPr bwMode="auto">
            <a:xfrm>
              <a:off x="7763865" y="285750"/>
              <a:ext cx="0" cy="2533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763865" y="539135"/>
              <a:ext cx="97691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1" name="LegendMoons" hidden="1"/>
          <p:cNvGrpSpPr/>
          <p:nvPr userDrawn="1"/>
        </p:nvGrpSpPr>
        <p:grpSpPr bwMode="auto">
          <a:xfrm>
            <a:off x="10828942" y="292447"/>
            <a:ext cx="1080684" cy="1363037"/>
            <a:chOff x="7875175" y="286625"/>
            <a:chExt cx="794331" cy="1335902"/>
          </a:xfrm>
        </p:grpSpPr>
        <p:grpSp>
          <p:nvGrpSpPr>
            <p:cNvPr id="42" name="MoonLegend2"/>
            <p:cNvGrpSpPr>
              <a:grpSpLocks noChangeAspect="1"/>
            </p:cNvGrpSpPr>
            <p:nvPr>
              <p:custDataLst>
                <p:tags r:id="rId8"/>
              </p:custDataLst>
            </p:nvPr>
          </p:nvGrpSpPr>
          <p:grpSpPr bwMode="auto">
            <a:xfrm>
              <a:off x="7875175" y="560866"/>
              <a:ext cx="209550" cy="209551"/>
              <a:chOff x="1694" y="2044"/>
              <a:chExt cx="160" cy="160"/>
            </a:xfrm>
          </p:grpSpPr>
          <p:sp>
            <p:nvSpPr>
              <p:cNvPr id="6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6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nvGrpSpPr>
            <p:cNvPr id="43" name="MoonLegend4"/>
            <p:cNvGrpSpPr>
              <a:grpSpLocks noChangeAspect="1"/>
            </p:cNvGrpSpPr>
            <p:nvPr>
              <p:custDataLst>
                <p:tags r:id="rId9"/>
              </p:custDataLst>
            </p:nvPr>
          </p:nvGrpSpPr>
          <p:grpSpPr bwMode="auto">
            <a:xfrm>
              <a:off x="7875175" y="1109348"/>
              <a:ext cx="209550" cy="209551"/>
              <a:chOff x="4495" y="1198"/>
              <a:chExt cx="160" cy="160"/>
            </a:xfrm>
          </p:grpSpPr>
          <p:sp>
            <p:nvSpPr>
              <p:cNvPr id="5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5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nvGrpSpPr>
            <p:cNvPr id="44" name="MoonLegend5"/>
            <p:cNvGrpSpPr>
              <a:grpSpLocks noChangeAspect="1"/>
            </p:cNvGrpSpPr>
            <p:nvPr>
              <p:custDataLst>
                <p:tags r:id="rId10"/>
              </p:custDataLst>
            </p:nvPr>
          </p:nvGrpSpPr>
          <p:grpSpPr bwMode="auto">
            <a:xfrm>
              <a:off x="7875175" y="1383590"/>
              <a:ext cx="209550" cy="209551"/>
              <a:chOff x="4495" y="1440"/>
              <a:chExt cx="160" cy="160"/>
            </a:xfrm>
          </p:grpSpPr>
          <p:sp>
            <p:nvSpPr>
              <p:cNvPr id="5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5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sp>
          <p:nvSpPr>
            <p:cNvPr id="45" name="Legend1"/>
            <p:cNvSpPr>
              <a:spLocks noChangeArrowheads="1"/>
            </p:cNvSpPr>
            <p:nvPr/>
          </p:nvSpPr>
          <p:spPr bwMode="auto">
            <a:xfrm>
              <a:off x="8195850" y="299325"/>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dirty="0">
                  <a:solidFill>
                    <a:srgbClr val="1F1F1F"/>
                  </a:solidFill>
                </a:rPr>
                <a:t>Legend</a:t>
              </a:r>
            </a:p>
          </p:txBody>
        </p:sp>
        <p:sp>
          <p:nvSpPr>
            <p:cNvPr id="46" name="Legend2"/>
            <p:cNvSpPr>
              <a:spLocks noChangeArrowheads="1"/>
            </p:cNvSpPr>
            <p:nvPr/>
          </p:nvSpPr>
          <p:spPr bwMode="auto">
            <a:xfrm>
              <a:off x="8195850" y="573963"/>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dirty="0">
                  <a:solidFill>
                    <a:srgbClr val="1F1F1F"/>
                  </a:solidFill>
                </a:rPr>
                <a:t>Legend</a:t>
              </a:r>
            </a:p>
          </p:txBody>
        </p:sp>
        <p:sp>
          <p:nvSpPr>
            <p:cNvPr id="47" name="Legend3"/>
            <p:cNvSpPr>
              <a:spLocks noChangeArrowheads="1"/>
            </p:cNvSpPr>
            <p:nvPr/>
          </p:nvSpPr>
          <p:spPr bwMode="auto">
            <a:xfrm>
              <a:off x="8195850" y="848602"/>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dirty="0">
                  <a:solidFill>
                    <a:srgbClr val="1F1F1F"/>
                  </a:solidFill>
                </a:rPr>
                <a:t>Legend</a:t>
              </a:r>
            </a:p>
          </p:txBody>
        </p:sp>
        <p:sp>
          <p:nvSpPr>
            <p:cNvPr id="48" name="Legend4"/>
            <p:cNvSpPr>
              <a:spLocks noChangeArrowheads="1"/>
            </p:cNvSpPr>
            <p:nvPr/>
          </p:nvSpPr>
          <p:spPr bwMode="auto">
            <a:xfrm>
              <a:off x="8195850" y="1120065"/>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a:solidFill>
                    <a:srgbClr val="1F1F1F"/>
                  </a:solidFill>
                </a:rPr>
                <a:t>Legend</a:t>
              </a:r>
            </a:p>
          </p:txBody>
        </p:sp>
        <p:sp>
          <p:nvSpPr>
            <p:cNvPr id="49" name="Legend5"/>
            <p:cNvSpPr>
              <a:spLocks noChangeArrowheads="1"/>
            </p:cNvSpPr>
            <p:nvPr/>
          </p:nvSpPr>
          <p:spPr bwMode="auto">
            <a:xfrm>
              <a:off x="8195850" y="1396290"/>
              <a:ext cx="473656"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87492" fontAlgn="base">
                <a:spcBef>
                  <a:spcPct val="0"/>
                </a:spcBef>
                <a:spcAft>
                  <a:spcPct val="0"/>
                </a:spcAft>
                <a:buClr>
                  <a:srgbClr val="339966"/>
                </a:buClr>
              </a:pPr>
              <a:r>
                <a:rPr lang="en-US" sz="1500" dirty="0">
                  <a:solidFill>
                    <a:srgbClr val="1F1F1F"/>
                  </a:solidFill>
                </a:rPr>
                <a:t>Legend</a:t>
              </a:r>
            </a:p>
          </p:txBody>
        </p:sp>
        <p:grpSp>
          <p:nvGrpSpPr>
            <p:cNvPr id="50" name="MoonLegend3"/>
            <p:cNvGrpSpPr>
              <a:grpSpLocks noChangeAspect="1"/>
            </p:cNvGrpSpPr>
            <p:nvPr>
              <p:custDataLst>
                <p:tags r:id="rId11"/>
              </p:custDataLst>
            </p:nvPr>
          </p:nvGrpSpPr>
          <p:grpSpPr bwMode="auto">
            <a:xfrm>
              <a:off x="7875175" y="835107"/>
              <a:ext cx="209550" cy="209551"/>
              <a:chOff x="4495" y="1198"/>
              <a:chExt cx="160" cy="160"/>
            </a:xfrm>
          </p:grpSpPr>
          <p:sp>
            <p:nvSpPr>
              <p:cNvPr id="5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5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nvGrpSpPr>
            <p:cNvPr id="51" name="MoonLegend1"/>
            <p:cNvGrpSpPr>
              <a:grpSpLocks noChangeAspect="1"/>
            </p:cNvGrpSpPr>
            <p:nvPr userDrawn="1">
              <p:custDataLst>
                <p:tags r:id="rId12"/>
              </p:custDataLst>
            </p:nvPr>
          </p:nvGrpSpPr>
          <p:grpSpPr bwMode="auto">
            <a:xfrm>
              <a:off x="7875175" y="286625"/>
              <a:ext cx="209550" cy="209551"/>
              <a:chOff x="1694" y="2044"/>
              <a:chExt cx="160" cy="160"/>
            </a:xfrm>
          </p:grpSpPr>
          <p:sp>
            <p:nvSpPr>
              <p:cNvPr id="5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sp>
            <p:nvSpPr>
              <p:cNvPr id="53" name="Arc 42"/>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a:solidFill>
                    <a:srgbClr val="1F1F1F"/>
                  </a:solidFill>
                </a:endParaRPr>
              </a:p>
            </p:txBody>
          </p:sp>
        </p:grpSp>
      </p:grpSp>
    </p:spTree>
    <p:extLst>
      <p:ext uri="{BB962C8B-B14F-4D97-AF65-F5344CB8AC3E}">
        <p14:creationId xmlns:p14="http://schemas.microsoft.com/office/powerpoint/2010/main" val="3155952566"/>
      </p:ext>
    </p:extLst>
  </p:cSld>
  <p:clrMap bg1="lt1" tx1="dk1" bg2="lt2" tx2="dk2" accent1="accent1" accent2="accent2" accent3="accent3" accent4="accent4" accent5="accent5" accent6="accent6" hlink="hlink" folHlink="folHlink"/>
  <p:sldLayoutIdLst>
    <p:sldLayoutId id="2147484849" r:id="rId1"/>
    <p:sldLayoutId id="2147484850" r:id="rId2"/>
    <p:sldLayoutId id="2147484851" r:id="rId3"/>
    <p:sldLayoutId id="2147484852" r:id="rId4"/>
  </p:sldLayoutIdLst>
  <p:hf hdr="0" ftr="0" dt="0"/>
  <p:txStyles>
    <p:titleStyle>
      <a:lvl1pPr algn="l" defTabSz="1087492" rtl="0" eaLnBrk="1" fontAlgn="base" hangingPunct="1">
        <a:spcBef>
          <a:spcPct val="0"/>
        </a:spcBef>
        <a:spcAft>
          <a:spcPct val="0"/>
        </a:spcAft>
        <a:tabLst>
          <a:tab pos="327790" algn="l"/>
        </a:tabLst>
        <a:defRPr sz="2300" b="1" baseline="0">
          <a:solidFill>
            <a:srgbClr val="26734D"/>
          </a:solidFill>
          <a:latin typeface="+mj-lt"/>
          <a:ea typeface="+mj-ea"/>
          <a:cs typeface="+mj-cs"/>
        </a:defRPr>
      </a:lvl1pPr>
      <a:lvl2pPr algn="l" defTabSz="1087492" rtl="0" eaLnBrk="1" fontAlgn="base" hangingPunct="1">
        <a:spcBef>
          <a:spcPct val="0"/>
        </a:spcBef>
        <a:spcAft>
          <a:spcPct val="0"/>
        </a:spcAft>
        <a:defRPr sz="2300" b="1">
          <a:solidFill>
            <a:schemeClr val="tx2"/>
          </a:solidFill>
          <a:latin typeface="Arial" charset="0"/>
        </a:defRPr>
      </a:lvl2pPr>
      <a:lvl3pPr algn="l" defTabSz="1087492" rtl="0" eaLnBrk="1" fontAlgn="base" hangingPunct="1">
        <a:spcBef>
          <a:spcPct val="0"/>
        </a:spcBef>
        <a:spcAft>
          <a:spcPct val="0"/>
        </a:spcAft>
        <a:defRPr sz="2300" b="1">
          <a:solidFill>
            <a:schemeClr val="tx2"/>
          </a:solidFill>
          <a:latin typeface="Arial" charset="0"/>
        </a:defRPr>
      </a:lvl3pPr>
      <a:lvl4pPr algn="l" defTabSz="1087492" rtl="0" eaLnBrk="1" fontAlgn="base" hangingPunct="1">
        <a:spcBef>
          <a:spcPct val="0"/>
        </a:spcBef>
        <a:spcAft>
          <a:spcPct val="0"/>
        </a:spcAft>
        <a:defRPr sz="2300" b="1">
          <a:solidFill>
            <a:schemeClr val="tx2"/>
          </a:solidFill>
          <a:latin typeface="Arial" charset="0"/>
        </a:defRPr>
      </a:lvl4pPr>
      <a:lvl5pPr algn="l" defTabSz="1087492" rtl="0" eaLnBrk="1" fontAlgn="base" hangingPunct="1">
        <a:spcBef>
          <a:spcPct val="0"/>
        </a:spcBef>
        <a:spcAft>
          <a:spcPct val="0"/>
        </a:spcAft>
        <a:defRPr sz="2300" b="1">
          <a:solidFill>
            <a:schemeClr val="tx2"/>
          </a:solidFill>
          <a:latin typeface="Arial" charset="0"/>
        </a:defRPr>
      </a:lvl5pPr>
      <a:lvl6pPr marL="555315" algn="l" defTabSz="1087492" rtl="0" eaLnBrk="1" fontAlgn="base" hangingPunct="1">
        <a:spcBef>
          <a:spcPct val="0"/>
        </a:spcBef>
        <a:spcAft>
          <a:spcPct val="0"/>
        </a:spcAft>
        <a:defRPr sz="2300" b="1">
          <a:solidFill>
            <a:schemeClr val="tx2"/>
          </a:solidFill>
          <a:latin typeface="Arial" charset="0"/>
        </a:defRPr>
      </a:lvl6pPr>
      <a:lvl7pPr marL="1110630" algn="l" defTabSz="1087492" rtl="0" eaLnBrk="1" fontAlgn="base" hangingPunct="1">
        <a:spcBef>
          <a:spcPct val="0"/>
        </a:spcBef>
        <a:spcAft>
          <a:spcPct val="0"/>
        </a:spcAft>
        <a:defRPr sz="2300" b="1">
          <a:solidFill>
            <a:schemeClr val="tx2"/>
          </a:solidFill>
          <a:latin typeface="Arial" charset="0"/>
        </a:defRPr>
      </a:lvl7pPr>
      <a:lvl8pPr marL="1665945" algn="l" defTabSz="1087492" rtl="0" eaLnBrk="1" fontAlgn="base" hangingPunct="1">
        <a:spcBef>
          <a:spcPct val="0"/>
        </a:spcBef>
        <a:spcAft>
          <a:spcPct val="0"/>
        </a:spcAft>
        <a:defRPr sz="2300" b="1">
          <a:solidFill>
            <a:schemeClr val="tx2"/>
          </a:solidFill>
          <a:latin typeface="Arial" charset="0"/>
        </a:defRPr>
      </a:lvl8pPr>
      <a:lvl9pPr marL="2221260" algn="l" defTabSz="1087492" rtl="0" eaLnBrk="1" fontAlgn="base" hangingPunct="1">
        <a:spcBef>
          <a:spcPct val="0"/>
        </a:spcBef>
        <a:spcAft>
          <a:spcPct val="0"/>
        </a:spcAft>
        <a:defRPr sz="2300" b="1">
          <a:solidFill>
            <a:schemeClr val="tx2"/>
          </a:solidFill>
          <a:latin typeface="Arial" charset="0"/>
        </a:defRPr>
      </a:lvl9pPr>
    </p:titleStyle>
    <p:bodyStyle>
      <a:lvl1pPr marL="0" indent="0" algn="l" defTabSz="1087492" rtl="0" eaLnBrk="1" fontAlgn="base" hangingPunct="1">
        <a:spcBef>
          <a:spcPct val="0"/>
        </a:spcBef>
        <a:spcAft>
          <a:spcPct val="0"/>
        </a:spcAft>
        <a:buClr>
          <a:schemeClr val="tx2"/>
        </a:buClr>
        <a:defRPr sz="1900" baseline="0">
          <a:solidFill>
            <a:schemeClr val="tx1"/>
          </a:solidFill>
          <a:latin typeface="+mn-lt"/>
          <a:ea typeface="+mn-ea"/>
          <a:cs typeface="+mn-cs"/>
        </a:defRPr>
      </a:lvl1pPr>
      <a:lvl2pPr marL="235238" indent="-233310" algn="l" defTabSz="1087492" rtl="0" eaLnBrk="1" fontAlgn="base" hangingPunct="1">
        <a:spcBef>
          <a:spcPct val="0"/>
        </a:spcBef>
        <a:spcAft>
          <a:spcPct val="0"/>
        </a:spcAft>
        <a:buClr>
          <a:schemeClr val="tx2"/>
        </a:buClr>
        <a:buSzPct val="125000"/>
        <a:buFont typeface="Arial" charset="0"/>
        <a:buChar char="▪"/>
        <a:defRPr sz="1900" baseline="0">
          <a:solidFill>
            <a:schemeClr val="tx1"/>
          </a:solidFill>
          <a:latin typeface="+mn-lt"/>
        </a:defRPr>
      </a:lvl2pPr>
      <a:lvl3pPr marL="555315" indent="-318150" algn="l" defTabSz="1087492"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3pPr>
      <a:lvl4pPr marL="746205" indent="-188961" algn="l" defTabSz="1087492" rtl="0" eaLnBrk="1" fontAlgn="base" hangingPunct="1">
        <a:spcBef>
          <a:spcPct val="0"/>
        </a:spcBef>
        <a:spcAft>
          <a:spcPct val="0"/>
        </a:spcAft>
        <a:buClr>
          <a:schemeClr val="tx2"/>
        </a:buClr>
        <a:buSzPct val="120000"/>
        <a:buFont typeface="Arial" charset="0"/>
        <a:buChar char="▫"/>
        <a:defRPr sz="1900" baseline="0">
          <a:solidFill>
            <a:schemeClr val="tx1"/>
          </a:solidFill>
          <a:latin typeface="+mn-lt"/>
        </a:defRPr>
      </a:lvl4pPr>
      <a:lvl5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5pPr>
      <a:lvl6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717" indent="-158111" algn="l" defTabSz="1087492"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630" rtl="0" eaLnBrk="1" latinLnBrk="0" hangingPunct="1">
        <a:defRPr sz="2200" kern="1200">
          <a:solidFill>
            <a:schemeClr val="tx1"/>
          </a:solidFill>
          <a:latin typeface="+mn-lt"/>
          <a:ea typeface="+mn-ea"/>
          <a:cs typeface="+mn-cs"/>
        </a:defRPr>
      </a:lvl1pPr>
      <a:lvl2pPr marL="555315" algn="l" defTabSz="1110630" rtl="0" eaLnBrk="1" latinLnBrk="0" hangingPunct="1">
        <a:defRPr sz="2200" kern="1200">
          <a:solidFill>
            <a:schemeClr val="tx1"/>
          </a:solidFill>
          <a:latin typeface="+mn-lt"/>
          <a:ea typeface="+mn-ea"/>
          <a:cs typeface="+mn-cs"/>
        </a:defRPr>
      </a:lvl2pPr>
      <a:lvl3pPr marL="1110630" algn="l" defTabSz="1110630" rtl="0" eaLnBrk="1" latinLnBrk="0" hangingPunct="1">
        <a:defRPr sz="2200" kern="1200">
          <a:solidFill>
            <a:schemeClr val="tx1"/>
          </a:solidFill>
          <a:latin typeface="+mn-lt"/>
          <a:ea typeface="+mn-ea"/>
          <a:cs typeface="+mn-cs"/>
        </a:defRPr>
      </a:lvl3pPr>
      <a:lvl4pPr marL="1665945" algn="l" defTabSz="1110630" rtl="0" eaLnBrk="1" latinLnBrk="0" hangingPunct="1">
        <a:defRPr sz="2200" kern="1200">
          <a:solidFill>
            <a:schemeClr val="tx1"/>
          </a:solidFill>
          <a:latin typeface="+mn-lt"/>
          <a:ea typeface="+mn-ea"/>
          <a:cs typeface="+mn-cs"/>
        </a:defRPr>
      </a:lvl4pPr>
      <a:lvl5pPr marL="2221260" algn="l" defTabSz="1110630" rtl="0" eaLnBrk="1" latinLnBrk="0" hangingPunct="1">
        <a:defRPr sz="2200" kern="1200">
          <a:solidFill>
            <a:schemeClr val="tx1"/>
          </a:solidFill>
          <a:latin typeface="+mn-lt"/>
          <a:ea typeface="+mn-ea"/>
          <a:cs typeface="+mn-cs"/>
        </a:defRPr>
      </a:lvl5pPr>
      <a:lvl6pPr marL="2776576" algn="l" defTabSz="1110630" rtl="0" eaLnBrk="1" latinLnBrk="0" hangingPunct="1">
        <a:defRPr sz="2200" kern="1200">
          <a:solidFill>
            <a:schemeClr val="tx1"/>
          </a:solidFill>
          <a:latin typeface="+mn-lt"/>
          <a:ea typeface="+mn-ea"/>
          <a:cs typeface="+mn-cs"/>
        </a:defRPr>
      </a:lvl6pPr>
      <a:lvl7pPr marL="3331891" algn="l" defTabSz="1110630" rtl="0" eaLnBrk="1" latinLnBrk="0" hangingPunct="1">
        <a:defRPr sz="2200" kern="1200">
          <a:solidFill>
            <a:schemeClr val="tx1"/>
          </a:solidFill>
          <a:latin typeface="+mn-lt"/>
          <a:ea typeface="+mn-ea"/>
          <a:cs typeface="+mn-cs"/>
        </a:defRPr>
      </a:lvl7pPr>
      <a:lvl8pPr marL="3887206" algn="l" defTabSz="1110630" rtl="0" eaLnBrk="1" latinLnBrk="0" hangingPunct="1">
        <a:defRPr sz="2200" kern="1200">
          <a:solidFill>
            <a:schemeClr val="tx1"/>
          </a:solidFill>
          <a:latin typeface="+mn-lt"/>
          <a:ea typeface="+mn-ea"/>
          <a:cs typeface="+mn-cs"/>
        </a:defRPr>
      </a:lvl8pPr>
      <a:lvl9pPr marL="4442521" algn="l" defTabSz="1110630" rtl="0" eaLnBrk="1" latinLnBrk="0" hangingPunct="1">
        <a:defRPr sz="22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7DA2D07-590B-4FE4-A79B-775B7A90B2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7489064C-9449-402F-A664-8E555494C3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16E53E43-F53B-4402-9E1B-17B68060E5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FC464507-62AF-4892-AF66-2D5200F57C74}" type="datetimeFigureOut">
              <a:rPr lang="x-none" smtClean="0">
                <a:solidFill>
                  <a:prstClr val="black">
                    <a:tint val="75000"/>
                  </a:prstClr>
                </a:solidFill>
              </a:rPr>
              <a:pPr defTabSz="914400"/>
              <a:t>30/04/2019</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07B11FD5-B24E-4D60-94BA-B161B92BD3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x-none">
              <a:solidFill>
                <a:prstClr val="black">
                  <a:tint val="75000"/>
                </a:prstClr>
              </a:solidFill>
            </a:endParaRPr>
          </a:p>
        </p:txBody>
      </p:sp>
      <p:sp>
        <p:nvSpPr>
          <p:cNvPr id="6" name="Slide Number Placeholder 5">
            <a:extLst>
              <a:ext uri="{FF2B5EF4-FFF2-40B4-BE49-F238E27FC236}">
                <a16:creationId xmlns:a16="http://schemas.microsoft.com/office/drawing/2014/main" id="{80325611-1774-4EF9-B630-E26ADD2529C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F31770C-CD7A-43F0-9DBF-D12F9D29BD79}" type="slidenum">
              <a:rPr lang="x-none" smtClean="0">
                <a:solidFill>
                  <a:prstClr val="black">
                    <a:tint val="75000"/>
                  </a:prstClr>
                </a:solidFill>
              </a:rPr>
              <a:pPr defTabSz="914400"/>
              <a:t>‹#›</a:t>
            </a:fld>
            <a:endParaRPr lang="x-none">
              <a:solidFill>
                <a:prstClr val="black">
                  <a:tint val="75000"/>
                </a:prstClr>
              </a:solidFill>
            </a:endParaRPr>
          </a:p>
        </p:txBody>
      </p:sp>
    </p:spTree>
    <p:extLst>
      <p:ext uri="{BB962C8B-B14F-4D97-AF65-F5344CB8AC3E}">
        <p14:creationId xmlns:p14="http://schemas.microsoft.com/office/powerpoint/2010/main" val="2358762605"/>
      </p:ext>
    </p:extLst>
  </p:cSld>
  <p:clrMap bg1="lt1" tx1="dk1" bg2="lt2" tx2="dk2" accent1="accent1" accent2="accent2" accent3="accent3" accent4="accent4" accent5="accent5" accent6="accent6" hlink="hlink" folHlink="folHlink"/>
  <p:sldLayoutIdLst>
    <p:sldLayoutId id="2147484854" r:id="rId1"/>
    <p:sldLayoutId id="2147484855" r:id="rId2"/>
    <p:sldLayoutId id="2147484856" r:id="rId3"/>
    <p:sldLayoutId id="2147484857" r:id="rId4"/>
    <p:sldLayoutId id="2147484858" r:id="rId5"/>
    <p:sldLayoutId id="2147484859" r:id="rId6"/>
    <p:sldLayoutId id="2147484860" r:id="rId7"/>
    <p:sldLayoutId id="2147484861" r:id="rId8"/>
    <p:sldLayoutId id="2147484862" r:id="rId9"/>
    <p:sldLayoutId id="2147484863" r:id="rId10"/>
    <p:sldLayoutId id="214748486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01" tIns="45702" rIns="91401" bIns="45702"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01" tIns="45702" rIns="91401" bIns="45702"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410"/>
            <a:ext cx="2743201" cy="365125"/>
          </a:xfrm>
          <a:prstGeom prst="rect">
            <a:avLst/>
          </a:prstGeom>
        </p:spPr>
        <p:txBody>
          <a:bodyPr vert="horz" lIns="91401" tIns="45702" rIns="91401" bIns="45702" rtlCol="0" anchor="ctr"/>
          <a:lstStyle>
            <a:lvl1pPr algn="l">
              <a:defRPr sz="1200">
                <a:solidFill>
                  <a:schemeClr val="tx1">
                    <a:tint val="75000"/>
                  </a:schemeClr>
                </a:solidFill>
              </a:defRPr>
            </a:lvl1pPr>
          </a:lstStyle>
          <a:p>
            <a:pPr defTabSz="914013"/>
            <a:fld id="{D30D40B6-E330-4055-9591-7F22FFC52258}" type="datetime1">
              <a:rPr lang="en-US" smtClean="0">
                <a:solidFill>
                  <a:prstClr val="black">
                    <a:tint val="75000"/>
                  </a:prstClr>
                </a:solidFill>
              </a:rPr>
              <a:pPr defTabSz="914013"/>
              <a:t>4/30/20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410"/>
            <a:ext cx="4114800" cy="365125"/>
          </a:xfrm>
          <a:prstGeom prst="rect">
            <a:avLst/>
          </a:prstGeom>
        </p:spPr>
        <p:txBody>
          <a:bodyPr vert="horz" lIns="91401" tIns="45702" rIns="91401" bIns="45702" rtlCol="0" anchor="ctr"/>
          <a:lstStyle>
            <a:lvl1pPr algn="ctr">
              <a:defRPr sz="1200">
                <a:solidFill>
                  <a:schemeClr val="tx1">
                    <a:tint val="75000"/>
                  </a:schemeClr>
                </a:solidFill>
              </a:defRPr>
            </a:lvl1pPr>
          </a:lstStyle>
          <a:p>
            <a:pPr defTabSz="914013"/>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599" y="6356410"/>
            <a:ext cx="2743201" cy="365125"/>
          </a:xfrm>
          <a:prstGeom prst="rect">
            <a:avLst/>
          </a:prstGeom>
        </p:spPr>
        <p:txBody>
          <a:bodyPr vert="horz" lIns="91401" tIns="45702" rIns="91401" bIns="45702" rtlCol="0" anchor="ctr"/>
          <a:lstStyle>
            <a:lvl1pPr algn="r">
              <a:defRPr sz="1200">
                <a:solidFill>
                  <a:schemeClr val="tx1">
                    <a:tint val="75000"/>
                  </a:schemeClr>
                </a:solidFill>
              </a:defRPr>
            </a:lvl1pPr>
          </a:lstStyle>
          <a:p>
            <a:pPr defTabSz="914013"/>
            <a:fld id="{4FAB73BC-B049-4115-A692-8D63A059BFB8}" type="slidenum">
              <a:rPr lang="en-US" smtClean="0">
                <a:solidFill>
                  <a:prstClr val="black">
                    <a:tint val="75000"/>
                  </a:prstClr>
                </a:solidFill>
              </a:rPr>
              <a:pPr defTabSz="914013"/>
              <a:t>‹#›</a:t>
            </a:fld>
            <a:endParaRPr lang="en-US" dirty="0">
              <a:solidFill>
                <a:prstClr val="black">
                  <a:tint val="75000"/>
                </a:prstClr>
              </a:solidFill>
            </a:endParaRPr>
          </a:p>
        </p:txBody>
      </p:sp>
      <p:graphicFrame>
        <p:nvGraphicFramePr>
          <p:cNvPr id="7" name="Object 6" hidden="1">
            <a:extLst>
              <a:ext uri="{FF2B5EF4-FFF2-40B4-BE49-F238E27FC236}">
                <a16:creationId xmlns:a16="http://schemas.microsoft.com/office/drawing/2014/main" id="{12ED0404-42AF-4A9E-B8F3-0759A8791C5C}"/>
              </a:ext>
            </a:extLst>
          </p:cNvPr>
          <p:cNvGraphicFramePr>
            <a:graphicFrameLocks noChangeAspect="1"/>
          </p:cNvGraphicFramePr>
          <p:nvPr userDrawn="1">
            <p:custDataLst>
              <p:tags r:id="rId14"/>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35235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1" y="1595"/>
                        <a:ext cx="1586" cy="1587"/>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72F6F0C-FFF6-4C27-87F2-FD60669B8B21}"/>
              </a:ext>
            </a:extLst>
          </p:cNvPr>
          <p:cNvSpPr txBox="1"/>
          <p:nvPr userDrawn="1"/>
        </p:nvSpPr>
        <p:spPr>
          <a:xfrm>
            <a:off x="1" y="6447367"/>
            <a:ext cx="12192000" cy="384684"/>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401" tIns="45702" rIns="91401" bIns="45702" rtlCol="0">
            <a:spAutoFit/>
          </a:bodyPr>
          <a:lstStyle/>
          <a:p>
            <a:pPr algn="ctr" defTabSz="914013"/>
            <a:r>
              <a:rPr lang="en-US" sz="1900" dirty="0">
                <a:solidFill>
                  <a:prstClr val="white"/>
                </a:solidFill>
              </a:rPr>
              <a:t>NPHCDA – National Primary Health Care Development Agency</a:t>
            </a:r>
          </a:p>
        </p:txBody>
      </p:sp>
      <p:pic>
        <p:nvPicPr>
          <p:cNvPr id="9" name="Picture 8">
            <a:extLst>
              <a:ext uri="{FF2B5EF4-FFF2-40B4-BE49-F238E27FC236}">
                <a16:creationId xmlns:a16="http://schemas.microsoft.com/office/drawing/2014/main" id="{CF74821C-7231-43AF-BB29-6F17CB569212}"/>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 y="0"/>
            <a:ext cx="1009651" cy="857250"/>
          </a:xfrm>
          <a:prstGeom prst="rect">
            <a:avLst/>
          </a:prstGeom>
        </p:spPr>
      </p:pic>
      <p:pic>
        <p:nvPicPr>
          <p:cNvPr id="10" name="Picture 9">
            <a:extLst>
              <a:ext uri="{FF2B5EF4-FFF2-40B4-BE49-F238E27FC236}">
                <a16:creationId xmlns:a16="http://schemas.microsoft.com/office/drawing/2014/main" id="{BD086ABF-9178-4959-97C3-A4836A062586}"/>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1191880" y="3"/>
            <a:ext cx="1000125" cy="914400"/>
          </a:xfrm>
          <a:prstGeom prst="rect">
            <a:avLst/>
          </a:prstGeom>
        </p:spPr>
      </p:pic>
    </p:spTree>
    <p:extLst>
      <p:ext uri="{BB962C8B-B14F-4D97-AF65-F5344CB8AC3E}">
        <p14:creationId xmlns:p14="http://schemas.microsoft.com/office/powerpoint/2010/main" val="2665530616"/>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Lst>
  <p:hf hdr="0" ftr="0" dt="0"/>
  <p:txStyles>
    <p:titleStyle>
      <a:lvl1pPr algn="l" defTabSz="91401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03" indent="-228503" algn="l" defTabSz="91401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12" indent="-228503" algn="l" defTabSz="91401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16" indent="-228503" algn="l" defTabSz="91401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9523"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528"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533"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40"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547"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553"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13" rtl="0" eaLnBrk="1" latinLnBrk="0" hangingPunct="1">
        <a:defRPr sz="1800" kern="1200">
          <a:solidFill>
            <a:schemeClr val="tx1"/>
          </a:solidFill>
          <a:latin typeface="+mn-lt"/>
          <a:ea typeface="+mn-ea"/>
          <a:cs typeface="+mn-cs"/>
        </a:defRPr>
      </a:lvl1pPr>
      <a:lvl2pPr marL="457007" algn="l" defTabSz="914013" rtl="0" eaLnBrk="1" latinLnBrk="0" hangingPunct="1">
        <a:defRPr sz="1800" kern="1200">
          <a:solidFill>
            <a:schemeClr val="tx1"/>
          </a:solidFill>
          <a:latin typeface="+mn-lt"/>
          <a:ea typeface="+mn-ea"/>
          <a:cs typeface="+mn-cs"/>
        </a:defRPr>
      </a:lvl2pPr>
      <a:lvl3pPr marL="914013" algn="l" defTabSz="914013" rtl="0" eaLnBrk="1" latinLnBrk="0" hangingPunct="1">
        <a:defRPr sz="1800" kern="1200">
          <a:solidFill>
            <a:schemeClr val="tx1"/>
          </a:solidFill>
          <a:latin typeface="+mn-lt"/>
          <a:ea typeface="+mn-ea"/>
          <a:cs typeface="+mn-cs"/>
        </a:defRPr>
      </a:lvl3pPr>
      <a:lvl4pPr marL="1371019" algn="l" defTabSz="914013" rtl="0" eaLnBrk="1" latinLnBrk="0" hangingPunct="1">
        <a:defRPr sz="1800" kern="1200">
          <a:solidFill>
            <a:schemeClr val="tx1"/>
          </a:solidFill>
          <a:latin typeface="+mn-lt"/>
          <a:ea typeface="+mn-ea"/>
          <a:cs typeface="+mn-cs"/>
        </a:defRPr>
      </a:lvl4pPr>
      <a:lvl5pPr marL="1828025" algn="l" defTabSz="914013" rtl="0" eaLnBrk="1" latinLnBrk="0" hangingPunct="1">
        <a:defRPr sz="1800" kern="1200">
          <a:solidFill>
            <a:schemeClr val="tx1"/>
          </a:solidFill>
          <a:latin typeface="+mn-lt"/>
          <a:ea typeface="+mn-ea"/>
          <a:cs typeface="+mn-cs"/>
        </a:defRPr>
      </a:lvl5pPr>
      <a:lvl6pPr marL="2285031" algn="l" defTabSz="914013" rtl="0" eaLnBrk="1" latinLnBrk="0" hangingPunct="1">
        <a:defRPr sz="1800" kern="1200">
          <a:solidFill>
            <a:schemeClr val="tx1"/>
          </a:solidFill>
          <a:latin typeface="+mn-lt"/>
          <a:ea typeface="+mn-ea"/>
          <a:cs typeface="+mn-cs"/>
        </a:defRPr>
      </a:lvl6pPr>
      <a:lvl7pPr marL="2742037" algn="l" defTabSz="914013" rtl="0" eaLnBrk="1" latinLnBrk="0" hangingPunct="1">
        <a:defRPr sz="1800" kern="1200">
          <a:solidFill>
            <a:schemeClr val="tx1"/>
          </a:solidFill>
          <a:latin typeface="+mn-lt"/>
          <a:ea typeface="+mn-ea"/>
          <a:cs typeface="+mn-cs"/>
        </a:defRPr>
      </a:lvl7pPr>
      <a:lvl8pPr marL="3199044" algn="l" defTabSz="914013" rtl="0" eaLnBrk="1" latinLnBrk="0" hangingPunct="1">
        <a:defRPr sz="1800" kern="1200">
          <a:solidFill>
            <a:schemeClr val="tx1"/>
          </a:solidFill>
          <a:latin typeface="+mn-lt"/>
          <a:ea typeface="+mn-ea"/>
          <a:cs typeface="+mn-cs"/>
        </a:defRPr>
      </a:lvl8pPr>
      <a:lvl9pPr marL="3656050" algn="l" defTabSz="91401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extLst>
              <p:ext uri="{D42A27DB-BD31-4B8C-83A1-F6EECF244321}">
                <p14:modId xmlns:p14="http://schemas.microsoft.com/office/powerpoint/2010/main" val="1042834630"/>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74834"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119" y="1592"/>
                        <a:ext cx="2116" cy="1587"/>
                      </a:xfrm>
                      <a:prstGeom prst="rect">
                        <a:avLst/>
                      </a:prstGeom>
                    </p:spPr>
                  </p:pic>
                </p:oleObj>
              </mc:Fallback>
            </mc:AlternateContent>
          </a:graphicData>
        </a:graphic>
      </p:graphicFrame>
      <p:sp>
        <p:nvSpPr>
          <p:cNvPr id="16387" name="Rectangle 3"/>
          <p:cNvSpPr>
            <a:spLocks noGrp="1" noChangeArrowheads="1"/>
          </p:cNvSpPr>
          <p:nvPr>
            <p:ph type="body" idx="1"/>
          </p:nvPr>
        </p:nvSpPr>
        <p:spPr bwMode="auto">
          <a:xfrm>
            <a:off x="609600" y="1181104"/>
            <a:ext cx="10972800" cy="4945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5220" name="Rectangle 4"/>
          <p:cNvSpPr>
            <a:spLocks noGrp="1" noChangeArrowheads="1"/>
          </p:cNvSpPr>
          <p:nvPr>
            <p:ph type="dt" sz="half" idx="2"/>
          </p:nvPr>
        </p:nvSpPr>
        <p:spPr bwMode="auto">
          <a:xfrm>
            <a:off x="0" y="6618129"/>
            <a:ext cx="16256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000" b="0" i="1">
                <a:solidFill>
                  <a:srgbClr val="000000"/>
                </a:solidFill>
                <a:latin typeface="+mj-lt"/>
              </a:defRPr>
            </a:lvl1pPr>
          </a:lstStyle>
          <a:p>
            <a:pPr defTabSz="914400"/>
            <a:fld id="{B5F4ECAC-03E4-484C-B6D9-5B918FB01785}" type="datetimeFigureOut">
              <a:rPr lang="en-US" smtClean="0"/>
              <a:pPr defTabSz="914400"/>
              <a:t>4/30/2019</a:t>
            </a:fld>
            <a:endParaRPr lang="en-US"/>
          </a:p>
        </p:txBody>
      </p:sp>
      <p:sp>
        <p:nvSpPr>
          <p:cNvPr id="265221" name="Rectangle 5"/>
          <p:cNvSpPr>
            <a:spLocks noGrp="1" noChangeArrowheads="1"/>
          </p:cNvSpPr>
          <p:nvPr>
            <p:ph type="ftr" sz="quarter" idx="3"/>
          </p:nvPr>
        </p:nvSpPr>
        <p:spPr bwMode="auto">
          <a:xfrm>
            <a:off x="1727200" y="6618130"/>
            <a:ext cx="79248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b="0" i="1">
                <a:solidFill>
                  <a:srgbClr val="000000"/>
                </a:solidFill>
                <a:latin typeface="+mj-lt"/>
              </a:defRPr>
            </a:lvl1pPr>
          </a:lstStyle>
          <a:p>
            <a:pPr defTabSz="914400"/>
            <a:endParaRPr lang="en-US"/>
          </a:p>
        </p:txBody>
      </p:sp>
      <p:sp>
        <p:nvSpPr>
          <p:cNvPr id="265222"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defTabSz="914400"/>
            <a:fld id="{D08BA9CE-8EFE-BE48-98DC-77CBE9860290}" type="slidenum">
              <a:rPr lang="en-US" smtClean="0"/>
              <a:pPr defTabSz="914400"/>
              <a:t>‹#›</a:t>
            </a:fld>
            <a:endParaRPr lang="en-US"/>
          </a:p>
        </p:txBody>
      </p:sp>
      <p:sp>
        <p:nvSpPr>
          <p:cNvPr id="16391" name="Rectangle 7"/>
          <p:cNvSpPr>
            <a:spLocks noGrp="1" noChangeArrowheads="1"/>
          </p:cNvSpPr>
          <p:nvPr>
            <p:ph type="title"/>
          </p:nvPr>
        </p:nvSpPr>
        <p:spPr bwMode="gray">
          <a:xfrm>
            <a:off x="0" y="0"/>
            <a:ext cx="12192000" cy="903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2" name="Rectangle 1"/>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4" name="Straight Connector 13"/>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2" name="Picture 11"/>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3" name="Object 12" hidden="1"/>
          <p:cNvGraphicFramePr>
            <a:graphicFrameLocks noChangeAspect="1"/>
          </p:cNvGraphicFramePr>
          <p:nvPr>
            <p:custDataLst>
              <p:tags r:id="rId13"/>
            </p:custDataLst>
            <p:extLst>
              <p:ext uri="{D42A27DB-BD31-4B8C-83A1-F6EECF244321}">
                <p14:modId xmlns:p14="http://schemas.microsoft.com/office/powerpoint/2010/main" val="1580585743"/>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74835"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5"/>
                      <a:stretch>
                        <a:fillRect/>
                      </a:stretch>
                    </p:blipFill>
                    <p:spPr>
                      <a:xfrm>
                        <a:off x="2119" y="1592"/>
                        <a:ext cx="2116" cy="1587"/>
                      </a:xfrm>
                      <a:prstGeom prst="rect">
                        <a:avLst/>
                      </a:prstGeom>
                    </p:spPr>
                  </p:pic>
                </p:oleObj>
              </mc:Fallback>
            </mc:AlternateContent>
          </a:graphicData>
        </a:graphic>
      </p:graphicFrame>
      <p:sp>
        <p:nvSpPr>
          <p:cNvPr id="16" name="Rectangle 15"/>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7" name="Isosceles Triangle 16"/>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8" name="Straight Connector 17"/>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9" name="Picture 18"/>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8498719"/>
      </p:ext>
    </p:extLst>
  </p:cSld>
  <p:clrMap bg1="lt1" tx1="dk1" bg2="lt2" tx2="dk2" accent1="accent1" accent2="accent2" accent3="accent3" accent4="accent4" accent5="accent5" accent6="accent6" hlink="hlink" folHlink="folHlink"/>
  <p:sldLayoutIdLst>
    <p:sldLayoutId id="2147484891" r:id="rId1"/>
    <p:sldLayoutId id="2147484892" r:id="rId2"/>
    <p:sldLayoutId id="2147484893" r:id="rId3"/>
    <p:sldLayoutId id="2147484894" r:id="rId4"/>
    <p:sldLayoutId id="2147484895" r:id="rId5"/>
    <p:sldLayoutId id="2147484896" r:id="rId6"/>
    <p:sldLayoutId id="2147484898" r:id="rId7"/>
    <p:sldLayoutId id="2147484899" r:id="rId8"/>
    <p:sldLayoutId id="2147484900" r:id="rId9"/>
  </p:sldLayoutIdLst>
  <p:txStyles>
    <p:titleStyle>
      <a:lvl1pPr marL="119063" indent="0"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800">
          <a:solidFill>
            <a:schemeClr val="tx1"/>
          </a:solidFill>
          <a:latin typeface="+mn-lt"/>
          <a:ea typeface="+mn-ea"/>
          <a:cs typeface="+mn-cs"/>
        </a:defRPr>
      </a:lvl2pPr>
      <a:lvl3pPr marL="1143000" indent="-228600" algn="l" rtl="0" eaLnBrk="1" fontAlgn="base" hangingPunct="1">
        <a:spcBef>
          <a:spcPct val="20000"/>
        </a:spcBef>
        <a:spcAft>
          <a:spcPct val="0"/>
        </a:spcAft>
        <a:buChar char="•"/>
        <a:defRPr sz="16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FB082-FBF6-4A25-AF0F-2CC496B55C54}"/>
              </a:ext>
            </a:extLst>
          </p:cNvPr>
          <p:cNvGraphicFramePr>
            <a:graphicFrameLocks noChangeAspect="1"/>
          </p:cNvGraphicFramePr>
          <p:nvPr userDrawn="1">
            <p:custDataLst>
              <p:tags r:id="rId14"/>
            </p:custDataLst>
            <p:extLst>
              <p:ext uri="{D42A27DB-BD31-4B8C-83A1-F6EECF244321}">
                <p14:modId xmlns:p14="http://schemas.microsoft.com/office/powerpoint/2010/main" val="208170580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67687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9" y="1592"/>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ED839C-2D26-4958-A7A0-3FB9CD027AC0}"/>
              </a:ext>
            </a:extLst>
          </p:cNvPr>
          <p:cNvSpPr/>
          <p:nvPr userDrawn="1">
            <p:custDataLst>
              <p:tags r:id="rId15"/>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a:lnSpc>
                <a:spcPct val="90000"/>
              </a:lnSpc>
              <a:spcBef>
                <a:spcPct val="0"/>
              </a:spcBef>
              <a:spcAft>
                <a:spcPct val="0"/>
              </a:spcAft>
            </a:pPr>
            <a:endParaRPr lang="en-US" sz="4400" dirty="0">
              <a:solidFill>
                <a:prstClr val="white"/>
              </a:solidFill>
              <a:latin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C764DE79-268F-4C1A-8933-263129D2AF90}" type="datetimeFigureOut">
              <a:rPr lang="en-US" smtClean="0">
                <a:solidFill>
                  <a:prstClr val="black">
                    <a:tint val="75000"/>
                  </a:prstClr>
                </a:solidFill>
              </a:rPr>
              <a:pPr defTabSz="914400"/>
              <a:t>4/30/20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48F63A3B-78C7-47BE-AE5E-E10140E04643}" type="slidenum">
              <a:rPr lang="en-US" smtClean="0">
                <a:solidFill>
                  <a:prstClr val="black">
                    <a:tint val="75000"/>
                  </a:prstClr>
                </a:solidFill>
              </a:rPr>
              <a:pPr defTabSz="914400"/>
              <a:t>‹#›</a:t>
            </a:fld>
            <a:endParaRPr lang="en-US" dirty="0">
              <a:solidFill>
                <a:prstClr val="black">
                  <a:tint val="75000"/>
                </a:prstClr>
              </a:solidFill>
            </a:endParaRPr>
          </a:p>
        </p:txBody>
      </p:sp>
      <p:sp>
        <p:nvSpPr>
          <p:cNvPr id="8" name="TextBox 7">
            <a:extLst>
              <a:ext uri="{FF2B5EF4-FFF2-40B4-BE49-F238E27FC236}">
                <a16:creationId xmlns:a16="http://schemas.microsoft.com/office/drawing/2014/main" id="{0FF1DBC5-5F37-4F5F-9ACA-DA091C424BE7}"/>
              </a:ext>
            </a:extLst>
          </p:cNvPr>
          <p:cNvSpPr txBox="1"/>
          <p:nvPr userDrawn="1"/>
        </p:nvSpPr>
        <p:spPr>
          <a:xfrm>
            <a:off x="0" y="6447369"/>
            <a:ext cx="12192000" cy="40011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rtlCol="0">
            <a:spAutoFit/>
          </a:bodyPr>
          <a:lstStyle/>
          <a:p>
            <a:pPr algn="ctr" defTabSz="914400"/>
            <a:r>
              <a:rPr lang="en-US" sz="2000" dirty="0">
                <a:solidFill>
                  <a:prstClr val="white"/>
                </a:solidFill>
              </a:rPr>
              <a:t>NPHCDA – National Primary Health Care Development Agency</a:t>
            </a:r>
          </a:p>
        </p:txBody>
      </p:sp>
      <p:pic>
        <p:nvPicPr>
          <p:cNvPr id="9" name="Picture 8">
            <a:extLst>
              <a:ext uri="{FF2B5EF4-FFF2-40B4-BE49-F238E27FC236}">
                <a16:creationId xmlns:a16="http://schemas.microsoft.com/office/drawing/2014/main" id="{E633FD98-DD5F-445C-8B80-288591839D59}"/>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 y="0"/>
            <a:ext cx="1009651" cy="857250"/>
          </a:xfrm>
          <a:prstGeom prst="rect">
            <a:avLst/>
          </a:prstGeom>
        </p:spPr>
      </p:pic>
      <p:pic>
        <p:nvPicPr>
          <p:cNvPr id="10" name="Picture 9">
            <a:extLst>
              <a:ext uri="{FF2B5EF4-FFF2-40B4-BE49-F238E27FC236}">
                <a16:creationId xmlns:a16="http://schemas.microsoft.com/office/drawing/2014/main" id="{D9D8FF22-52BD-4BB6-9A1F-FCC91A7991DD}"/>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1191876" y="0"/>
            <a:ext cx="1000125" cy="914400"/>
          </a:xfrm>
          <a:prstGeom prst="rect">
            <a:avLst/>
          </a:prstGeom>
        </p:spPr>
      </p:pic>
    </p:spTree>
    <p:extLst>
      <p:ext uri="{BB962C8B-B14F-4D97-AF65-F5344CB8AC3E}">
        <p14:creationId xmlns:p14="http://schemas.microsoft.com/office/powerpoint/2010/main" val="4135923445"/>
      </p:ext>
    </p:extLst>
  </p:cSld>
  <p:clrMap bg1="lt1" tx1="dk1" bg2="lt2" tx2="dk2" accent1="accent1" accent2="accent2" accent3="accent3" accent4="accent4" accent5="accent5" accent6="accent6" hlink="hlink" folHlink="folHlink"/>
  <p:sldLayoutIdLst>
    <p:sldLayoutId id="2147484902" r:id="rId1"/>
    <p:sldLayoutId id="2147484903" r:id="rId2"/>
    <p:sldLayoutId id="2147484904" r:id="rId3"/>
    <p:sldLayoutId id="2147484905" r:id="rId4"/>
    <p:sldLayoutId id="2147484906" r:id="rId5"/>
    <p:sldLayoutId id="2147484907" r:id="rId6"/>
    <p:sldLayoutId id="2147484908" r:id="rId7"/>
    <p:sldLayoutId id="2147484909" r:id="rId8"/>
    <p:sldLayoutId id="2147484910" r:id="rId9"/>
    <p:sldLayoutId id="2147484911" r:id="rId10"/>
    <p:sldLayoutId id="214748491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7994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1" y="1595"/>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1123411" y="365132"/>
            <a:ext cx="9274627" cy="1325563"/>
          </a:xfrm>
          <a:prstGeom prst="rect">
            <a:avLst/>
          </a:prstGeom>
        </p:spPr>
        <p:txBody>
          <a:bodyPr vert="horz" lIns="91384" tIns="45698" rIns="91384" bIns="45698"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7"/>
            <a:ext cx="10515600" cy="4351339"/>
          </a:xfrm>
          <a:prstGeom prst="rect">
            <a:avLst/>
          </a:prstGeom>
        </p:spPr>
        <p:txBody>
          <a:bodyPr vert="horz" lIns="91384" tIns="45698" rIns="91384" bIns="45698"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0" y="6447697"/>
            <a:ext cx="12192000" cy="384676"/>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384" tIns="45698" rIns="91384" bIns="45698" rtlCol="0">
            <a:spAutoFit/>
          </a:bodyPr>
          <a:lstStyle/>
          <a:p>
            <a:pPr algn="ctr"/>
            <a:r>
              <a:rPr lang="en-US" dirty="0">
                <a:solidFill>
                  <a:prstClr val="white"/>
                </a:solidFill>
              </a:rPr>
              <a:t>NPHCDA – National Primary Health Care Development Agency</a:t>
            </a:r>
          </a:p>
        </p:txBody>
      </p:sp>
      <p:pic>
        <p:nvPicPr>
          <p:cNvPr id="8" name="Picture 7"/>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 y="5"/>
            <a:ext cx="1009651" cy="857251"/>
          </a:xfrm>
          <a:prstGeom prst="rect">
            <a:avLst/>
          </a:prstGeom>
        </p:spPr>
      </p:pic>
      <p:pic>
        <p:nvPicPr>
          <p:cNvPr id="9" name="Picture 8"/>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1191876" y="3"/>
            <a:ext cx="1000125" cy="914400"/>
          </a:xfrm>
          <a:prstGeom prst="rect">
            <a:avLst/>
          </a:prstGeom>
        </p:spPr>
      </p:pic>
    </p:spTree>
    <p:extLst>
      <p:ext uri="{BB962C8B-B14F-4D97-AF65-F5344CB8AC3E}">
        <p14:creationId xmlns:p14="http://schemas.microsoft.com/office/powerpoint/2010/main" val="1238365276"/>
      </p:ext>
    </p:extLst>
  </p:cSld>
  <p:clrMap bg1="lt1" tx1="dk1" bg2="lt2" tx2="dk2" accent1="accent1" accent2="accent2" accent3="accent3" accent4="accent4" accent5="accent5" accent6="accent6" hlink="hlink" folHlink="folHlink"/>
  <p:sldLayoutIdLst>
    <p:sldLayoutId id="2147484914" r:id="rId1"/>
    <p:sldLayoutId id="2147484915" r:id="rId2"/>
    <p:sldLayoutId id="2147484916" r:id="rId3"/>
    <p:sldLayoutId id="2147484917" r:id="rId4"/>
    <p:sldLayoutId id="2147484918" r:id="rId5"/>
    <p:sldLayoutId id="2147484919" r:id="rId6"/>
    <p:sldLayoutId id="2147484920" r:id="rId7"/>
    <p:sldLayoutId id="2147484921" r:id="rId8"/>
    <p:sldLayoutId id="2147484922" r:id="rId9"/>
    <p:sldLayoutId id="2147484923" r:id="rId10"/>
    <p:sldLayoutId id="2147484924" r:id="rId11"/>
  </p:sldLayoutIdLst>
  <p:hf hdr="0" ftr="0" dt="0"/>
  <p:txStyles>
    <p:titleStyle>
      <a:lvl1pPr algn="l" defTabSz="91378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449" indent="-228449" algn="l" defTabSz="9137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348" indent="-228449" algn="l" defTabSz="9137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233"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9122"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6012"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2907"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9803"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6693"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3591"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786" rtl="0" eaLnBrk="1" latinLnBrk="0" hangingPunct="1">
        <a:defRPr sz="1900" kern="1200">
          <a:solidFill>
            <a:schemeClr val="tx1"/>
          </a:solidFill>
          <a:latin typeface="+mn-lt"/>
          <a:ea typeface="+mn-ea"/>
          <a:cs typeface="+mn-cs"/>
        </a:defRPr>
      </a:lvl1pPr>
      <a:lvl2pPr marL="456890" algn="l" defTabSz="913786" rtl="0" eaLnBrk="1" latinLnBrk="0" hangingPunct="1">
        <a:defRPr sz="1900" kern="1200">
          <a:solidFill>
            <a:schemeClr val="tx1"/>
          </a:solidFill>
          <a:latin typeface="+mn-lt"/>
          <a:ea typeface="+mn-ea"/>
          <a:cs typeface="+mn-cs"/>
        </a:defRPr>
      </a:lvl2pPr>
      <a:lvl3pPr marL="913786" algn="l" defTabSz="913786" rtl="0" eaLnBrk="1" latinLnBrk="0" hangingPunct="1">
        <a:defRPr sz="1900" kern="1200">
          <a:solidFill>
            <a:schemeClr val="tx1"/>
          </a:solidFill>
          <a:latin typeface="+mn-lt"/>
          <a:ea typeface="+mn-ea"/>
          <a:cs typeface="+mn-cs"/>
        </a:defRPr>
      </a:lvl3pPr>
      <a:lvl4pPr marL="1370680" algn="l" defTabSz="913786" rtl="0" eaLnBrk="1" latinLnBrk="0" hangingPunct="1">
        <a:defRPr sz="1900" kern="1200">
          <a:solidFill>
            <a:schemeClr val="tx1"/>
          </a:solidFill>
          <a:latin typeface="+mn-lt"/>
          <a:ea typeface="+mn-ea"/>
          <a:cs typeface="+mn-cs"/>
        </a:defRPr>
      </a:lvl4pPr>
      <a:lvl5pPr marL="1827570" algn="l" defTabSz="913786" rtl="0" eaLnBrk="1" latinLnBrk="0" hangingPunct="1">
        <a:defRPr sz="1900" kern="1200">
          <a:solidFill>
            <a:schemeClr val="tx1"/>
          </a:solidFill>
          <a:latin typeface="+mn-lt"/>
          <a:ea typeface="+mn-ea"/>
          <a:cs typeface="+mn-cs"/>
        </a:defRPr>
      </a:lvl5pPr>
      <a:lvl6pPr marL="2284471" algn="l" defTabSz="913786" rtl="0" eaLnBrk="1" latinLnBrk="0" hangingPunct="1">
        <a:defRPr sz="1900" kern="1200">
          <a:solidFill>
            <a:schemeClr val="tx1"/>
          </a:solidFill>
          <a:latin typeface="+mn-lt"/>
          <a:ea typeface="+mn-ea"/>
          <a:cs typeface="+mn-cs"/>
        </a:defRPr>
      </a:lvl6pPr>
      <a:lvl7pPr marL="2741356" algn="l" defTabSz="913786" rtl="0" eaLnBrk="1" latinLnBrk="0" hangingPunct="1">
        <a:defRPr sz="1900" kern="1200">
          <a:solidFill>
            <a:schemeClr val="tx1"/>
          </a:solidFill>
          <a:latin typeface="+mn-lt"/>
          <a:ea typeface="+mn-ea"/>
          <a:cs typeface="+mn-cs"/>
        </a:defRPr>
      </a:lvl7pPr>
      <a:lvl8pPr marL="3198245" algn="l" defTabSz="913786" rtl="0" eaLnBrk="1" latinLnBrk="0" hangingPunct="1">
        <a:defRPr sz="1900" kern="1200">
          <a:solidFill>
            <a:schemeClr val="tx1"/>
          </a:solidFill>
          <a:latin typeface="+mn-lt"/>
          <a:ea typeface="+mn-ea"/>
          <a:cs typeface="+mn-cs"/>
        </a:defRPr>
      </a:lvl8pPr>
      <a:lvl9pPr marL="3655133" algn="l" defTabSz="913786" rtl="0" eaLnBrk="1" latinLnBrk="0" hangingPunct="1">
        <a:defRPr sz="19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extLst>
              <p:ext uri="{D42A27DB-BD31-4B8C-83A1-F6EECF244321}">
                <p14:modId xmlns:p14="http://schemas.microsoft.com/office/powerpoint/2010/main" val="70687599"/>
              </p:ex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8301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1" y="1595"/>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1123411" y="365132"/>
            <a:ext cx="9274627" cy="1325563"/>
          </a:xfrm>
          <a:prstGeom prst="rect">
            <a:avLst/>
          </a:prstGeom>
        </p:spPr>
        <p:txBody>
          <a:bodyPr vert="horz" lIns="91401" tIns="45702" rIns="91401" bIns="45702"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01" tIns="45702" rIns="91401" bIns="45702"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p:nvSpPr>
        <p:spPr>
          <a:xfrm>
            <a:off x="0" y="6447367"/>
            <a:ext cx="12192000" cy="384684"/>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401" tIns="45702" rIns="91401" bIns="45702" rtlCol="0">
            <a:spAutoFit/>
          </a:bodyPr>
          <a:lstStyle/>
          <a:p>
            <a:pPr algn="ctr" defTabSz="914013">
              <a:defRPr/>
            </a:pPr>
            <a:r>
              <a:rPr lang="en-US" dirty="0">
                <a:solidFill>
                  <a:prstClr val="white"/>
                </a:solidFill>
              </a:rPr>
              <a:t>NPHCDA – National Primary Health Care Development Agency</a:t>
            </a:r>
          </a:p>
        </p:txBody>
      </p:sp>
      <p:pic>
        <p:nvPicPr>
          <p:cNvPr id="8" name="Picture 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 y="0"/>
            <a:ext cx="1009651" cy="857250"/>
          </a:xfrm>
          <a:prstGeom prst="rect">
            <a:avLst/>
          </a:prstGeom>
        </p:spPr>
      </p:pic>
      <p:pic>
        <p:nvPicPr>
          <p:cNvPr id="9" name="Picture 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1191876" y="3"/>
            <a:ext cx="1000125" cy="914400"/>
          </a:xfrm>
          <a:prstGeom prst="rect">
            <a:avLst/>
          </a:prstGeom>
        </p:spPr>
      </p:pic>
    </p:spTree>
    <p:extLst>
      <p:ext uri="{BB962C8B-B14F-4D97-AF65-F5344CB8AC3E}">
        <p14:creationId xmlns:p14="http://schemas.microsoft.com/office/powerpoint/2010/main" val="891476314"/>
      </p:ext>
    </p:extLst>
  </p:cSld>
  <p:clrMap bg1="lt1" tx1="dk1" bg2="lt2" tx2="dk2" accent1="accent1" accent2="accent2" accent3="accent3" accent4="accent4" accent5="accent5" accent6="accent6" hlink="hlink" folHlink="folHlink"/>
  <p:sldLayoutIdLst>
    <p:sldLayoutId id="2147484926" r:id="rId1"/>
    <p:sldLayoutId id="2147484927" r:id="rId2"/>
    <p:sldLayoutId id="2147484928" r:id="rId3"/>
    <p:sldLayoutId id="2147484929" r:id="rId4"/>
    <p:sldLayoutId id="2147484930" r:id="rId5"/>
    <p:sldLayoutId id="2147484931" r:id="rId6"/>
    <p:sldLayoutId id="2147484932" r:id="rId7"/>
    <p:sldLayoutId id="2147484933" r:id="rId8"/>
    <p:sldLayoutId id="2147484934" r:id="rId9"/>
    <p:sldLayoutId id="2147484935" r:id="rId10"/>
    <p:sldLayoutId id="2147484936" r:id="rId11"/>
    <p:sldLayoutId id="2147484937" r:id="rId12"/>
  </p:sldLayoutIdLst>
  <p:hf hdr="0" ftr="0" dt="0"/>
  <p:txStyles>
    <p:titleStyle>
      <a:lvl1pPr algn="l" defTabSz="91399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497" indent="-228497" algn="l" defTabSz="91399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495" indent="-228497" algn="l" defTabSz="91399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487" indent="-228497" algn="l" defTabSz="91399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9482" indent="-228497"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477" indent="-228497"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471" indent="-228497"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466" indent="-228497"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462" indent="-228497"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456" indent="-228497" algn="l" defTabSz="91399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990" rtl="0" eaLnBrk="1" latinLnBrk="0" hangingPunct="1">
        <a:defRPr sz="1800" kern="1200">
          <a:solidFill>
            <a:schemeClr val="tx1"/>
          </a:solidFill>
          <a:latin typeface="+mn-lt"/>
          <a:ea typeface="+mn-ea"/>
          <a:cs typeface="+mn-cs"/>
        </a:defRPr>
      </a:lvl1pPr>
      <a:lvl2pPr marL="456994" algn="l" defTabSz="913990" rtl="0" eaLnBrk="1" latinLnBrk="0" hangingPunct="1">
        <a:defRPr sz="1800" kern="1200">
          <a:solidFill>
            <a:schemeClr val="tx1"/>
          </a:solidFill>
          <a:latin typeface="+mn-lt"/>
          <a:ea typeface="+mn-ea"/>
          <a:cs typeface="+mn-cs"/>
        </a:defRPr>
      </a:lvl2pPr>
      <a:lvl3pPr marL="913990" algn="l" defTabSz="913990" rtl="0" eaLnBrk="1" latinLnBrk="0" hangingPunct="1">
        <a:defRPr sz="1800" kern="1200">
          <a:solidFill>
            <a:schemeClr val="tx1"/>
          </a:solidFill>
          <a:latin typeface="+mn-lt"/>
          <a:ea typeface="+mn-ea"/>
          <a:cs typeface="+mn-cs"/>
        </a:defRPr>
      </a:lvl3pPr>
      <a:lvl4pPr marL="1370985" algn="l" defTabSz="913990" rtl="0" eaLnBrk="1" latinLnBrk="0" hangingPunct="1">
        <a:defRPr sz="1800" kern="1200">
          <a:solidFill>
            <a:schemeClr val="tx1"/>
          </a:solidFill>
          <a:latin typeface="+mn-lt"/>
          <a:ea typeface="+mn-ea"/>
          <a:cs typeface="+mn-cs"/>
        </a:defRPr>
      </a:lvl4pPr>
      <a:lvl5pPr marL="1827979" algn="l" defTabSz="913990" rtl="0" eaLnBrk="1" latinLnBrk="0" hangingPunct="1">
        <a:defRPr sz="1800" kern="1200">
          <a:solidFill>
            <a:schemeClr val="tx1"/>
          </a:solidFill>
          <a:latin typeface="+mn-lt"/>
          <a:ea typeface="+mn-ea"/>
          <a:cs typeface="+mn-cs"/>
        </a:defRPr>
      </a:lvl5pPr>
      <a:lvl6pPr marL="2284974" algn="l" defTabSz="913990" rtl="0" eaLnBrk="1" latinLnBrk="0" hangingPunct="1">
        <a:defRPr sz="1800" kern="1200">
          <a:solidFill>
            <a:schemeClr val="tx1"/>
          </a:solidFill>
          <a:latin typeface="+mn-lt"/>
          <a:ea typeface="+mn-ea"/>
          <a:cs typeface="+mn-cs"/>
        </a:defRPr>
      </a:lvl6pPr>
      <a:lvl7pPr marL="2741968" algn="l" defTabSz="913990" rtl="0" eaLnBrk="1" latinLnBrk="0" hangingPunct="1">
        <a:defRPr sz="1800" kern="1200">
          <a:solidFill>
            <a:schemeClr val="tx1"/>
          </a:solidFill>
          <a:latin typeface="+mn-lt"/>
          <a:ea typeface="+mn-ea"/>
          <a:cs typeface="+mn-cs"/>
        </a:defRPr>
      </a:lvl7pPr>
      <a:lvl8pPr marL="3198964" algn="l" defTabSz="913990" rtl="0" eaLnBrk="1" latinLnBrk="0" hangingPunct="1">
        <a:defRPr sz="1800" kern="1200">
          <a:solidFill>
            <a:schemeClr val="tx1"/>
          </a:solidFill>
          <a:latin typeface="+mn-lt"/>
          <a:ea typeface="+mn-ea"/>
          <a:cs typeface="+mn-cs"/>
        </a:defRPr>
      </a:lvl8pPr>
      <a:lvl9pPr marL="3655959" algn="l" defTabSz="91399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9"/>
            </p:custDataLst>
            <p:extLst/>
          </p:nvPr>
        </p:nvGraphicFramePr>
        <p:xfrm>
          <a:off x="2127" y="1599"/>
          <a:ext cx="2116" cy="1587"/>
        </p:xfrm>
        <a:graphic>
          <a:graphicData uri="http://schemas.openxmlformats.org/presentationml/2006/ole">
            <mc:AlternateContent xmlns:mc="http://schemas.openxmlformats.org/markup-compatibility/2006">
              <mc:Choice xmlns:v="urn:schemas-microsoft-com:vml" Requires="v">
                <p:oleObj spid="_x0000_s692231"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27" y="159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76" name="McK 1. On-page tracker" hidden="1"/>
          <p:cNvSpPr>
            <a:spLocks noChangeArrowheads="1"/>
          </p:cNvSpPr>
          <p:nvPr/>
        </p:nvSpPr>
        <p:spPr bwMode="auto">
          <a:xfrm>
            <a:off x="162987" y="26996"/>
            <a:ext cx="859210" cy="215444"/>
          </a:xfrm>
          <a:prstGeom prst="rect">
            <a:avLst/>
          </a:prstGeom>
          <a:noFill/>
          <a:ln w="9525">
            <a:noFill/>
            <a:miter lim="800000"/>
            <a:headEnd/>
            <a:tailEnd/>
          </a:ln>
          <a:effectLst/>
        </p:spPr>
        <p:txBody>
          <a:bodyPr wrap="none" lIns="0" tIns="0" rIns="0" bIns="0">
            <a:spAutoFit/>
          </a:bodyPr>
          <a:lstStyle/>
          <a:p>
            <a:pPr defTabSz="914400" fontAlgn="base">
              <a:spcBef>
                <a:spcPct val="0"/>
              </a:spcBef>
              <a:spcAft>
                <a:spcPct val="0"/>
              </a:spcAft>
              <a:defRPr/>
            </a:pPr>
            <a:r>
              <a:rPr lang="en-US" sz="1400">
                <a:solidFill>
                  <a:srgbClr val="808080"/>
                </a:solidFill>
                <a:cs typeface="Arial" charset="0"/>
              </a:rPr>
              <a:t>TRACKER</a:t>
            </a:r>
          </a:p>
        </p:txBody>
      </p:sp>
      <p:sp>
        <p:nvSpPr>
          <p:cNvPr id="1032" name="McK 3. Unit of measure" hidden="1"/>
          <p:cNvSpPr txBox="1">
            <a:spLocks noChangeArrowheads="1"/>
          </p:cNvSpPr>
          <p:nvPr/>
        </p:nvSpPr>
        <p:spPr bwMode="auto">
          <a:xfrm>
            <a:off x="163003" y="543114"/>
            <a:ext cx="4972049" cy="219075"/>
          </a:xfrm>
          <a:prstGeom prst="rect">
            <a:avLst/>
          </a:prstGeom>
          <a:noFill/>
          <a:ln w="9525">
            <a:noFill/>
            <a:miter lim="800000"/>
            <a:headEnd/>
            <a:tailEnd/>
          </a:ln>
          <a:effectLst/>
        </p:spPr>
        <p:txBody>
          <a:bodyPr lIns="0" tIns="0" rIns="0" bIns="0">
            <a:spAutoFit/>
          </a:bodyPr>
          <a:lstStyle/>
          <a:p>
            <a:pPr defTabSz="912233" fontAlgn="base">
              <a:spcBef>
                <a:spcPct val="0"/>
              </a:spcBef>
              <a:spcAft>
                <a:spcPct val="0"/>
              </a:spcAft>
              <a:defRPr/>
            </a:pPr>
            <a:r>
              <a:rPr lang="en-US" sz="1400">
                <a:solidFill>
                  <a:srgbClr val="808080"/>
                </a:solidFill>
                <a:cs typeface="Arial" charset="0"/>
              </a:rPr>
              <a:t>Unit of measure</a:t>
            </a:r>
          </a:p>
        </p:txBody>
      </p:sp>
      <p:grpSp>
        <p:nvGrpSpPr>
          <p:cNvPr id="2" name="McK Slide Elements"/>
          <p:cNvGrpSpPr>
            <a:grpSpLocks/>
          </p:cNvGrpSpPr>
          <p:nvPr/>
        </p:nvGrpSpPr>
        <p:grpSpPr bwMode="auto">
          <a:xfrm>
            <a:off x="163000" y="6203952"/>
            <a:ext cx="11628967" cy="520760"/>
            <a:chOff x="75" y="3830"/>
            <a:chExt cx="5385" cy="322"/>
          </a:xfrm>
        </p:grpSpPr>
        <p:sp>
          <p:nvSpPr>
            <p:cNvPr id="1151" name="McK 4. Footnote" hidden="1"/>
            <p:cNvSpPr txBox="1">
              <a:spLocks noChangeArrowheads="1"/>
            </p:cNvSpPr>
            <p:nvPr userDrawn="1"/>
          </p:nvSpPr>
          <p:spPr bwMode="auto">
            <a:xfrm>
              <a:off x="75" y="3830"/>
              <a:ext cx="5385" cy="98"/>
            </a:xfrm>
            <a:prstGeom prst="rect">
              <a:avLst/>
            </a:prstGeom>
            <a:noFill/>
            <a:ln w="9525">
              <a:noFill/>
              <a:miter lim="800000"/>
              <a:headEnd/>
              <a:tailEnd/>
            </a:ln>
            <a:effectLst/>
          </p:spPr>
          <p:txBody>
            <a:bodyPr lIns="0" tIns="0" rIns="0" bIns="0" anchor="b">
              <a:spAutoFit/>
            </a:bodyPr>
            <a:lstStyle/>
            <a:p>
              <a:pPr marL="106750" indent="-106750" defTabSz="912233" fontAlgn="base">
                <a:spcBef>
                  <a:spcPct val="0"/>
                </a:spcBef>
                <a:spcAft>
                  <a:spcPct val="0"/>
                </a:spcAft>
                <a:defRPr/>
              </a:pPr>
              <a:r>
                <a:rPr lang="en-US" sz="1000">
                  <a:solidFill>
                    <a:srgbClr val="000000"/>
                  </a:solidFill>
                  <a:cs typeface="Arial" charset="0"/>
                </a:rPr>
                <a:t>1 Footnote</a:t>
              </a:r>
            </a:p>
          </p:txBody>
        </p:sp>
        <p:sp>
          <p:nvSpPr>
            <p:cNvPr id="1154" name="McK 5. Source" hidden="1"/>
            <p:cNvSpPr>
              <a:spLocks noChangeArrowheads="1"/>
            </p:cNvSpPr>
            <p:nvPr userDrawn="1"/>
          </p:nvSpPr>
          <p:spPr bwMode="auto">
            <a:xfrm>
              <a:off x="75" y="4054"/>
              <a:ext cx="4323" cy="98"/>
            </a:xfrm>
            <a:prstGeom prst="rect">
              <a:avLst/>
            </a:prstGeom>
            <a:noFill/>
            <a:ln w="9525">
              <a:noFill/>
              <a:miter lim="800000"/>
              <a:headEnd/>
              <a:tailEnd/>
            </a:ln>
            <a:effectLst/>
          </p:spPr>
          <p:txBody>
            <a:bodyPr lIns="0" tIns="0" rIns="0" bIns="0" anchor="ctr">
              <a:spAutoFit/>
            </a:bodyPr>
            <a:lstStyle/>
            <a:p>
              <a:pPr marL="621096" indent="-621096" defTabSz="912233" fontAlgn="base">
                <a:spcBef>
                  <a:spcPct val="0"/>
                </a:spcBef>
                <a:spcAft>
                  <a:spcPct val="0"/>
                </a:spcAft>
                <a:tabLst>
                  <a:tab pos="624330" algn="l"/>
                </a:tabLst>
                <a:defRPr/>
              </a:pPr>
              <a:r>
                <a:rPr lang="en-US" sz="1000">
                  <a:solidFill>
                    <a:srgbClr val="000000"/>
                  </a:solidFill>
                  <a:cs typeface="Arial" charset="0"/>
                </a:rPr>
                <a:t>SOURCE: Source</a:t>
              </a:r>
            </a:p>
          </p:txBody>
        </p:sp>
      </p:grpSp>
      <p:grpSp>
        <p:nvGrpSpPr>
          <p:cNvPr id="3" name="ACET" hidden="1"/>
          <p:cNvGrpSpPr>
            <a:grpSpLocks/>
          </p:cNvGrpSpPr>
          <p:nvPr/>
        </p:nvGrpSpPr>
        <p:grpSpPr bwMode="auto">
          <a:xfrm>
            <a:off x="1976967" y="1073126"/>
            <a:ext cx="5799625" cy="584197"/>
            <a:chOff x="915" y="662"/>
            <a:chExt cx="2686" cy="361"/>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662"/>
              <a:ext cx="2686" cy="36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914400" fontAlgn="base">
                <a:spcBef>
                  <a:spcPct val="0"/>
                </a:spcBef>
                <a:spcAft>
                  <a:spcPct val="0"/>
                </a:spcAft>
                <a:defRPr/>
              </a:pPr>
              <a:r>
                <a:rPr lang="en-US" sz="1800" b="1">
                  <a:solidFill>
                    <a:srgbClr val="000000"/>
                  </a:solidFill>
                  <a:cs typeface="Arial" charset="0"/>
                </a:rPr>
                <a:t>Title</a:t>
              </a:r>
            </a:p>
            <a:p>
              <a:pPr defTabSz="914400" fontAlgn="base">
                <a:spcBef>
                  <a:spcPct val="0"/>
                </a:spcBef>
                <a:spcAft>
                  <a:spcPct val="0"/>
                </a:spcAft>
                <a:defRPr/>
              </a:pPr>
              <a:r>
                <a:rPr lang="en-US" sz="1800">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829755" y="1990739"/>
            <a:ext cx="10962217"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63000" y="6202559"/>
            <a:ext cx="11628967" cy="520729"/>
            <a:chOff x="75" y="3829"/>
            <a:chExt cx="5385" cy="322"/>
          </a:xfrm>
        </p:grpSpPr>
        <p:sp>
          <p:nvSpPr>
            <p:cNvPr id="14" name="McK 4. Footnote" hidden="1"/>
            <p:cNvSpPr txBox="1">
              <a:spLocks noChangeArrowheads="1"/>
            </p:cNvSpPr>
            <p:nvPr userDrawn="1"/>
          </p:nvSpPr>
          <p:spPr bwMode="auto">
            <a:xfrm>
              <a:off x="75" y="3829"/>
              <a:ext cx="5385" cy="98"/>
            </a:xfrm>
            <a:prstGeom prst="rect">
              <a:avLst/>
            </a:prstGeom>
            <a:noFill/>
            <a:ln w="9525">
              <a:noFill/>
              <a:miter lim="800000"/>
              <a:headEnd/>
              <a:tailEnd/>
            </a:ln>
            <a:effectLst/>
          </p:spPr>
          <p:txBody>
            <a:bodyPr lIns="0" tIns="0" rIns="0" bIns="0" anchor="b">
              <a:spAutoFit/>
            </a:bodyPr>
            <a:lstStyle/>
            <a:p>
              <a:pPr marL="106693" indent="-106693" defTabSz="911747" fontAlgn="base">
                <a:spcBef>
                  <a:spcPct val="0"/>
                </a:spcBef>
                <a:spcAft>
                  <a:spcPct val="0"/>
                </a:spcAft>
                <a:defRPr/>
              </a:pPr>
              <a:r>
                <a:rPr lang="en-US" sz="1000">
                  <a:solidFill>
                    <a:srgbClr val="000000"/>
                  </a:solidFill>
                  <a:cs typeface="Arial" charset="0"/>
                </a:rPr>
                <a:t>1 Footnote</a:t>
              </a:r>
            </a:p>
          </p:txBody>
        </p:sp>
        <p:sp>
          <p:nvSpPr>
            <p:cNvPr id="15" name="McK 5. Source" hidden="1"/>
            <p:cNvSpPr>
              <a:spLocks noChangeArrowheads="1"/>
            </p:cNvSpPr>
            <p:nvPr userDrawn="1"/>
          </p:nvSpPr>
          <p:spPr bwMode="auto">
            <a:xfrm>
              <a:off x="75" y="4053"/>
              <a:ext cx="4323" cy="98"/>
            </a:xfrm>
            <a:prstGeom prst="rect">
              <a:avLst/>
            </a:prstGeom>
            <a:noFill/>
            <a:ln w="9525">
              <a:noFill/>
              <a:miter lim="800000"/>
              <a:headEnd/>
              <a:tailEnd/>
            </a:ln>
            <a:effectLst/>
          </p:spPr>
          <p:txBody>
            <a:bodyPr lIns="0" tIns="0" rIns="0" bIns="0" anchor="ctr">
              <a:spAutoFit/>
            </a:bodyPr>
            <a:lstStyle/>
            <a:p>
              <a:pPr marL="620764" indent="-620764" defTabSz="911747" fontAlgn="base">
                <a:spcBef>
                  <a:spcPct val="0"/>
                </a:spcBef>
                <a:spcAft>
                  <a:spcPct val="0"/>
                </a:spcAft>
                <a:tabLst>
                  <a:tab pos="623996" algn="l"/>
                </a:tabLst>
                <a:defRPr/>
              </a:pPr>
              <a:r>
                <a:rPr lang="en-US" sz="1000">
                  <a:solidFill>
                    <a:srgbClr val="000000"/>
                  </a:solidFill>
                  <a:cs typeface="Arial" charset="0"/>
                </a:rPr>
                <a:t>SOURCE: Source</a:t>
              </a:r>
            </a:p>
          </p:txBody>
        </p:sp>
      </p:grpSp>
      <p:sp>
        <p:nvSpPr>
          <p:cNvPr id="17" name="Rectangle 280"/>
          <p:cNvSpPr txBox="1">
            <a:spLocks noChangeArrowheads="1"/>
          </p:cNvSpPr>
          <p:nvPr/>
        </p:nvSpPr>
        <p:spPr bwMode="gray">
          <a:xfrm>
            <a:off x="11800048" y="6634186"/>
            <a:ext cx="260349"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
        <p:nvSpPr>
          <p:cNvPr id="18" name="SlideLogoSeparator"/>
          <p:cNvSpPr>
            <a:spLocks noChangeArrowheads="1"/>
          </p:cNvSpPr>
          <p:nvPr>
            <p:custDataLst>
              <p:tags r:id="rId10"/>
            </p:custDataLst>
          </p:nvPr>
        </p:nvSpPr>
        <p:spPr bwMode="gray">
          <a:xfrm>
            <a:off x="11643561" y="6604312"/>
            <a:ext cx="40075" cy="184666"/>
          </a:xfrm>
          <a:prstGeom prst="rect">
            <a:avLst/>
          </a:prstGeom>
          <a:noFill/>
          <a:ln w="9525">
            <a:noFill/>
            <a:miter lim="800000"/>
            <a:headEnd/>
            <a:tailEnd/>
          </a:ln>
          <a:effectLst/>
        </p:spPr>
        <p:txBody>
          <a:bodyPr wrap="none" lIns="0" tIns="0" rIns="0" bIns="0" anchor="ctr">
            <a:spAutoFit/>
          </a:bodyPr>
          <a:lstStyle/>
          <a:p>
            <a:pPr algn="r" defTabSz="894401" fontAlgn="base">
              <a:spcBef>
                <a:spcPct val="0"/>
              </a:spcBef>
              <a:spcAft>
                <a:spcPct val="0"/>
              </a:spcAft>
              <a:defRPr/>
            </a:pPr>
            <a:r>
              <a:rPr lang="en-GB" sz="1200">
                <a:solidFill>
                  <a:srgbClr val="000000"/>
                </a:solidFill>
                <a:cs typeface="Arial" charset="0"/>
              </a:rPr>
              <a:t>|</a:t>
            </a:r>
          </a:p>
        </p:txBody>
      </p:sp>
    </p:spTree>
    <p:extLst>
      <p:ext uri="{BB962C8B-B14F-4D97-AF65-F5344CB8AC3E}">
        <p14:creationId xmlns:p14="http://schemas.microsoft.com/office/powerpoint/2010/main" val="3471713782"/>
      </p:ext>
    </p:extLst>
  </p:cSld>
  <p:clrMap bg1="lt1" tx1="dk1" bg2="lt2" tx2="dk2" accent1="accent1" accent2="accent2" accent3="accent3" accent4="accent4" accent5="accent5" accent6="accent6" hlink="hlink" folHlink="folHlink"/>
  <p:sldLayoutIdLst>
    <p:sldLayoutId id="2147484939" r:id="rId1"/>
    <p:sldLayoutId id="2147484940" r:id="rId2"/>
    <p:sldLayoutId id="2147484941" r:id="rId3"/>
    <p:sldLayoutId id="2147484942" r:id="rId4"/>
    <p:sldLayoutId id="2147484943" r:id="rId5"/>
    <p:sldLayoutId id="2147484944" r:id="rId6"/>
  </p:sldLayoutIdLst>
  <p:hf hdr="0" ftr="0" dt="0"/>
  <p:txStyles>
    <p:title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p:titleStyle>
    <p:body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1640" rtl="0" eaLnBrk="1" latinLnBrk="0" hangingPunct="1">
        <a:defRPr sz="1800" kern="1200">
          <a:solidFill>
            <a:schemeClr val="tx1"/>
          </a:solidFill>
          <a:latin typeface="+mn-lt"/>
          <a:ea typeface="+mn-ea"/>
          <a:cs typeface="+mn-cs"/>
        </a:defRPr>
      </a:lvl1pPr>
      <a:lvl2pPr marL="465822" algn="l" defTabSz="931640" rtl="0" eaLnBrk="1" latinLnBrk="0" hangingPunct="1">
        <a:defRPr sz="1800" kern="1200">
          <a:solidFill>
            <a:schemeClr val="tx1"/>
          </a:solidFill>
          <a:latin typeface="+mn-lt"/>
          <a:ea typeface="+mn-ea"/>
          <a:cs typeface="+mn-cs"/>
        </a:defRPr>
      </a:lvl2pPr>
      <a:lvl3pPr marL="931640" algn="l" defTabSz="931640" rtl="0" eaLnBrk="1" latinLnBrk="0" hangingPunct="1">
        <a:defRPr sz="1800" kern="1200">
          <a:solidFill>
            <a:schemeClr val="tx1"/>
          </a:solidFill>
          <a:latin typeface="+mn-lt"/>
          <a:ea typeface="+mn-ea"/>
          <a:cs typeface="+mn-cs"/>
        </a:defRPr>
      </a:lvl3pPr>
      <a:lvl4pPr marL="1397463" algn="l" defTabSz="931640" rtl="0" eaLnBrk="1" latinLnBrk="0" hangingPunct="1">
        <a:defRPr sz="1800" kern="1200">
          <a:solidFill>
            <a:schemeClr val="tx1"/>
          </a:solidFill>
          <a:latin typeface="+mn-lt"/>
          <a:ea typeface="+mn-ea"/>
          <a:cs typeface="+mn-cs"/>
        </a:defRPr>
      </a:lvl4pPr>
      <a:lvl5pPr marL="1863285" algn="l" defTabSz="931640" rtl="0" eaLnBrk="1" latinLnBrk="0" hangingPunct="1">
        <a:defRPr sz="1800" kern="1200">
          <a:solidFill>
            <a:schemeClr val="tx1"/>
          </a:solidFill>
          <a:latin typeface="+mn-lt"/>
          <a:ea typeface="+mn-ea"/>
          <a:cs typeface="+mn-cs"/>
        </a:defRPr>
      </a:lvl5pPr>
      <a:lvl6pPr marL="2329105" algn="l" defTabSz="931640" rtl="0" eaLnBrk="1" latinLnBrk="0" hangingPunct="1">
        <a:defRPr sz="1800" kern="1200">
          <a:solidFill>
            <a:schemeClr val="tx1"/>
          </a:solidFill>
          <a:latin typeface="+mn-lt"/>
          <a:ea typeface="+mn-ea"/>
          <a:cs typeface="+mn-cs"/>
        </a:defRPr>
      </a:lvl6pPr>
      <a:lvl7pPr marL="2794926" algn="l" defTabSz="931640" rtl="0" eaLnBrk="1" latinLnBrk="0" hangingPunct="1">
        <a:defRPr sz="1800" kern="1200">
          <a:solidFill>
            <a:schemeClr val="tx1"/>
          </a:solidFill>
          <a:latin typeface="+mn-lt"/>
          <a:ea typeface="+mn-ea"/>
          <a:cs typeface="+mn-cs"/>
        </a:defRPr>
      </a:lvl7pPr>
      <a:lvl8pPr marL="3260746" algn="l" defTabSz="931640" rtl="0" eaLnBrk="1" latinLnBrk="0" hangingPunct="1">
        <a:defRPr sz="1800" kern="1200">
          <a:solidFill>
            <a:schemeClr val="tx1"/>
          </a:solidFill>
          <a:latin typeface="+mn-lt"/>
          <a:ea typeface="+mn-ea"/>
          <a:cs typeface="+mn-cs"/>
        </a:defRPr>
      </a:lvl8pPr>
      <a:lvl9pPr marL="3726563" algn="l" defTabSz="93164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3"/>
            </p:custDataLs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97348" name="think-cell Slide" r:id="rId15" imgW="270" imgH="270" progId="TCLayout.ActiveDocument.1">
                  <p:embed/>
                </p:oleObj>
              </mc:Choice>
              <mc:Fallback>
                <p:oleObj name="think-cell Slide" r:id="rId15" imgW="270" imgH="270" progId="TCLayout.ActiveDocument.1">
                  <p:embed/>
                  <p:pic>
                    <p:nvPicPr>
                      <p:cNvPr id="15" name="Object 14" hidden="1"/>
                      <p:cNvPicPr/>
                      <p:nvPr/>
                    </p:nvPicPr>
                    <p:blipFill>
                      <a:blip r:embed="rId16"/>
                      <a:stretch>
                        <a:fillRect/>
                      </a:stretch>
                    </p:blipFill>
                    <p:spPr>
                      <a:xfrm>
                        <a:off x="2119" y="1592"/>
                        <a:ext cx="2116" cy="1587"/>
                      </a:xfrm>
                      <a:prstGeom prst="rect">
                        <a:avLst/>
                      </a:prstGeom>
                    </p:spPr>
                  </p:pic>
                </p:oleObj>
              </mc:Fallback>
            </mc:AlternateContent>
          </a:graphicData>
        </a:graphic>
      </p:graphicFrame>
      <p:sp>
        <p:nvSpPr>
          <p:cNvPr id="16387" name="Rectangle 3"/>
          <p:cNvSpPr>
            <a:spLocks noGrp="1" noChangeArrowheads="1"/>
          </p:cNvSpPr>
          <p:nvPr>
            <p:ph type="body" idx="1"/>
          </p:nvPr>
        </p:nvSpPr>
        <p:spPr bwMode="auto">
          <a:xfrm>
            <a:off x="609600" y="1181104"/>
            <a:ext cx="10972800" cy="4945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5220" name="Rectangle 4"/>
          <p:cNvSpPr>
            <a:spLocks noGrp="1" noChangeArrowheads="1"/>
          </p:cNvSpPr>
          <p:nvPr>
            <p:ph type="dt" sz="half" idx="2"/>
          </p:nvPr>
        </p:nvSpPr>
        <p:spPr bwMode="auto">
          <a:xfrm>
            <a:off x="0" y="6618129"/>
            <a:ext cx="16256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000" b="0" i="1">
                <a:solidFill>
                  <a:srgbClr val="000000"/>
                </a:solidFill>
                <a:latin typeface="+mj-lt"/>
              </a:defRPr>
            </a:lvl1pPr>
          </a:lstStyle>
          <a:p>
            <a:pPr defTabSz="914400"/>
            <a:fld id="{B5F4ECAC-03E4-484C-B6D9-5B918FB01785}" type="datetimeFigureOut">
              <a:rPr lang="en-US" smtClean="0"/>
              <a:pPr defTabSz="914400"/>
              <a:t>4/30/2019</a:t>
            </a:fld>
            <a:endParaRPr lang="en-US"/>
          </a:p>
        </p:txBody>
      </p:sp>
      <p:sp>
        <p:nvSpPr>
          <p:cNvPr id="265221" name="Rectangle 5"/>
          <p:cNvSpPr>
            <a:spLocks noGrp="1" noChangeArrowheads="1"/>
          </p:cNvSpPr>
          <p:nvPr>
            <p:ph type="ftr" sz="quarter" idx="3"/>
          </p:nvPr>
        </p:nvSpPr>
        <p:spPr bwMode="auto">
          <a:xfrm>
            <a:off x="1727200" y="6618130"/>
            <a:ext cx="79248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b="0" i="1">
                <a:solidFill>
                  <a:srgbClr val="000000"/>
                </a:solidFill>
                <a:latin typeface="+mj-lt"/>
              </a:defRPr>
            </a:lvl1pPr>
          </a:lstStyle>
          <a:p>
            <a:pPr defTabSz="914400"/>
            <a:endParaRPr lang="en-US"/>
          </a:p>
        </p:txBody>
      </p:sp>
      <p:sp>
        <p:nvSpPr>
          <p:cNvPr id="265222"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defTabSz="914400"/>
            <a:fld id="{D08BA9CE-8EFE-BE48-98DC-77CBE9860290}" type="slidenum">
              <a:rPr lang="en-US" smtClean="0"/>
              <a:pPr defTabSz="914400"/>
              <a:t>‹#›</a:t>
            </a:fld>
            <a:endParaRPr lang="en-US"/>
          </a:p>
        </p:txBody>
      </p:sp>
      <p:sp>
        <p:nvSpPr>
          <p:cNvPr id="16391" name="Rectangle 7"/>
          <p:cNvSpPr>
            <a:spLocks noGrp="1" noChangeArrowheads="1"/>
          </p:cNvSpPr>
          <p:nvPr>
            <p:ph type="title"/>
          </p:nvPr>
        </p:nvSpPr>
        <p:spPr bwMode="gray">
          <a:xfrm>
            <a:off x="0" y="0"/>
            <a:ext cx="12192000" cy="903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2" name="Rectangle 1"/>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4" name="Straight Connector 13"/>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2" name="Picture 11"/>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3" name="Object 12" hidden="1"/>
          <p:cNvGraphicFramePr>
            <a:graphicFrameLocks noChangeAspect="1"/>
          </p:cNvGraphicFramePr>
          <p:nvPr>
            <p:custDataLst>
              <p:tags r:id="rId14"/>
            </p:custDataLs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97349" name="think-cell Slide" r:id="rId18" imgW="270" imgH="270" progId="TCLayout.ActiveDocument.1">
                  <p:embed/>
                </p:oleObj>
              </mc:Choice>
              <mc:Fallback>
                <p:oleObj name="think-cell Slide" r:id="rId18" imgW="270" imgH="270" progId="TCLayout.ActiveDocument.1">
                  <p:embed/>
                  <p:pic>
                    <p:nvPicPr>
                      <p:cNvPr id="13" name="Object 12" hidden="1"/>
                      <p:cNvPicPr/>
                      <p:nvPr/>
                    </p:nvPicPr>
                    <p:blipFill>
                      <a:blip r:embed="rId16"/>
                      <a:stretch>
                        <a:fillRect/>
                      </a:stretch>
                    </p:blipFill>
                    <p:spPr>
                      <a:xfrm>
                        <a:off x="2119" y="1592"/>
                        <a:ext cx="2116" cy="1587"/>
                      </a:xfrm>
                      <a:prstGeom prst="rect">
                        <a:avLst/>
                      </a:prstGeom>
                    </p:spPr>
                  </p:pic>
                </p:oleObj>
              </mc:Fallback>
            </mc:AlternateContent>
          </a:graphicData>
        </a:graphic>
      </p:graphicFrame>
      <p:sp>
        <p:nvSpPr>
          <p:cNvPr id="16" name="Rectangle 15"/>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a:solidFill>
                <a:srgbClr val="000000"/>
              </a:solidFill>
              <a:latin typeface="Verdana" pitchFamily="-109" charset="0"/>
              <a:ea typeface="MS PGothic" pitchFamily="34" charset="-128"/>
              <a:cs typeface="MS PGothic" pitchFamily="34" charset="-128"/>
            </a:endParaRPr>
          </a:p>
        </p:txBody>
      </p:sp>
      <p:sp>
        <p:nvSpPr>
          <p:cNvPr id="17" name="Isosceles Triangle 16"/>
          <p:cNvSpPr/>
          <p:nvPr/>
        </p:nvSpPr>
        <p:spPr bwMode="auto">
          <a:xfrm>
            <a:off x="11860830"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8" name="Straight Connector 17"/>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9" name="Picture 18"/>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1326557" y="6273226"/>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6145637"/>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Lst>
  <p:txStyles>
    <p:titleStyle>
      <a:lvl1pPr marL="119063" indent="0"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800">
          <a:solidFill>
            <a:schemeClr val="tx1"/>
          </a:solidFill>
          <a:latin typeface="+mn-lt"/>
          <a:ea typeface="+mn-ea"/>
          <a:cs typeface="+mn-cs"/>
        </a:defRPr>
      </a:lvl2pPr>
      <a:lvl3pPr marL="1143000" indent="-228600" algn="l" rtl="0" eaLnBrk="1" fontAlgn="base" hangingPunct="1">
        <a:spcBef>
          <a:spcPct val="20000"/>
        </a:spcBef>
        <a:spcAft>
          <a:spcPct val="0"/>
        </a:spcAft>
        <a:buChar char="•"/>
        <a:defRPr sz="16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FB082-FBF6-4A25-AF0F-2CC496B55C54}"/>
              </a:ext>
            </a:extLst>
          </p:cNvPr>
          <p:cNvGraphicFramePr>
            <a:graphicFrameLocks noChangeAspect="1"/>
          </p:cNvGraphicFramePr>
          <p:nvPr userDrawn="1">
            <p:custDataLst>
              <p:tags r:id="rId14"/>
            </p:custDataLst>
            <p:extLst/>
          </p:nvPr>
        </p:nvGraphicFramePr>
        <p:xfrm>
          <a:off x="1589" y="1613"/>
          <a:ext cx="1587" cy="1587"/>
        </p:xfrm>
        <a:graphic>
          <a:graphicData uri="http://schemas.openxmlformats.org/presentationml/2006/ole">
            <mc:AlternateContent xmlns:mc="http://schemas.openxmlformats.org/markup-compatibility/2006">
              <mc:Choice xmlns:v="urn:schemas-microsoft-com:vml" Requires="v">
                <p:oleObj spid="_x0000_s699394" name="think-cell Slide" r:id="rId16" imgW="270" imgH="270" progId="TCLayout.ActiveDocument.1">
                  <p:embed/>
                </p:oleObj>
              </mc:Choice>
              <mc:Fallback>
                <p:oleObj name="think-cell Slide" r:id="rId16" imgW="270" imgH="270" progId="TCLayout.ActiveDocument.1">
                  <p:embed/>
                  <p:pic>
                    <p:nvPicPr>
                      <p:cNvPr id="7" name="Object 6" hidden="1">
                        <a:extLst>
                          <a:ext uri="{FF2B5EF4-FFF2-40B4-BE49-F238E27FC236}">
                            <a16:creationId xmlns:a16="http://schemas.microsoft.com/office/drawing/2014/main" id="{2D9FB082-FBF6-4A25-AF0F-2CC496B55C54}"/>
                          </a:ext>
                        </a:extLst>
                      </p:cNvPr>
                      <p:cNvPicPr/>
                      <p:nvPr/>
                    </p:nvPicPr>
                    <p:blipFill>
                      <a:blip r:embed="rId17"/>
                      <a:stretch>
                        <a:fillRect/>
                      </a:stretch>
                    </p:blipFill>
                    <p:spPr>
                      <a:xfrm>
                        <a:off x="1589" y="1613"/>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ED839C-2D26-4958-A7A0-3FB9CD027AC0}"/>
              </a:ext>
            </a:extLst>
          </p:cNvPr>
          <p:cNvSpPr/>
          <p:nvPr userDrawn="1">
            <p:custDataLst>
              <p:tags r:id="rId15"/>
            </p:custDataLst>
          </p:nvPr>
        </p:nvSpPr>
        <p:spPr>
          <a:xfrm>
            <a:off x="18" y="1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2355">
              <a:lnSpc>
                <a:spcPct val="90000"/>
              </a:lnSpc>
              <a:spcBef>
                <a:spcPct val="0"/>
              </a:spcBef>
              <a:spcAft>
                <a:spcPct val="0"/>
              </a:spcAft>
            </a:pPr>
            <a:endParaRPr lang="en-US" sz="4400" dirty="0">
              <a:solidFill>
                <a:prstClr val="white"/>
              </a:solidFill>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6"/>
            <a:ext cx="10515600" cy="1325563"/>
          </a:xfrm>
          <a:prstGeom prst="rect">
            <a:avLst/>
          </a:prstGeom>
        </p:spPr>
        <p:txBody>
          <a:bodyPr vert="horz" lIns="91238" tIns="45626" rIns="91238" bIns="45626"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4"/>
            <a:ext cx="10515600" cy="4351339"/>
          </a:xfrm>
          <a:prstGeom prst="rect">
            <a:avLst/>
          </a:prstGeom>
        </p:spPr>
        <p:txBody>
          <a:bodyPr vert="horz" lIns="91238" tIns="45626" rIns="91238" bIns="45626"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776"/>
            <a:ext cx="2743200" cy="365125"/>
          </a:xfrm>
          <a:prstGeom prst="rect">
            <a:avLst/>
          </a:prstGeom>
        </p:spPr>
        <p:txBody>
          <a:bodyPr vert="horz" lIns="91238" tIns="45626" rIns="91238" bIns="45626" rtlCol="0" anchor="ctr"/>
          <a:lstStyle>
            <a:lvl1pPr algn="l">
              <a:defRPr sz="1200">
                <a:solidFill>
                  <a:schemeClr val="tx1">
                    <a:tint val="75000"/>
                  </a:schemeClr>
                </a:solidFill>
              </a:defRPr>
            </a:lvl1pPr>
          </a:lstStyle>
          <a:p>
            <a:pPr defTabSz="912355"/>
            <a:fld id="{2943878C-FF0C-44EA-BD5F-2DBF8DB04E0E}" type="datetime1">
              <a:rPr lang="en-US" smtClean="0">
                <a:solidFill>
                  <a:prstClr val="black">
                    <a:tint val="75000"/>
                  </a:prstClr>
                </a:solidFill>
              </a:rPr>
              <a:t>4/30/20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776"/>
            <a:ext cx="4114800" cy="365125"/>
          </a:xfrm>
          <a:prstGeom prst="rect">
            <a:avLst/>
          </a:prstGeom>
        </p:spPr>
        <p:txBody>
          <a:bodyPr vert="horz" lIns="91238" tIns="45626" rIns="91238" bIns="45626" rtlCol="0" anchor="ctr"/>
          <a:lstStyle>
            <a:lvl1pPr algn="ctr">
              <a:defRPr sz="1200">
                <a:solidFill>
                  <a:schemeClr val="tx1">
                    <a:tint val="75000"/>
                  </a:schemeClr>
                </a:solidFill>
              </a:defRPr>
            </a:lvl1pPr>
          </a:lstStyle>
          <a:p>
            <a:pPr defTabSz="912355"/>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776"/>
            <a:ext cx="2743200" cy="365125"/>
          </a:xfrm>
          <a:prstGeom prst="rect">
            <a:avLst/>
          </a:prstGeom>
        </p:spPr>
        <p:txBody>
          <a:bodyPr vert="horz" lIns="91238" tIns="45626" rIns="91238" bIns="45626" rtlCol="0" anchor="ctr"/>
          <a:lstStyle>
            <a:lvl1pPr algn="r">
              <a:defRPr sz="1200">
                <a:solidFill>
                  <a:schemeClr val="tx1">
                    <a:tint val="75000"/>
                  </a:schemeClr>
                </a:solidFill>
              </a:defRPr>
            </a:lvl1pPr>
          </a:lstStyle>
          <a:p>
            <a:pPr defTabSz="912355"/>
            <a:fld id="{48F63A3B-78C7-47BE-AE5E-E10140E04643}" type="slidenum">
              <a:rPr lang="en-US" smtClean="0">
                <a:solidFill>
                  <a:prstClr val="black">
                    <a:tint val="75000"/>
                  </a:prstClr>
                </a:solidFill>
              </a:rPr>
              <a:pPr defTabSz="912355"/>
              <a:t>‹#›</a:t>
            </a:fld>
            <a:endParaRPr lang="en-US" dirty="0">
              <a:solidFill>
                <a:prstClr val="black">
                  <a:tint val="75000"/>
                </a:prstClr>
              </a:solidFill>
            </a:endParaRPr>
          </a:p>
        </p:txBody>
      </p:sp>
      <p:sp>
        <p:nvSpPr>
          <p:cNvPr id="8" name="TextBox 7">
            <a:extLst>
              <a:ext uri="{FF2B5EF4-FFF2-40B4-BE49-F238E27FC236}">
                <a16:creationId xmlns:a16="http://schemas.microsoft.com/office/drawing/2014/main" id="{0FF1DBC5-5F37-4F5F-9ACA-DA091C424BE7}"/>
              </a:ext>
            </a:extLst>
          </p:cNvPr>
          <p:cNvSpPr txBox="1"/>
          <p:nvPr userDrawn="1"/>
        </p:nvSpPr>
        <p:spPr>
          <a:xfrm>
            <a:off x="0" y="6447824"/>
            <a:ext cx="12192000" cy="406353"/>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238" tIns="45626" rIns="91238" bIns="45626" rtlCol="0">
            <a:spAutoFit/>
          </a:bodyPr>
          <a:lstStyle/>
          <a:p>
            <a:pPr algn="ctr" defTabSz="912355"/>
            <a:r>
              <a:rPr lang="en-US" sz="2000">
                <a:solidFill>
                  <a:prstClr val="white"/>
                </a:solidFill>
              </a:rPr>
              <a:t>NPHCDA </a:t>
            </a:r>
            <a:r>
              <a:rPr lang="en-US" sz="2000" dirty="0">
                <a:solidFill>
                  <a:prstClr val="white"/>
                </a:solidFill>
              </a:rPr>
              <a:t>– National Primary Health Care Development Agency</a:t>
            </a:r>
          </a:p>
        </p:txBody>
      </p:sp>
      <p:pic>
        <p:nvPicPr>
          <p:cNvPr id="9" name="Picture 8">
            <a:extLst>
              <a:ext uri="{FF2B5EF4-FFF2-40B4-BE49-F238E27FC236}">
                <a16:creationId xmlns:a16="http://schemas.microsoft.com/office/drawing/2014/main" id="{E633FD98-DD5F-445C-8B80-288591839D59}"/>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 y="2"/>
            <a:ext cx="1009651" cy="857251"/>
          </a:xfrm>
          <a:prstGeom prst="rect">
            <a:avLst/>
          </a:prstGeom>
        </p:spPr>
      </p:pic>
      <p:pic>
        <p:nvPicPr>
          <p:cNvPr id="10" name="Picture 9">
            <a:extLst>
              <a:ext uri="{FF2B5EF4-FFF2-40B4-BE49-F238E27FC236}">
                <a16:creationId xmlns:a16="http://schemas.microsoft.com/office/drawing/2014/main" id="{D9D8FF22-52BD-4BB6-9A1F-FCC91A7991DD}"/>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1191876" y="17"/>
            <a:ext cx="1000125" cy="914400"/>
          </a:xfrm>
          <a:prstGeom prst="rect">
            <a:avLst/>
          </a:prstGeom>
        </p:spPr>
      </p:pic>
    </p:spTree>
    <p:extLst>
      <p:ext uri="{BB962C8B-B14F-4D97-AF65-F5344CB8AC3E}">
        <p14:creationId xmlns:p14="http://schemas.microsoft.com/office/powerpoint/2010/main" val="1585137455"/>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4" r:id="rId8"/>
    <p:sldLayoutId id="2147484965" r:id="rId9"/>
    <p:sldLayoutId id="2147484966" r:id="rId10"/>
    <p:sldLayoutId id="2147484967" r:id="rId11"/>
  </p:sldLayoutIdLst>
  <p:hf hdr="0" ftr="0" dt="0"/>
  <p:txStyles>
    <p:titleStyle>
      <a:lvl1pPr algn="l" defTabSz="91235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086" indent="-228086" algn="l" defTabSz="91235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4274" indent="-228086" algn="l" defTabSz="91235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0449" indent="-228086" algn="l" defTabSz="91235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6621" indent="-228086" algn="l" defTabSz="91235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2795" indent="-228086" algn="l" defTabSz="91235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08977" indent="-228086" algn="l" defTabSz="91235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5155" indent="-228086" algn="l" defTabSz="91235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1332" indent="-228086" algn="l" defTabSz="91235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77514" indent="-228086" algn="l" defTabSz="912355"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2355" rtl="0" eaLnBrk="1" latinLnBrk="0" hangingPunct="1">
        <a:defRPr sz="1900" kern="1200">
          <a:solidFill>
            <a:schemeClr val="tx1"/>
          </a:solidFill>
          <a:latin typeface="+mn-lt"/>
          <a:ea typeface="+mn-ea"/>
          <a:cs typeface="+mn-cs"/>
        </a:defRPr>
      </a:lvl1pPr>
      <a:lvl2pPr marL="456175" algn="l" defTabSz="912355" rtl="0" eaLnBrk="1" latinLnBrk="0" hangingPunct="1">
        <a:defRPr sz="1900" kern="1200">
          <a:solidFill>
            <a:schemeClr val="tx1"/>
          </a:solidFill>
          <a:latin typeface="+mn-lt"/>
          <a:ea typeface="+mn-ea"/>
          <a:cs typeface="+mn-cs"/>
        </a:defRPr>
      </a:lvl2pPr>
      <a:lvl3pPr marL="912355" algn="l" defTabSz="912355" rtl="0" eaLnBrk="1" latinLnBrk="0" hangingPunct="1">
        <a:defRPr sz="1900" kern="1200">
          <a:solidFill>
            <a:schemeClr val="tx1"/>
          </a:solidFill>
          <a:latin typeface="+mn-lt"/>
          <a:ea typeface="+mn-ea"/>
          <a:cs typeface="+mn-cs"/>
        </a:defRPr>
      </a:lvl3pPr>
      <a:lvl4pPr marL="1368534" algn="l" defTabSz="912355" rtl="0" eaLnBrk="1" latinLnBrk="0" hangingPunct="1">
        <a:defRPr sz="1900" kern="1200">
          <a:solidFill>
            <a:schemeClr val="tx1"/>
          </a:solidFill>
          <a:latin typeface="+mn-lt"/>
          <a:ea typeface="+mn-ea"/>
          <a:cs typeface="+mn-cs"/>
        </a:defRPr>
      </a:lvl4pPr>
      <a:lvl5pPr marL="1824712" algn="l" defTabSz="912355" rtl="0" eaLnBrk="1" latinLnBrk="0" hangingPunct="1">
        <a:defRPr sz="1900" kern="1200">
          <a:solidFill>
            <a:schemeClr val="tx1"/>
          </a:solidFill>
          <a:latin typeface="+mn-lt"/>
          <a:ea typeface="+mn-ea"/>
          <a:cs typeface="+mn-cs"/>
        </a:defRPr>
      </a:lvl5pPr>
      <a:lvl6pPr marL="2280894" algn="l" defTabSz="912355" rtl="0" eaLnBrk="1" latinLnBrk="0" hangingPunct="1">
        <a:defRPr sz="1900" kern="1200">
          <a:solidFill>
            <a:schemeClr val="tx1"/>
          </a:solidFill>
          <a:latin typeface="+mn-lt"/>
          <a:ea typeface="+mn-ea"/>
          <a:cs typeface="+mn-cs"/>
        </a:defRPr>
      </a:lvl6pPr>
      <a:lvl7pPr marL="2737070" algn="l" defTabSz="912355" rtl="0" eaLnBrk="1" latinLnBrk="0" hangingPunct="1">
        <a:defRPr sz="1900" kern="1200">
          <a:solidFill>
            <a:schemeClr val="tx1"/>
          </a:solidFill>
          <a:latin typeface="+mn-lt"/>
          <a:ea typeface="+mn-ea"/>
          <a:cs typeface="+mn-cs"/>
        </a:defRPr>
      </a:lvl7pPr>
      <a:lvl8pPr marL="3193242" algn="l" defTabSz="912355" rtl="0" eaLnBrk="1" latinLnBrk="0" hangingPunct="1">
        <a:defRPr sz="1900" kern="1200">
          <a:solidFill>
            <a:schemeClr val="tx1"/>
          </a:solidFill>
          <a:latin typeface="+mn-lt"/>
          <a:ea typeface="+mn-ea"/>
          <a:cs typeface="+mn-cs"/>
        </a:defRPr>
      </a:lvl8pPr>
      <a:lvl9pPr marL="3649415" algn="l" defTabSz="91235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FB082-FBF6-4A25-AF0F-2CC496B55C54}"/>
              </a:ext>
            </a:extLst>
          </p:cNvPr>
          <p:cNvGraphicFramePr>
            <a:graphicFrameLocks noChangeAspect="1"/>
          </p:cNvGraphicFramePr>
          <p:nvPr userDrawn="1">
            <p:custDataLst>
              <p:tags r:id="rId14"/>
            </p:custDataLs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35644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1" y="1616"/>
                        <a:ext cx="158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ED839C-2D26-4958-A7A0-3FB9CD027AC0}"/>
              </a:ext>
            </a:extLst>
          </p:cNvPr>
          <p:cNvSpPr/>
          <p:nvPr userDrawn="1">
            <p:custDataLst>
              <p:tags r:id="rId15"/>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1969">
              <a:lnSpc>
                <a:spcPct val="90000"/>
              </a:lnSpc>
              <a:spcBef>
                <a:spcPct val="0"/>
              </a:spcBef>
              <a:spcAft>
                <a:spcPct val="0"/>
              </a:spcAft>
            </a:pPr>
            <a:endParaRPr lang="en-US" sz="4400" dirty="0">
              <a:solidFill>
                <a:prstClr val="white"/>
              </a:solidFill>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6"/>
            <a:ext cx="10515600" cy="1325563"/>
          </a:xfrm>
          <a:prstGeom prst="rect">
            <a:avLst/>
          </a:prstGeom>
        </p:spPr>
        <p:txBody>
          <a:bodyPr vert="horz" lIns="91199" tIns="45607" rIns="91199" bIns="45607"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7"/>
            <a:ext cx="10515600" cy="4351339"/>
          </a:xfrm>
          <a:prstGeom prst="rect">
            <a:avLst/>
          </a:prstGeom>
        </p:spPr>
        <p:txBody>
          <a:bodyPr vert="horz" lIns="91199" tIns="45607" rIns="91199" bIns="45607"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798"/>
            <a:ext cx="2743201" cy="365125"/>
          </a:xfrm>
          <a:prstGeom prst="rect">
            <a:avLst/>
          </a:prstGeom>
        </p:spPr>
        <p:txBody>
          <a:bodyPr vert="horz" lIns="91199" tIns="45607" rIns="91199" bIns="45607" rtlCol="0" anchor="ctr"/>
          <a:lstStyle>
            <a:lvl1pPr algn="l">
              <a:defRPr sz="1200">
                <a:solidFill>
                  <a:schemeClr val="tx1">
                    <a:tint val="75000"/>
                  </a:schemeClr>
                </a:solidFill>
              </a:defRPr>
            </a:lvl1pPr>
          </a:lstStyle>
          <a:p>
            <a:pPr defTabSz="911969"/>
            <a:fld id="{2943878C-FF0C-44EA-BD5F-2DBF8DB04E0E}" type="datetime1">
              <a:rPr lang="en-US" smtClean="0">
                <a:solidFill>
                  <a:prstClr val="black">
                    <a:tint val="75000"/>
                  </a:prstClr>
                </a:solidFill>
              </a:rPr>
              <a:pPr defTabSz="911969"/>
              <a:t>4/30/20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798"/>
            <a:ext cx="4114800" cy="365125"/>
          </a:xfrm>
          <a:prstGeom prst="rect">
            <a:avLst/>
          </a:prstGeom>
        </p:spPr>
        <p:txBody>
          <a:bodyPr vert="horz" lIns="91199" tIns="45607" rIns="91199" bIns="45607" rtlCol="0" anchor="ctr"/>
          <a:lstStyle>
            <a:lvl1pPr algn="ctr">
              <a:defRPr sz="1200">
                <a:solidFill>
                  <a:schemeClr val="tx1">
                    <a:tint val="75000"/>
                  </a:schemeClr>
                </a:solidFill>
              </a:defRPr>
            </a:lvl1pPr>
          </a:lstStyle>
          <a:p>
            <a:pPr defTabSz="911969"/>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599" y="6356798"/>
            <a:ext cx="2743201" cy="365125"/>
          </a:xfrm>
          <a:prstGeom prst="rect">
            <a:avLst/>
          </a:prstGeom>
        </p:spPr>
        <p:txBody>
          <a:bodyPr vert="horz" lIns="91199" tIns="45607" rIns="91199" bIns="45607" rtlCol="0" anchor="ctr"/>
          <a:lstStyle>
            <a:lvl1pPr algn="r">
              <a:defRPr sz="1200">
                <a:solidFill>
                  <a:schemeClr val="tx1">
                    <a:tint val="75000"/>
                  </a:schemeClr>
                </a:solidFill>
              </a:defRPr>
            </a:lvl1pPr>
          </a:lstStyle>
          <a:p>
            <a:pPr defTabSz="911969"/>
            <a:fld id="{48F63A3B-78C7-47BE-AE5E-E10140E04643}" type="slidenum">
              <a:rPr lang="en-US" smtClean="0">
                <a:solidFill>
                  <a:prstClr val="black">
                    <a:tint val="75000"/>
                  </a:prstClr>
                </a:solidFill>
              </a:rPr>
              <a:pPr defTabSz="911969"/>
              <a:t>‹#›</a:t>
            </a:fld>
            <a:endParaRPr lang="en-US" dirty="0">
              <a:solidFill>
                <a:prstClr val="black">
                  <a:tint val="75000"/>
                </a:prstClr>
              </a:solidFill>
            </a:endParaRPr>
          </a:p>
        </p:txBody>
      </p:sp>
      <p:sp>
        <p:nvSpPr>
          <p:cNvPr id="8" name="TextBox 7">
            <a:extLst>
              <a:ext uri="{FF2B5EF4-FFF2-40B4-BE49-F238E27FC236}">
                <a16:creationId xmlns:a16="http://schemas.microsoft.com/office/drawing/2014/main" id="{0FF1DBC5-5F37-4F5F-9ACA-DA091C424BE7}"/>
              </a:ext>
            </a:extLst>
          </p:cNvPr>
          <p:cNvSpPr txBox="1"/>
          <p:nvPr userDrawn="1"/>
        </p:nvSpPr>
        <p:spPr>
          <a:xfrm>
            <a:off x="0" y="6447848"/>
            <a:ext cx="12192000" cy="384492"/>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199" tIns="45607" rIns="91199" bIns="45607" rtlCol="0">
            <a:spAutoFit/>
          </a:bodyPr>
          <a:lstStyle/>
          <a:p>
            <a:pPr algn="ctr" defTabSz="911969"/>
            <a:r>
              <a:rPr lang="en-US" sz="1900">
                <a:solidFill>
                  <a:prstClr val="white"/>
                </a:solidFill>
              </a:rPr>
              <a:t>NPHCDA </a:t>
            </a:r>
            <a:r>
              <a:rPr lang="en-US" sz="1900" dirty="0">
                <a:solidFill>
                  <a:prstClr val="white"/>
                </a:solidFill>
              </a:rPr>
              <a:t>– National Primary Health Care Development Agency</a:t>
            </a:r>
          </a:p>
        </p:txBody>
      </p:sp>
      <p:pic>
        <p:nvPicPr>
          <p:cNvPr id="9" name="Picture 8">
            <a:extLst>
              <a:ext uri="{FF2B5EF4-FFF2-40B4-BE49-F238E27FC236}">
                <a16:creationId xmlns:a16="http://schemas.microsoft.com/office/drawing/2014/main" id="{E633FD98-DD5F-445C-8B80-288591839D59}"/>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 y="5"/>
            <a:ext cx="1009651" cy="857251"/>
          </a:xfrm>
          <a:prstGeom prst="rect">
            <a:avLst/>
          </a:prstGeom>
        </p:spPr>
      </p:pic>
      <p:pic>
        <p:nvPicPr>
          <p:cNvPr id="10" name="Picture 9">
            <a:extLst>
              <a:ext uri="{FF2B5EF4-FFF2-40B4-BE49-F238E27FC236}">
                <a16:creationId xmlns:a16="http://schemas.microsoft.com/office/drawing/2014/main" id="{D9D8FF22-52BD-4BB6-9A1F-FCC91A7991DD}"/>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1191876" y="17"/>
            <a:ext cx="1000125" cy="914400"/>
          </a:xfrm>
          <a:prstGeom prst="rect">
            <a:avLst/>
          </a:prstGeom>
        </p:spPr>
      </p:pic>
    </p:spTree>
    <p:extLst>
      <p:ext uri="{BB962C8B-B14F-4D97-AF65-F5344CB8AC3E}">
        <p14:creationId xmlns:p14="http://schemas.microsoft.com/office/powerpoint/2010/main" val="4140755687"/>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52" r:id="rId11"/>
  </p:sldLayoutIdLst>
  <p:hf hdr="0" ftr="0" dt="0"/>
  <p:txStyles>
    <p:titleStyle>
      <a:lvl1pPr algn="l" defTabSz="91196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7989" indent="-227989" algn="l" defTabSz="91196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3984" indent="-227989" algn="l" defTabSz="91196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39966"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5943"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1925"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07913"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3900"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19882"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75871" indent="-227989" algn="l" defTabSz="91196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1969" rtl="0" eaLnBrk="1" latinLnBrk="0" hangingPunct="1">
        <a:defRPr sz="1900" kern="1200">
          <a:solidFill>
            <a:schemeClr val="tx1"/>
          </a:solidFill>
          <a:latin typeface="+mn-lt"/>
          <a:ea typeface="+mn-ea"/>
          <a:cs typeface="+mn-cs"/>
        </a:defRPr>
      </a:lvl1pPr>
      <a:lvl2pPr marL="455981" algn="l" defTabSz="911969" rtl="0" eaLnBrk="1" latinLnBrk="0" hangingPunct="1">
        <a:defRPr sz="1900" kern="1200">
          <a:solidFill>
            <a:schemeClr val="tx1"/>
          </a:solidFill>
          <a:latin typeface="+mn-lt"/>
          <a:ea typeface="+mn-ea"/>
          <a:cs typeface="+mn-cs"/>
        </a:defRPr>
      </a:lvl2pPr>
      <a:lvl3pPr marL="911969" algn="l" defTabSz="911969" rtl="0" eaLnBrk="1" latinLnBrk="0" hangingPunct="1">
        <a:defRPr sz="1900" kern="1200">
          <a:solidFill>
            <a:schemeClr val="tx1"/>
          </a:solidFill>
          <a:latin typeface="+mn-lt"/>
          <a:ea typeface="+mn-ea"/>
          <a:cs typeface="+mn-cs"/>
        </a:defRPr>
      </a:lvl3pPr>
      <a:lvl4pPr marL="1367953" algn="l" defTabSz="911969" rtl="0" eaLnBrk="1" latinLnBrk="0" hangingPunct="1">
        <a:defRPr sz="1900" kern="1200">
          <a:solidFill>
            <a:schemeClr val="tx1"/>
          </a:solidFill>
          <a:latin typeface="+mn-lt"/>
          <a:ea typeface="+mn-ea"/>
          <a:cs typeface="+mn-cs"/>
        </a:defRPr>
      </a:lvl4pPr>
      <a:lvl5pPr marL="1823939" algn="l" defTabSz="911969" rtl="0" eaLnBrk="1" latinLnBrk="0" hangingPunct="1">
        <a:defRPr sz="1900" kern="1200">
          <a:solidFill>
            <a:schemeClr val="tx1"/>
          </a:solidFill>
          <a:latin typeface="+mn-lt"/>
          <a:ea typeface="+mn-ea"/>
          <a:cs typeface="+mn-cs"/>
        </a:defRPr>
      </a:lvl5pPr>
      <a:lvl6pPr marL="2279928" algn="l" defTabSz="911969" rtl="0" eaLnBrk="1" latinLnBrk="0" hangingPunct="1">
        <a:defRPr sz="1900" kern="1200">
          <a:solidFill>
            <a:schemeClr val="tx1"/>
          </a:solidFill>
          <a:latin typeface="+mn-lt"/>
          <a:ea typeface="+mn-ea"/>
          <a:cs typeface="+mn-cs"/>
        </a:defRPr>
      </a:lvl6pPr>
      <a:lvl7pPr marL="2735910" algn="l" defTabSz="911969" rtl="0" eaLnBrk="1" latinLnBrk="0" hangingPunct="1">
        <a:defRPr sz="1900" kern="1200">
          <a:solidFill>
            <a:schemeClr val="tx1"/>
          </a:solidFill>
          <a:latin typeface="+mn-lt"/>
          <a:ea typeface="+mn-ea"/>
          <a:cs typeface="+mn-cs"/>
        </a:defRPr>
      </a:lvl7pPr>
      <a:lvl8pPr marL="3191889" algn="l" defTabSz="911969" rtl="0" eaLnBrk="1" latinLnBrk="0" hangingPunct="1">
        <a:defRPr sz="1900" kern="1200">
          <a:solidFill>
            <a:schemeClr val="tx1"/>
          </a:solidFill>
          <a:latin typeface="+mn-lt"/>
          <a:ea typeface="+mn-ea"/>
          <a:cs typeface="+mn-cs"/>
        </a:defRPr>
      </a:lvl8pPr>
      <a:lvl9pPr marL="3647869" algn="l" defTabSz="911969"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1"/>
          <a:ext cx="215979" cy="161974"/>
        </p:xfrm>
        <a:graphic>
          <a:graphicData uri="http://schemas.openxmlformats.org/presentationml/2006/ole">
            <mc:AlternateContent xmlns:mc="http://schemas.openxmlformats.org/markup-compatibility/2006">
              <mc:Choice xmlns:v="urn:schemas-microsoft-com:vml" Requires="v">
                <p:oleObj spid="_x0000_s362583"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1"/>
                        <a:ext cx="215979" cy="16197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D1DFDA-961A-4DE9-9C3B-ABA58EDCA287}"/>
              </a:ext>
            </a:extLst>
          </p:cNvPr>
          <p:cNvSpPr/>
          <p:nvPr userDrawn="1">
            <p:custDataLst>
              <p:tags r:id="rId9"/>
            </p:custDataLst>
          </p:nvPr>
        </p:nvSpPr>
        <p:spPr>
          <a:xfrm>
            <a:off x="4" y="14"/>
            <a:ext cx="158751" cy="15875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b="1" dirty="0" err="1">
              <a:solidFill>
                <a:srgbClr val="1F1F1F"/>
              </a:solidFill>
              <a:sym typeface="Arial" panose="020B0604020202020204" pitchFamily="34" charset="0"/>
            </a:endParaRPr>
          </a:p>
        </p:txBody>
      </p:sp>
      <p:sp>
        <p:nvSpPr>
          <p:cNvPr id="20" name="Slide Number"/>
          <p:cNvSpPr txBox="1">
            <a:spLocks/>
          </p:cNvSpPr>
          <p:nvPr userDrawn="1"/>
        </p:nvSpPr>
        <p:spPr bwMode="auto">
          <a:xfrm>
            <a:off x="11801650" y="656520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2841" fontAlgn="base">
              <a:spcBef>
                <a:spcPct val="0"/>
              </a:spcBef>
              <a:spcAft>
                <a:spcPct val="0"/>
              </a:spcAft>
            </a:pPr>
            <a:fld id="{42C328C1-A84F-4A39-A664-DBA00541A8C6}" type="slidenum">
              <a:rPr lang="en-US" smtClean="0">
                <a:solidFill>
                  <a:srgbClr val="1F1F1F"/>
                </a:solidFill>
              </a:rPr>
              <a:pPr algn="r" defTabSz="912841" fontAlgn="base">
                <a:spcBef>
                  <a:spcPct val="0"/>
                </a:spcBef>
                <a:spcAft>
                  <a:spcPct val="0"/>
                </a:spcAft>
              </a:pPr>
              <a:t>‹#›</a:t>
            </a:fld>
            <a:endParaRPr lang="en-US" dirty="0">
              <a:solidFill>
                <a:srgbClr val="1F1F1F"/>
              </a:solidFill>
            </a:endParaRPr>
          </a:p>
        </p:txBody>
      </p:sp>
      <p:sp>
        <p:nvSpPr>
          <p:cNvPr id="18" name="Rectangle 17"/>
          <p:cNvSpPr/>
          <p:nvPr userDrawn="1"/>
        </p:nvSpPr>
        <p:spPr bwMode="auto">
          <a:xfrm>
            <a:off x="0" y="6400584"/>
            <a:ext cx="12192000" cy="25712"/>
          </a:xfrm>
          <a:prstGeom prst="rect">
            <a:avLst/>
          </a:prstGeom>
          <a:gradFill>
            <a:gsLst>
              <a:gs pos="0">
                <a:srgbClr val="DAF2E6"/>
              </a:gs>
              <a:gs pos="100000">
                <a:srgbClr val="339966"/>
              </a:gs>
            </a:gsLst>
            <a:lin ang="0" scaled="1"/>
          </a:gradFill>
          <a:ln w="9525" cap="flat" cmpd="sng" algn="ctr">
            <a:noFill/>
            <a:prstDash val="solid"/>
          </a:ln>
          <a:effectLst/>
        </p:spPr>
        <p:txBody>
          <a:bodyPr lIns="93138" tIns="46579" rIns="93138" bIns="46579" rtlCol="0" anchor="ctr"/>
          <a:lstStyle/>
          <a:p>
            <a:pPr algn="ctr" defTabSz="912841">
              <a:defRPr/>
            </a:pPr>
            <a:endParaRPr lang="en-US" kern="0" dirty="0">
              <a:solidFill>
                <a:srgbClr val="1F1F1F"/>
              </a:solidFill>
              <a:ea typeface="ＭＳ Ｐゴシック"/>
            </a:endParaRPr>
          </a:p>
        </p:txBody>
      </p:sp>
      <p:sp>
        <p:nvSpPr>
          <p:cNvPr id="1033" name="doc id"/>
          <p:cNvSpPr>
            <a:spLocks noChangeArrowheads="1"/>
          </p:cNvSpPr>
          <p:nvPr/>
        </p:nvSpPr>
        <p:spPr bwMode="auto">
          <a:xfrm>
            <a:off x="11064605"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1965" fontAlgn="base">
              <a:spcBef>
                <a:spcPct val="0"/>
              </a:spcBef>
              <a:spcAft>
                <a:spcPct val="0"/>
              </a:spcAft>
            </a:pPr>
            <a:endParaRPr lang="en-US" sz="900" dirty="0">
              <a:solidFill>
                <a:srgbClr val="000000"/>
              </a:solidFill>
            </a:endParaRPr>
          </a:p>
        </p:txBody>
      </p:sp>
      <p:sp>
        <p:nvSpPr>
          <p:cNvPr id="1036" name="Rectangle 286"/>
          <p:cNvSpPr>
            <a:spLocks noGrp="1" noChangeArrowheads="1"/>
          </p:cNvSpPr>
          <p:nvPr>
            <p:ph type="body" idx="1"/>
          </p:nvPr>
        </p:nvSpPr>
        <p:spPr bwMode="auto">
          <a:xfrm>
            <a:off x="1976213" y="2925409"/>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33278" y="234892"/>
            <a:ext cx="1172548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33260" y="27537"/>
            <a:ext cx="92012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841" fontAlgn="base">
              <a:spcBef>
                <a:spcPct val="0"/>
              </a:spcBef>
              <a:spcAft>
                <a:spcPct val="0"/>
              </a:spcAft>
            </a:pPr>
            <a:r>
              <a:rPr lang="en-US" sz="1500" dirty="0">
                <a:solidFill>
                  <a:srgbClr val="808080"/>
                </a:solidFill>
              </a:rPr>
              <a:t>TRACKER</a:t>
            </a:r>
          </a:p>
        </p:txBody>
      </p:sp>
      <p:sp>
        <p:nvSpPr>
          <p:cNvPr id="11" name="McK 3. Unit of measure" hidden="1"/>
          <p:cNvSpPr txBox="1">
            <a:spLocks noChangeArrowheads="1"/>
          </p:cNvSpPr>
          <p:nvPr/>
        </p:nvSpPr>
        <p:spPr bwMode="auto">
          <a:xfrm>
            <a:off x="233278" y="542961"/>
            <a:ext cx="1172548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4" name="McK Slide Elements" hidden="1"/>
          <p:cNvGrpSpPr/>
          <p:nvPr userDrawn="1"/>
        </p:nvGrpSpPr>
        <p:grpSpPr bwMode="auto">
          <a:xfrm>
            <a:off x="233261" y="6190152"/>
            <a:ext cx="11725483" cy="536950"/>
            <a:chOff x="171451" y="6066618"/>
            <a:chExt cx="8618537" cy="526260"/>
          </a:xfrm>
        </p:grpSpPr>
        <p:sp>
          <p:nvSpPr>
            <p:cNvPr id="13" name="McK 4. Footnote"/>
            <p:cNvSpPr txBox="1">
              <a:spLocks noChangeArrowheads="1"/>
            </p:cNvSpPr>
            <p:nvPr/>
          </p:nvSpPr>
          <p:spPr bwMode="auto">
            <a:xfrm>
              <a:off x="171451" y="6066618"/>
              <a:ext cx="8618537" cy="165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100" dirty="0">
                  <a:solidFill>
                    <a:srgbClr val="1F1F1F"/>
                  </a:solidFill>
                  <a:latin typeface="Arial"/>
                </a:rPr>
                <a:t>1 Footnote</a:t>
              </a:r>
            </a:p>
          </p:txBody>
        </p:sp>
        <p:sp>
          <p:nvSpPr>
            <p:cNvPr id="14" name="McK 5. Source"/>
            <p:cNvSpPr>
              <a:spLocks noChangeArrowheads="1"/>
            </p:cNvSpPr>
            <p:nvPr/>
          </p:nvSpPr>
          <p:spPr bwMode="auto">
            <a:xfrm>
              <a:off x="171452" y="6426971"/>
              <a:ext cx="8258174" cy="165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0908" indent="-620908" defTabSz="911965" fontAlgn="base">
                <a:spcBef>
                  <a:spcPct val="0"/>
                </a:spcBef>
                <a:spcAft>
                  <a:spcPct val="0"/>
                </a:spcAft>
                <a:tabLst>
                  <a:tab pos="624142" algn="l"/>
                </a:tabLst>
              </a:pPr>
              <a:r>
                <a:rPr lang="en-US" sz="1100" dirty="0">
                  <a:solidFill>
                    <a:srgbClr val="1F1F1F"/>
                  </a:solidFill>
                </a:rPr>
                <a:t>SOURCE: Source</a:t>
              </a:r>
            </a:p>
          </p:txBody>
        </p:sp>
      </p:grpSp>
      <p:grpSp>
        <p:nvGrpSpPr>
          <p:cNvPr id="15" name="ACET" hidden="1"/>
          <p:cNvGrpSpPr>
            <a:grpSpLocks/>
          </p:cNvGrpSpPr>
          <p:nvPr/>
        </p:nvGrpSpPr>
        <p:grpSpPr bwMode="auto">
          <a:xfrm>
            <a:off x="1976213" y="2336152"/>
            <a:ext cx="5853024" cy="510221"/>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841" fontAlgn="base">
                <a:spcBef>
                  <a:spcPct val="0"/>
                </a:spcBef>
                <a:spcAft>
                  <a:spcPct val="0"/>
                </a:spcAft>
              </a:pPr>
              <a:r>
                <a:rPr lang="en-US" sz="1600" b="1" dirty="0">
                  <a:solidFill>
                    <a:srgbClr val="1F1F1F"/>
                  </a:solidFill>
                </a:rPr>
                <a:t>Title</a:t>
              </a:r>
            </a:p>
            <a:p>
              <a:pPr defTabSz="912841" fontAlgn="base">
                <a:spcBef>
                  <a:spcPct val="0"/>
                </a:spcBef>
                <a:spcAft>
                  <a:spcPct val="0"/>
                </a:spcAft>
              </a:pPr>
              <a:r>
                <a:rPr lang="en-US" sz="1600" dirty="0">
                  <a:solidFill>
                    <a:srgbClr val="808080"/>
                  </a:solidFill>
                </a:rPr>
                <a:t>Unit of measure</a:t>
              </a:r>
            </a:p>
          </p:txBody>
        </p:sp>
      </p:grpSp>
      <p:grpSp>
        <p:nvGrpSpPr>
          <p:cNvPr id="21" name="LegendBoxes" hidden="1"/>
          <p:cNvGrpSpPr>
            <a:grpSpLocks/>
          </p:cNvGrpSpPr>
          <p:nvPr userDrawn="1"/>
        </p:nvGrpSpPr>
        <p:grpSpPr bwMode="auto">
          <a:xfrm>
            <a:off x="10920374" y="292452"/>
            <a:ext cx="855279" cy="1013966"/>
            <a:chOff x="4936" y="176"/>
            <a:chExt cx="396" cy="626"/>
          </a:xfrm>
        </p:grpSpPr>
        <p:sp>
          <p:nvSpPr>
            <p:cNvPr id="22"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2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sp>
          <p:nvSpPr>
            <p:cNvPr id="24"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sp>
          <p:nvSpPr>
            <p:cNvPr id="26"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2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sp>
          <p:nvSpPr>
            <p:cNvPr id="28"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2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grpSp>
      <p:grpSp>
        <p:nvGrpSpPr>
          <p:cNvPr id="30" name="LegendLines" hidden="1"/>
          <p:cNvGrpSpPr>
            <a:grpSpLocks/>
          </p:cNvGrpSpPr>
          <p:nvPr userDrawn="1"/>
        </p:nvGrpSpPr>
        <p:grpSpPr bwMode="auto">
          <a:xfrm>
            <a:off x="10500440" y="292467"/>
            <a:ext cx="1274276" cy="741847"/>
            <a:chOff x="4750" y="176"/>
            <a:chExt cx="590" cy="458"/>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841" fontAlgn="base">
                <a:spcBef>
                  <a:spcPct val="0"/>
                </a:spcBef>
                <a:spcAft>
                  <a:spcPct val="0"/>
                </a:spcAft>
              </a:pPr>
              <a:endParaRPr lang="en-US" sz="1600" dirty="0">
                <a:solidFill>
                  <a:srgbClr val="1F1F1F"/>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841" fontAlgn="base">
                <a:spcBef>
                  <a:spcPct val="0"/>
                </a:spcBef>
                <a:spcAft>
                  <a:spcPct val="0"/>
                </a:spcAft>
              </a:pPr>
              <a:endParaRPr lang="en-US" sz="1600" dirty="0">
                <a:solidFill>
                  <a:srgbClr val="1F1F1F"/>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841" fontAlgn="base">
                <a:spcBef>
                  <a:spcPct val="0"/>
                </a:spcBef>
                <a:spcAft>
                  <a:spcPct val="0"/>
                </a:spcAft>
              </a:pPr>
              <a:endParaRPr lang="en-US" sz="1600" dirty="0">
                <a:solidFill>
                  <a:srgbClr val="1F1F1F"/>
                </a:solidFill>
              </a:endParaRPr>
            </a:p>
          </p:txBody>
        </p:sp>
        <p:sp>
          <p:nvSpPr>
            <p:cNvPr id="34"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35"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36"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grpSp>
      <p:grpSp>
        <p:nvGrpSpPr>
          <p:cNvPr id="37" name="McKSticker" hidden="1"/>
          <p:cNvGrpSpPr/>
          <p:nvPr userDrawn="1"/>
        </p:nvGrpSpPr>
        <p:grpSpPr bwMode="auto">
          <a:xfrm>
            <a:off x="10892517" y="292446"/>
            <a:ext cx="1066894" cy="212366"/>
            <a:chOff x="7956587" y="285750"/>
            <a:chExt cx="784188" cy="208132"/>
          </a:xfrm>
        </p:grpSpPr>
        <p:sp>
          <p:nvSpPr>
            <p:cNvPr id="38" name="StickerRectangle"/>
            <p:cNvSpPr>
              <a:spLocks noChangeArrowheads="1"/>
            </p:cNvSpPr>
            <p:nvPr/>
          </p:nvSpPr>
          <p:spPr bwMode="auto">
            <a:xfrm>
              <a:off x="7956587" y="285750"/>
              <a:ext cx="784188" cy="208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1965" fontAlgn="base">
                <a:spcBef>
                  <a:spcPct val="0"/>
                </a:spcBef>
                <a:spcAft>
                  <a:spcPct val="0"/>
                </a:spcAft>
                <a:buClr>
                  <a:srgbClr val="339966"/>
                </a:buClr>
              </a:pPr>
              <a:r>
                <a:rPr lang="en-US" sz="1200" dirty="0">
                  <a:solidFill>
                    <a:srgbClr val="808080"/>
                  </a:solidFill>
                </a:rPr>
                <a:t>PRELIMINARY</a:t>
              </a:r>
            </a:p>
          </p:txBody>
        </p:sp>
        <p:cxnSp>
          <p:nvCxnSpPr>
            <p:cNvPr id="39" name="AutoShape 31"/>
            <p:cNvCxnSpPr>
              <a:cxnSpLocks noChangeShapeType="1"/>
              <a:stCxn id="38" idx="2"/>
              <a:endCxn id="38" idx="4"/>
            </p:cNvCxnSpPr>
            <p:nvPr/>
          </p:nvCxnSpPr>
          <p:spPr bwMode="auto">
            <a:xfrm>
              <a:off x="7956587" y="285750"/>
              <a:ext cx="0" cy="20813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956587" y="493882"/>
              <a:ext cx="78418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1" name="LegendMoons" hidden="1"/>
          <p:cNvGrpSpPr/>
          <p:nvPr userDrawn="1"/>
        </p:nvGrpSpPr>
        <p:grpSpPr bwMode="auto">
          <a:xfrm>
            <a:off x="10828092" y="292451"/>
            <a:ext cx="946031" cy="1333055"/>
            <a:chOff x="7875175" y="286625"/>
            <a:chExt cx="695359" cy="1306516"/>
          </a:xfrm>
        </p:grpSpPr>
        <p:grpSp>
          <p:nvGrpSpPr>
            <p:cNvPr id="42" name="MoonLegend2"/>
            <p:cNvGrpSpPr>
              <a:grpSpLocks noChangeAspect="1"/>
            </p:cNvGrpSpPr>
            <p:nvPr>
              <p:custDataLst>
                <p:tags r:id="rId10"/>
              </p:custDataLst>
            </p:nvPr>
          </p:nvGrpSpPr>
          <p:grpSpPr bwMode="auto">
            <a:xfrm>
              <a:off x="7875175" y="560866"/>
              <a:ext cx="209550" cy="209551"/>
              <a:chOff x="1694" y="2044"/>
              <a:chExt cx="160" cy="160"/>
            </a:xfrm>
          </p:grpSpPr>
          <p:sp>
            <p:nvSpPr>
              <p:cNvPr id="6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sp>
            <p:nvSpPr>
              <p:cNvPr id="6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grpSp>
        <p:grpSp>
          <p:nvGrpSpPr>
            <p:cNvPr id="43" name="MoonLegend4"/>
            <p:cNvGrpSpPr>
              <a:grpSpLocks noChangeAspect="1"/>
            </p:cNvGrpSpPr>
            <p:nvPr>
              <p:custDataLst>
                <p:tags r:id="rId11"/>
              </p:custDataLst>
            </p:nvPr>
          </p:nvGrpSpPr>
          <p:grpSpPr bwMode="auto">
            <a:xfrm>
              <a:off x="7875175" y="1109348"/>
              <a:ext cx="209550" cy="209551"/>
              <a:chOff x="4495" y="1198"/>
              <a:chExt cx="160" cy="160"/>
            </a:xfrm>
          </p:grpSpPr>
          <p:sp>
            <p:nvSpPr>
              <p:cNvPr id="5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sp>
            <p:nvSpPr>
              <p:cNvPr id="5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grpSp>
        <p:grpSp>
          <p:nvGrpSpPr>
            <p:cNvPr id="44" name="MoonLegend5"/>
            <p:cNvGrpSpPr>
              <a:grpSpLocks noChangeAspect="1"/>
            </p:cNvGrpSpPr>
            <p:nvPr>
              <p:custDataLst>
                <p:tags r:id="rId12"/>
              </p:custDataLst>
            </p:nvPr>
          </p:nvGrpSpPr>
          <p:grpSpPr bwMode="auto">
            <a:xfrm>
              <a:off x="7875175" y="1383590"/>
              <a:ext cx="209550" cy="209551"/>
              <a:chOff x="4495" y="1440"/>
              <a:chExt cx="160" cy="160"/>
            </a:xfrm>
          </p:grpSpPr>
          <p:sp>
            <p:nvSpPr>
              <p:cNvPr id="5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sp>
            <p:nvSpPr>
              <p:cNvPr id="5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grpSp>
        <p:sp>
          <p:nvSpPr>
            <p:cNvPr id="45" name="Legend1"/>
            <p:cNvSpPr>
              <a:spLocks noChangeArrowheads="1"/>
            </p:cNvSpPr>
            <p:nvPr/>
          </p:nvSpPr>
          <p:spPr bwMode="auto">
            <a:xfrm>
              <a:off x="8195850" y="29932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46" name="Legend2"/>
            <p:cNvSpPr>
              <a:spLocks noChangeArrowheads="1"/>
            </p:cNvSpPr>
            <p:nvPr/>
          </p:nvSpPr>
          <p:spPr bwMode="auto">
            <a:xfrm>
              <a:off x="8195850" y="573963"/>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47" name="Legend3"/>
            <p:cNvSpPr>
              <a:spLocks noChangeArrowheads="1"/>
            </p:cNvSpPr>
            <p:nvPr/>
          </p:nvSpPr>
          <p:spPr bwMode="auto">
            <a:xfrm>
              <a:off x="8195850" y="848602"/>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48" name="Legend4"/>
            <p:cNvSpPr>
              <a:spLocks noChangeArrowheads="1"/>
            </p:cNvSpPr>
            <p:nvPr/>
          </p:nvSpPr>
          <p:spPr bwMode="auto">
            <a:xfrm>
              <a:off x="8195850" y="112006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sp>
          <p:nvSpPr>
            <p:cNvPr id="49" name="Legend5"/>
            <p:cNvSpPr>
              <a:spLocks noChangeArrowheads="1"/>
            </p:cNvSpPr>
            <p:nvPr/>
          </p:nvSpPr>
          <p:spPr bwMode="auto">
            <a:xfrm>
              <a:off x="8195850" y="139629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65" fontAlgn="base">
                <a:spcBef>
                  <a:spcPct val="0"/>
                </a:spcBef>
                <a:spcAft>
                  <a:spcPct val="0"/>
                </a:spcAft>
                <a:buClr>
                  <a:srgbClr val="339966"/>
                </a:buClr>
              </a:pPr>
              <a:r>
                <a:rPr lang="en-US" sz="1200" dirty="0">
                  <a:solidFill>
                    <a:srgbClr val="1F1F1F"/>
                  </a:solidFill>
                </a:rPr>
                <a:t>Legend</a:t>
              </a:r>
            </a:p>
          </p:txBody>
        </p:sp>
        <p:grpSp>
          <p:nvGrpSpPr>
            <p:cNvPr id="50" name="MoonLegend3"/>
            <p:cNvGrpSpPr>
              <a:grpSpLocks noChangeAspect="1"/>
            </p:cNvGrpSpPr>
            <p:nvPr>
              <p:custDataLst>
                <p:tags r:id="rId13"/>
              </p:custDataLst>
            </p:nvPr>
          </p:nvGrpSpPr>
          <p:grpSpPr bwMode="auto">
            <a:xfrm>
              <a:off x="7875175" y="835107"/>
              <a:ext cx="209550" cy="209551"/>
              <a:chOff x="4495" y="1198"/>
              <a:chExt cx="160" cy="160"/>
            </a:xfrm>
          </p:grpSpPr>
          <p:sp>
            <p:nvSpPr>
              <p:cNvPr id="5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sp>
            <p:nvSpPr>
              <p:cNvPr id="5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grpSp>
        <p:grpSp>
          <p:nvGrpSpPr>
            <p:cNvPr id="51"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5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sp>
            <p:nvSpPr>
              <p:cNvPr id="5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41" fontAlgn="base">
                  <a:spcBef>
                    <a:spcPct val="0"/>
                  </a:spcBef>
                  <a:spcAft>
                    <a:spcPct val="0"/>
                  </a:spcAft>
                </a:pPr>
                <a:endParaRPr lang="en-US" sz="1600" dirty="0">
                  <a:solidFill>
                    <a:srgbClr val="1F1F1F"/>
                  </a:solidFill>
                </a:endParaRPr>
              </a:p>
            </p:txBody>
          </p:sp>
        </p:grpSp>
      </p:grpSp>
    </p:spTree>
    <p:extLst>
      <p:ext uri="{BB962C8B-B14F-4D97-AF65-F5344CB8AC3E}">
        <p14:creationId xmlns:p14="http://schemas.microsoft.com/office/powerpoint/2010/main" val="2305745598"/>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8" r:id="rId4"/>
    <p:sldLayoutId id="2147484259" r:id="rId5"/>
  </p:sldLayoutIdLst>
  <p:hf hdr="0" ftr="0" dt="0"/>
  <p:txStyles>
    <p:titleStyle>
      <a:lvl1pPr algn="l" defTabSz="911965" rtl="0" eaLnBrk="1" fontAlgn="base" hangingPunct="1">
        <a:spcBef>
          <a:spcPct val="0"/>
        </a:spcBef>
        <a:spcAft>
          <a:spcPct val="0"/>
        </a:spcAft>
        <a:tabLst>
          <a:tab pos="274886" algn="l"/>
        </a:tabLst>
        <a:defRPr sz="1900" b="1" baseline="0">
          <a:solidFill>
            <a:srgbClr val="26734D"/>
          </a:solidFill>
          <a:latin typeface="+mj-lt"/>
          <a:ea typeface="+mj-ea"/>
          <a:cs typeface="+mj-cs"/>
        </a:defRPr>
      </a:lvl1pPr>
      <a:lvl2pPr algn="l" defTabSz="911965" rtl="0" eaLnBrk="1" fontAlgn="base" hangingPunct="1">
        <a:spcBef>
          <a:spcPct val="0"/>
        </a:spcBef>
        <a:spcAft>
          <a:spcPct val="0"/>
        </a:spcAft>
        <a:defRPr sz="1900" b="1">
          <a:solidFill>
            <a:schemeClr val="tx2"/>
          </a:solidFill>
          <a:latin typeface="Arial" charset="0"/>
        </a:defRPr>
      </a:lvl2pPr>
      <a:lvl3pPr algn="l" defTabSz="911965" rtl="0" eaLnBrk="1" fontAlgn="base" hangingPunct="1">
        <a:spcBef>
          <a:spcPct val="0"/>
        </a:spcBef>
        <a:spcAft>
          <a:spcPct val="0"/>
        </a:spcAft>
        <a:defRPr sz="1900" b="1">
          <a:solidFill>
            <a:schemeClr val="tx2"/>
          </a:solidFill>
          <a:latin typeface="Arial" charset="0"/>
        </a:defRPr>
      </a:lvl3pPr>
      <a:lvl4pPr algn="l" defTabSz="911965" rtl="0" eaLnBrk="1" fontAlgn="base" hangingPunct="1">
        <a:spcBef>
          <a:spcPct val="0"/>
        </a:spcBef>
        <a:spcAft>
          <a:spcPct val="0"/>
        </a:spcAft>
        <a:defRPr sz="1900" b="1">
          <a:solidFill>
            <a:schemeClr val="tx2"/>
          </a:solidFill>
          <a:latin typeface="Arial" charset="0"/>
        </a:defRPr>
      </a:lvl4pPr>
      <a:lvl5pPr algn="l" defTabSz="911965" rtl="0" eaLnBrk="1" fontAlgn="base" hangingPunct="1">
        <a:spcBef>
          <a:spcPct val="0"/>
        </a:spcBef>
        <a:spcAft>
          <a:spcPct val="0"/>
        </a:spcAft>
        <a:defRPr sz="1900" b="1">
          <a:solidFill>
            <a:schemeClr val="tx2"/>
          </a:solidFill>
          <a:latin typeface="Arial" charset="0"/>
        </a:defRPr>
      </a:lvl5pPr>
      <a:lvl6pPr marL="465678" algn="l" defTabSz="911965" rtl="0" eaLnBrk="1" fontAlgn="base" hangingPunct="1">
        <a:spcBef>
          <a:spcPct val="0"/>
        </a:spcBef>
        <a:spcAft>
          <a:spcPct val="0"/>
        </a:spcAft>
        <a:defRPr sz="1900" b="1">
          <a:solidFill>
            <a:schemeClr val="tx2"/>
          </a:solidFill>
          <a:latin typeface="Arial" charset="0"/>
        </a:defRPr>
      </a:lvl6pPr>
      <a:lvl7pPr marL="931369" algn="l" defTabSz="911965" rtl="0" eaLnBrk="1" fontAlgn="base" hangingPunct="1">
        <a:spcBef>
          <a:spcPct val="0"/>
        </a:spcBef>
        <a:spcAft>
          <a:spcPct val="0"/>
        </a:spcAft>
        <a:defRPr sz="1900" b="1">
          <a:solidFill>
            <a:schemeClr val="tx2"/>
          </a:solidFill>
          <a:latin typeface="Arial" charset="0"/>
        </a:defRPr>
      </a:lvl7pPr>
      <a:lvl8pPr marL="1397056" algn="l" defTabSz="911965" rtl="0" eaLnBrk="1" fontAlgn="base" hangingPunct="1">
        <a:spcBef>
          <a:spcPct val="0"/>
        </a:spcBef>
        <a:spcAft>
          <a:spcPct val="0"/>
        </a:spcAft>
        <a:defRPr sz="1900" b="1">
          <a:solidFill>
            <a:schemeClr val="tx2"/>
          </a:solidFill>
          <a:latin typeface="Arial" charset="0"/>
        </a:defRPr>
      </a:lvl8pPr>
      <a:lvl9pPr marL="1862737" algn="l" defTabSz="911965" rtl="0" eaLnBrk="1" fontAlgn="base" hangingPunct="1">
        <a:spcBef>
          <a:spcPct val="0"/>
        </a:spcBef>
        <a:spcAft>
          <a:spcPct val="0"/>
        </a:spcAft>
        <a:defRPr sz="1900" b="1">
          <a:solidFill>
            <a:schemeClr val="tx2"/>
          </a:solidFill>
          <a:latin typeface="Arial" charset="0"/>
        </a:defRPr>
      </a:lvl9pPr>
    </p:titleStyle>
    <p:bodyStyle>
      <a:lvl1pPr marL="0" indent="0" algn="l" defTabSz="91196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278" indent="-195660" algn="l" defTabSz="91196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678" indent="-266799" algn="l" defTabSz="91196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5761" indent="-158464" algn="l" defTabSz="91196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3726" indent="-132587" algn="l" defTabSz="9119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3726" indent="-132587" algn="l" defTabSz="9119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3726" indent="-132587" algn="l" defTabSz="9119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3726" indent="-132587" algn="l" defTabSz="9119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3726" indent="-132587" algn="l" defTabSz="9119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369" rtl="0" eaLnBrk="1" latinLnBrk="0" hangingPunct="1">
        <a:defRPr sz="1900" kern="1200">
          <a:solidFill>
            <a:schemeClr val="tx1"/>
          </a:solidFill>
          <a:latin typeface="+mn-lt"/>
          <a:ea typeface="+mn-ea"/>
          <a:cs typeface="+mn-cs"/>
        </a:defRPr>
      </a:lvl1pPr>
      <a:lvl2pPr marL="465678" algn="l" defTabSz="931369" rtl="0" eaLnBrk="1" latinLnBrk="0" hangingPunct="1">
        <a:defRPr sz="1900" kern="1200">
          <a:solidFill>
            <a:schemeClr val="tx1"/>
          </a:solidFill>
          <a:latin typeface="+mn-lt"/>
          <a:ea typeface="+mn-ea"/>
          <a:cs typeface="+mn-cs"/>
        </a:defRPr>
      </a:lvl2pPr>
      <a:lvl3pPr marL="931369" algn="l" defTabSz="931369" rtl="0" eaLnBrk="1" latinLnBrk="0" hangingPunct="1">
        <a:defRPr sz="1900" kern="1200">
          <a:solidFill>
            <a:schemeClr val="tx1"/>
          </a:solidFill>
          <a:latin typeface="+mn-lt"/>
          <a:ea typeface="+mn-ea"/>
          <a:cs typeface="+mn-cs"/>
        </a:defRPr>
      </a:lvl3pPr>
      <a:lvl4pPr marL="1397056" algn="l" defTabSz="931369" rtl="0" eaLnBrk="1" latinLnBrk="0" hangingPunct="1">
        <a:defRPr sz="1900" kern="1200">
          <a:solidFill>
            <a:schemeClr val="tx1"/>
          </a:solidFill>
          <a:latin typeface="+mn-lt"/>
          <a:ea typeface="+mn-ea"/>
          <a:cs typeface="+mn-cs"/>
        </a:defRPr>
      </a:lvl4pPr>
      <a:lvl5pPr marL="1862737" algn="l" defTabSz="931369" rtl="0" eaLnBrk="1" latinLnBrk="0" hangingPunct="1">
        <a:defRPr sz="1900" kern="1200">
          <a:solidFill>
            <a:schemeClr val="tx1"/>
          </a:solidFill>
          <a:latin typeface="+mn-lt"/>
          <a:ea typeface="+mn-ea"/>
          <a:cs typeface="+mn-cs"/>
        </a:defRPr>
      </a:lvl5pPr>
      <a:lvl6pPr marL="2328425" algn="l" defTabSz="931369" rtl="0" eaLnBrk="1" latinLnBrk="0" hangingPunct="1">
        <a:defRPr sz="1900" kern="1200">
          <a:solidFill>
            <a:schemeClr val="tx1"/>
          </a:solidFill>
          <a:latin typeface="+mn-lt"/>
          <a:ea typeface="+mn-ea"/>
          <a:cs typeface="+mn-cs"/>
        </a:defRPr>
      </a:lvl6pPr>
      <a:lvl7pPr marL="2794108" algn="l" defTabSz="931369" rtl="0" eaLnBrk="1" latinLnBrk="0" hangingPunct="1">
        <a:defRPr sz="1900" kern="1200">
          <a:solidFill>
            <a:schemeClr val="tx1"/>
          </a:solidFill>
          <a:latin typeface="+mn-lt"/>
          <a:ea typeface="+mn-ea"/>
          <a:cs typeface="+mn-cs"/>
        </a:defRPr>
      </a:lvl7pPr>
      <a:lvl8pPr marL="3259791" algn="l" defTabSz="931369" rtl="0" eaLnBrk="1" latinLnBrk="0" hangingPunct="1">
        <a:defRPr sz="1900" kern="1200">
          <a:solidFill>
            <a:schemeClr val="tx1"/>
          </a:solidFill>
          <a:latin typeface="+mn-lt"/>
          <a:ea typeface="+mn-ea"/>
          <a:cs typeface="+mn-cs"/>
        </a:defRPr>
      </a:lvl8pPr>
      <a:lvl9pPr marL="3725477" algn="l" defTabSz="931369"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9FB082-FBF6-4A25-AF0F-2CC496B55C54}"/>
              </a:ext>
            </a:extLst>
          </p:cNvPr>
          <p:cNvGraphicFramePr>
            <a:graphicFrameLocks noChangeAspect="1"/>
          </p:cNvGraphicFramePr>
          <p:nvPr userDrawn="1">
            <p:custDataLst>
              <p:tags r:id="rId14"/>
            </p:custDataLst>
            <p:extLst/>
          </p:nvPr>
        </p:nvGraphicFramePr>
        <p:xfrm>
          <a:off x="1591" y="1616"/>
          <a:ext cx="1586" cy="1587"/>
        </p:xfrm>
        <a:graphic>
          <a:graphicData uri="http://schemas.openxmlformats.org/presentationml/2006/ole">
            <mc:AlternateContent xmlns:mc="http://schemas.openxmlformats.org/markup-compatibility/2006">
              <mc:Choice xmlns:v="urn:schemas-microsoft-com:vml" Requires="v">
                <p:oleObj spid="_x0000_s37691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1" y="1616"/>
                        <a:ext cx="158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ED839C-2D26-4958-A7A0-3FB9CD027AC0}"/>
              </a:ext>
            </a:extLst>
          </p:cNvPr>
          <p:cNvSpPr/>
          <p:nvPr userDrawn="1">
            <p:custDataLst>
              <p:tags r:id="rId15"/>
            </p:custDataLst>
          </p:nvPr>
        </p:nvSpPr>
        <p:spPr>
          <a:xfrm>
            <a:off x="2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2173">
              <a:lnSpc>
                <a:spcPct val="90000"/>
              </a:lnSpc>
              <a:spcBef>
                <a:spcPct val="0"/>
              </a:spcBef>
              <a:spcAft>
                <a:spcPct val="0"/>
              </a:spcAft>
            </a:pPr>
            <a:endParaRPr lang="en-US" sz="4400" dirty="0">
              <a:solidFill>
                <a:prstClr val="white"/>
              </a:solidFill>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6"/>
            <a:ext cx="10515600" cy="1325563"/>
          </a:xfrm>
          <a:prstGeom prst="rect">
            <a:avLst/>
          </a:prstGeom>
        </p:spPr>
        <p:txBody>
          <a:bodyPr vert="horz" lIns="91218" tIns="45609" rIns="91218" bIns="45609"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218" tIns="45609" rIns="91218" bIns="4560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502"/>
            <a:ext cx="2743201" cy="365125"/>
          </a:xfrm>
          <a:prstGeom prst="rect">
            <a:avLst/>
          </a:prstGeom>
        </p:spPr>
        <p:txBody>
          <a:bodyPr vert="horz" lIns="91218" tIns="45609" rIns="91218" bIns="45609" rtlCol="0" anchor="ctr"/>
          <a:lstStyle>
            <a:lvl1pPr algn="l">
              <a:defRPr sz="1200">
                <a:solidFill>
                  <a:schemeClr val="tx1">
                    <a:tint val="75000"/>
                  </a:schemeClr>
                </a:solidFill>
              </a:defRPr>
            </a:lvl1pPr>
          </a:lstStyle>
          <a:p>
            <a:pPr defTabSz="912173"/>
            <a:fld id="{B8677668-0F9E-4D0D-9204-EA768108C69F}" type="datetime1">
              <a:rPr lang="en-US" smtClean="0">
                <a:solidFill>
                  <a:prstClr val="black">
                    <a:tint val="75000"/>
                  </a:prstClr>
                </a:solidFill>
              </a:rPr>
              <a:pPr defTabSz="912173"/>
              <a:t>4/30/20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1" y="6356502"/>
            <a:ext cx="4114800" cy="365125"/>
          </a:xfrm>
          <a:prstGeom prst="rect">
            <a:avLst/>
          </a:prstGeom>
        </p:spPr>
        <p:txBody>
          <a:bodyPr vert="horz" lIns="91218" tIns="45609" rIns="91218" bIns="45609" rtlCol="0" anchor="ctr"/>
          <a:lstStyle>
            <a:lvl1pPr algn="ctr">
              <a:defRPr sz="1200">
                <a:solidFill>
                  <a:schemeClr val="tx1">
                    <a:tint val="75000"/>
                  </a:schemeClr>
                </a:solidFill>
              </a:defRPr>
            </a:lvl1pPr>
          </a:lstStyle>
          <a:p>
            <a:pPr defTabSz="912173"/>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599" y="6356502"/>
            <a:ext cx="2743201" cy="365125"/>
          </a:xfrm>
          <a:prstGeom prst="rect">
            <a:avLst/>
          </a:prstGeom>
        </p:spPr>
        <p:txBody>
          <a:bodyPr vert="horz" lIns="91218" tIns="45609" rIns="91218" bIns="45609" rtlCol="0" anchor="ctr"/>
          <a:lstStyle>
            <a:lvl1pPr algn="r">
              <a:defRPr sz="1200">
                <a:solidFill>
                  <a:schemeClr val="tx1">
                    <a:tint val="75000"/>
                  </a:schemeClr>
                </a:solidFill>
              </a:defRPr>
            </a:lvl1pPr>
          </a:lstStyle>
          <a:p>
            <a:pPr defTabSz="912173"/>
            <a:fld id="{48F63A3B-78C7-47BE-AE5E-E10140E04643}" type="slidenum">
              <a:rPr lang="en-US" smtClean="0">
                <a:solidFill>
                  <a:prstClr val="black">
                    <a:tint val="75000"/>
                  </a:prstClr>
                </a:solidFill>
              </a:rPr>
              <a:pPr defTabSz="912173"/>
              <a:t>‹#›</a:t>
            </a:fld>
            <a:endParaRPr lang="en-US" dirty="0">
              <a:solidFill>
                <a:prstClr val="black">
                  <a:tint val="75000"/>
                </a:prstClr>
              </a:solidFill>
            </a:endParaRPr>
          </a:p>
        </p:txBody>
      </p:sp>
      <p:sp>
        <p:nvSpPr>
          <p:cNvPr id="8" name="TextBox 7">
            <a:extLst>
              <a:ext uri="{FF2B5EF4-FFF2-40B4-BE49-F238E27FC236}">
                <a16:creationId xmlns:a16="http://schemas.microsoft.com/office/drawing/2014/main" id="{0FF1DBC5-5F37-4F5F-9ACA-DA091C424BE7}"/>
              </a:ext>
            </a:extLst>
          </p:cNvPr>
          <p:cNvSpPr txBox="1"/>
          <p:nvPr userDrawn="1"/>
        </p:nvSpPr>
        <p:spPr>
          <a:xfrm>
            <a:off x="0" y="6447540"/>
            <a:ext cx="12192000" cy="384497"/>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218" tIns="45609" rIns="91218" bIns="45609" rtlCol="0">
            <a:spAutoFit/>
          </a:bodyPr>
          <a:lstStyle/>
          <a:p>
            <a:pPr algn="ctr" defTabSz="912173"/>
            <a:r>
              <a:rPr lang="en-US" sz="1900">
                <a:solidFill>
                  <a:prstClr val="white"/>
                </a:solidFill>
              </a:rPr>
              <a:t>NPHCDA </a:t>
            </a:r>
            <a:r>
              <a:rPr lang="en-US" sz="1900" dirty="0">
                <a:solidFill>
                  <a:prstClr val="white"/>
                </a:solidFill>
              </a:rPr>
              <a:t>– National Primary Health Care Development Agency</a:t>
            </a:r>
          </a:p>
        </p:txBody>
      </p:sp>
      <p:pic>
        <p:nvPicPr>
          <p:cNvPr id="9" name="Picture 8">
            <a:extLst>
              <a:ext uri="{FF2B5EF4-FFF2-40B4-BE49-F238E27FC236}">
                <a16:creationId xmlns:a16="http://schemas.microsoft.com/office/drawing/2014/main" id="{E633FD98-DD5F-445C-8B80-288591839D59}"/>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 y="0"/>
            <a:ext cx="1009651" cy="857250"/>
          </a:xfrm>
          <a:prstGeom prst="rect">
            <a:avLst/>
          </a:prstGeom>
        </p:spPr>
      </p:pic>
      <p:pic>
        <p:nvPicPr>
          <p:cNvPr id="10" name="Picture 9">
            <a:extLst>
              <a:ext uri="{FF2B5EF4-FFF2-40B4-BE49-F238E27FC236}">
                <a16:creationId xmlns:a16="http://schemas.microsoft.com/office/drawing/2014/main" id="{D9D8FF22-52BD-4BB6-9A1F-FCC91A7991DD}"/>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1191876" y="17"/>
            <a:ext cx="1000125" cy="914400"/>
          </a:xfrm>
          <a:prstGeom prst="rect">
            <a:avLst/>
          </a:prstGeom>
        </p:spPr>
      </p:pic>
    </p:spTree>
    <p:extLst>
      <p:ext uri="{BB962C8B-B14F-4D97-AF65-F5344CB8AC3E}">
        <p14:creationId xmlns:p14="http://schemas.microsoft.com/office/powerpoint/2010/main" val="1119356299"/>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8" r:id="rId6"/>
    <p:sldLayoutId id="2147484279" r:id="rId7"/>
    <p:sldLayoutId id="2147484280" r:id="rId8"/>
    <p:sldLayoutId id="2147484281" r:id="rId9"/>
    <p:sldLayoutId id="2147484282" r:id="rId10"/>
    <p:sldLayoutId id="2147484283" r:id="rId11"/>
  </p:sldLayoutIdLst>
  <p:hf hdr="0" ftr="0" dt="0"/>
  <p:txStyles>
    <p:titleStyle>
      <a:lvl1pPr algn="l" defTabSz="91217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038" indent="-228038" algn="l" defTabSz="91217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4127" indent="-228038" algn="l" defTabSz="91217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0218" indent="-228038" algn="l" defTabSz="91217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6305" indent="-228038" algn="l" defTabSz="9121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2393" indent="-228038" algn="l" defTabSz="9121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08478" indent="-228038" algn="l" defTabSz="9121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4564" indent="-228038" algn="l" defTabSz="9121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0650" indent="-228038" algn="l" defTabSz="9121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76737" indent="-228038" algn="l" defTabSz="9121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2173" rtl="0" eaLnBrk="1" latinLnBrk="0" hangingPunct="1">
        <a:defRPr sz="1800" kern="1200">
          <a:solidFill>
            <a:schemeClr val="tx1"/>
          </a:solidFill>
          <a:latin typeface="+mn-lt"/>
          <a:ea typeface="+mn-ea"/>
          <a:cs typeface="+mn-cs"/>
        </a:defRPr>
      </a:lvl1pPr>
      <a:lvl2pPr marL="456088" algn="l" defTabSz="912173" rtl="0" eaLnBrk="1" latinLnBrk="0" hangingPunct="1">
        <a:defRPr sz="1800" kern="1200">
          <a:solidFill>
            <a:schemeClr val="tx1"/>
          </a:solidFill>
          <a:latin typeface="+mn-lt"/>
          <a:ea typeface="+mn-ea"/>
          <a:cs typeface="+mn-cs"/>
        </a:defRPr>
      </a:lvl2pPr>
      <a:lvl3pPr marL="912173" algn="l" defTabSz="912173" rtl="0" eaLnBrk="1" latinLnBrk="0" hangingPunct="1">
        <a:defRPr sz="1800" kern="1200">
          <a:solidFill>
            <a:schemeClr val="tx1"/>
          </a:solidFill>
          <a:latin typeface="+mn-lt"/>
          <a:ea typeface="+mn-ea"/>
          <a:cs typeface="+mn-cs"/>
        </a:defRPr>
      </a:lvl3pPr>
      <a:lvl4pPr marL="1368260" algn="l" defTabSz="912173" rtl="0" eaLnBrk="1" latinLnBrk="0" hangingPunct="1">
        <a:defRPr sz="1800" kern="1200">
          <a:solidFill>
            <a:schemeClr val="tx1"/>
          </a:solidFill>
          <a:latin typeface="+mn-lt"/>
          <a:ea typeface="+mn-ea"/>
          <a:cs typeface="+mn-cs"/>
        </a:defRPr>
      </a:lvl4pPr>
      <a:lvl5pPr marL="1824346" algn="l" defTabSz="912173" rtl="0" eaLnBrk="1" latinLnBrk="0" hangingPunct="1">
        <a:defRPr sz="1800" kern="1200">
          <a:solidFill>
            <a:schemeClr val="tx1"/>
          </a:solidFill>
          <a:latin typeface="+mn-lt"/>
          <a:ea typeface="+mn-ea"/>
          <a:cs typeface="+mn-cs"/>
        </a:defRPr>
      </a:lvl5pPr>
      <a:lvl6pPr marL="2280433" algn="l" defTabSz="912173" rtl="0" eaLnBrk="1" latinLnBrk="0" hangingPunct="1">
        <a:defRPr sz="1800" kern="1200">
          <a:solidFill>
            <a:schemeClr val="tx1"/>
          </a:solidFill>
          <a:latin typeface="+mn-lt"/>
          <a:ea typeface="+mn-ea"/>
          <a:cs typeface="+mn-cs"/>
        </a:defRPr>
      </a:lvl6pPr>
      <a:lvl7pPr marL="2736522" algn="l" defTabSz="912173" rtl="0" eaLnBrk="1" latinLnBrk="0" hangingPunct="1">
        <a:defRPr sz="1800" kern="1200">
          <a:solidFill>
            <a:schemeClr val="tx1"/>
          </a:solidFill>
          <a:latin typeface="+mn-lt"/>
          <a:ea typeface="+mn-ea"/>
          <a:cs typeface="+mn-cs"/>
        </a:defRPr>
      </a:lvl7pPr>
      <a:lvl8pPr marL="3192606" algn="l" defTabSz="912173" rtl="0" eaLnBrk="1" latinLnBrk="0" hangingPunct="1">
        <a:defRPr sz="1800" kern="1200">
          <a:solidFill>
            <a:schemeClr val="tx1"/>
          </a:solidFill>
          <a:latin typeface="+mn-lt"/>
          <a:ea typeface="+mn-ea"/>
          <a:cs typeface="+mn-cs"/>
        </a:defRPr>
      </a:lvl8pPr>
      <a:lvl9pPr marL="3648695" algn="l" defTabSz="91217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384079"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1" y="1595"/>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1123411" y="365132"/>
            <a:ext cx="9274627" cy="1325563"/>
          </a:xfrm>
          <a:prstGeom prst="rect">
            <a:avLst/>
          </a:prstGeom>
        </p:spPr>
        <p:txBody>
          <a:bodyPr vert="horz" lIns="91384" tIns="45698" rIns="91384" bIns="45698"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7"/>
            <a:ext cx="10515600" cy="4351339"/>
          </a:xfrm>
          <a:prstGeom prst="rect">
            <a:avLst/>
          </a:prstGeom>
        </p:spPr>
        <p:txBody>
          <a:bodyPr vert="horz" lIns="91384" tIns="45698" rIns="91384" bIns="45698"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0" y="6447697"/>
            <a:ext cx="12192000" cy="384676"/>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wrap="square" lIns="91384" tIns="45698" rIns="91384" bIns="45698" rtlCol="0">
            <a:spAutoFit/>
          </a:bodyPr>
          <a:lstStyle/>
          <a:p>
            <a:pPr algn="ctr"/>
            <a:r>
              <a:rPr lang="en-US" sz="1900" dirty="0">
                <a:solidFill>
                  <a:prstClr val="white"/>
                </a:solidFill>
              </a:rPr>
              <a:t>NPHCDA – National Primary Health Care Development Agency</a:t>
            </a:r>
          </a:p>
        </p:txBody>
      </p:sp>
      <p:pic>
        <p:nvPicPr>
          <p:cNvPr id="8" name="Picture 7"/>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 y="5"/>
            <a:ext cx="1009651" cy="857251"/>
          </a:xfrm>
          <a:prstGeom prst="rect">
            <a:avLst/>
          </a:prstGeom>
        </p:spPr>
      </p:pic>
      <p:pic>
        <p:nvPicPr>
          <p:cNvPr id="9" name="Picture 8"/>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1191876" y="3"/>
            <a:ext cx="1000125" cy="914400"/>
          </a:xfrm>
          <a:prstGeom prst="rect">
            <a:avLst/>
          </a:prstGeom>
        </p:spPr>
      </p:pic>
    </p:spTree>
    <p:extLst>
      <p:ext uri="{BB962C8B-B14F-4D97-AF65-F5344CB8AC3E}">
        <p14:creationId xmlns:p14="http://schemas.microsoft.com/office/powerpoint/2010/main" val="932092111"/>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Lst>
  <p:hf hdr="0" ftr="0" dt="0"/>
  <p:txStyles>
    <p:titleStyle>
      <a:lvl1pPr algn="l" defTabSz="91378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449" indent="-228449" algn="l" defTabSz="9137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348" indent="-228449" algn="l" defTabSz="9137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233"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9122"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6012"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2907"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9803"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6693"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3591" indent="-228449" algn="l" defTabSz="9137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786" rtl="0" eaLnBrk="1" latinLnBrk="0" hangingPunct="1">
        <a:defRPr sz="1900" kern="1200">
          <a:solidFill>
            <a:schemeClr val="tx1"/>
          </a:solidFill>
          <a:latin typeface="+mn-lt"/>
          <a:ea typeface="+mn-ea"/>
          <a:cs typeface="+mn-cs"/>
        </a:defRPr>
      </a:lvl1pPr>
      <a:lvl2pPr marL="456890" algn="l" defTabSz="913786" rtl="0" eaLnBrk="1" latinLnBrk="0" hangingPunct="1">
        <a:defRPr sz="1900" kern="1200">
          <a:solidFill>
            <a:schemeClr val="tx1"/>
          </a:solidFill>
          <a:latin typeface="+mn-lt"/>
          <a:ea typeface="+mn-ea"/>
          <a:cs typeface="+mn-cs"/>
        </a:defRPr>
      </a:lvl2pPr>
      <a:lvl3pPr marL="913786" algn="l" defTabSz="913786" rtl="0" eaLnBrk="1" latinLnBrk="0" hangingPunct="1">
        <a:defRPr sz="1900" kern="1200">
          <a:solidFill>
            <a:schemeClr val="tx1"/>
          </a:solidFill>
          <a:latin typeface="+mn-lt"/>
          <a:ea typeface="+mn-ea"/>
          <a:cs typeface="+mn-cs"/>
        </a:defRPr>
      </a:lvl3pPr>
      <a:lvl4pPr marL="1370680" algn="l" defTabSz="913786" rtl="0" eaLnBrk="1" latinLnBrk="0" hangingPunct="1">
        <a:defRPr sz="1900" kern="1200">
          <a:solidFill>
            <a:schemeClr val="tx1"/>
          </a:solidFill>
          <a:latin typeface="+mn-lt"/>
          <a:ea typeface="+mn-ea"/>
          <a:cs typeface="+mn-cs"/>
        </a:defRPr>
      </a:lvl4pPr>
      <a:lvl5pPr marL="1827570" algn="l" defTabSz="913786" rtl="0" eaLnBrk="1" latinLnBrk="0" hangingPunct="1">
        <a:defRPr sz="1900" kern="1200">
          <a:solidFill>
            <a:schemeClr val="tx1"/>
          </a:solidFill>
          <a:latin typeface="+mn-lt"/>
          <a:ea typeface="+mn-ea"/>
          <a:cs typeface="+mn-cs"/>
        </a:defRPr>
      </a:lvl5pPr>
      <a:lvl6pPr marL="2284471" algn="l" defTabSz="913786" rtl="0" eaLnBrk="1" latinLnBrk="0" hangingPunct="1">
        <a:defRPr sz="1900" kern="1200">
          <a:solidFill>
            <a:schemeClr val="tx1"/>
          </a:solidFill>
          <a:latin typeface="+mn-lt"/>
          <a:ea typeface="+mn-ea"/>
          <a:cs typeface="+mn-cs"/>
        </a:defRPr>
      </a:lvl6pPr>
      <a:lvl7pPr marL="2741356" algn="l" defTabSz="913786" rtl="0" eaLnBrk="1" latinLnBrk="0" hangingPunct="1">
        <a:defRPr sz="1900" kern="1200">
          <a:solidFill>
            <a:schemeClr val="tx1"/>
          </a:solidFill>
          <a:latin typeface="+mn-lt"/>
          <a:ea typeface="+mn-ea"/>
          <a:cs typeface="+mn-cs"/>
        </a:defRPr>
      </a:lvl7pPr>
      <a:lvl8pPr marL="3198245" algn="l" defTabSz="913786" rtl="0" eaLnBrk="1" latinLnBrk="0" hangingPunct="1">
        <a:defRPr sz="1900" kern="1200">
          <a:solidFill>
            <a:schemeClr val="tx1"/>
          </a:solidFill>
          <a:latin typeface="+mn-lt"/>
          <a:ea typeface="+mn-ea"/>
          <a:cs typeface="+mn-cs"/>
        </a:defRPr>
      </a:lvl8pPr>
      <a:lvl9pPr marL="3655133" algn="l" defTabSz="913786"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298A4B1-347D-48CB-B324-02E3E05DFC0C}"/>
              </a:ext>
            </a:extLst>
          </p:cNvPr>
          <p:cNvGraphicFramePr>
            <a:graphicFrameLocks noChangeAspect="1"/>
          </p:cNvGraphicFramePr>
          <p:nvPr>
            <p:custDataLst>
              <p:tags r:id="rId14"/>
            </p:custDataLst>
            <p:extLst/>
          </p:nvPr>
        </p:nvGraphicFramePr>
        <p:xfrm>
          <a:off x="1592" y="1588"/>
          <a:ext cx="1588" cy="1588"/>
        </p:xfrm>
        <a:graphic>
          <a:graphicData uri="http://schemas.openxmlformats.org/presentationml/2006/ole">
            <mc:AlternateContent xmlns:mc="http://schemas.openxmlformats.org/markup-compatibility/2006">
              <mc:Choice xmlns:v="urn:schemas-microsoft-com:vml" Requires="v">
                <p:oleObj spid="_x0000_s435277"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92"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extBox 15">
            <a:extLst>
              <a:ext uri="{FF2B5EF4-FFF2-40B4-BE49-F238E27FC236}">
                <a16:creationId xmlns:a16="http://schemas.microsoft.com/office/drawing/2014/main" id="{AB085165-D8C6-45E3-B258-4651000B01BB}"/>
              </a:ext>
            </a:extLst>
          </p:cNvPr>
          <p:cNvSpPr txBox="1"/>
          <p:nvPr/>
        </p:nvSpPr>
        <p:spPr>
          <a:xfrm>
            <a:off x="11" y="6429375"/>
            <a:ext cx="12191999" cy="384684"/>
          </a:xfrm>
          <a:prstGeom prst="rect">
            <a:avLst/>
          </a:prstGeom>
          <a:gradFill>
            <a:gsLst>
              <a:gs pos="0">
                <a:srgbClr val="385723"/>
              </a:gs>
              <a:gs pos="100000">
                <a:schemeClr val="tx1"/>
              </a:gs>
            </a:gsLst>
            <a:lin ang="5400000" scaled="0"/>
          </a:gradFill>
        </p:spPr>
        <p:style>
          <a:lnRef idx="0">
            <a:scrgbClr r="0" g="0" b="0"/>
          </a:lnRef>
          <a:fillRef idx="1002">
            <a:schemeClr val="lt1"/>
          </a:fillRef>
          <a:effectRef idx="0">
            <a:scrgbClr r="0" g="0" b="0"/>
          </a:effectRef>
          <a:fontRef idx="major"/>
        </p:style>
        <p:txBody>
          <a:bodyPr wrap="square" lIns="91401" tIns="45702" rIns="91401" bIns="45702" rtlCol="0">
            <a:spAutoFit/>
          </a:bodyPr>
          <a:lstStyle/>
          <a:p>
            <a:pPr algn="ctr" defTabSz="914013"/>
            <a:r>
              <a:rPr lang="en-US" sz="1900" dirty="0">
                <a:solidFill>
                  <a:prstClr val="white"/>
                </a:solidFill>
                <a:latin typeface="Arial" panose="020B0604020202020204" pitchFamily="34" charset="0"/>
                <a:cs typeface="Arial" panose="020B0604020202020204" pitchFamily="34" charset="0"/>
              </a:rPr>
              <a:t>NPHCDA – National Primary Health Care Development Agency</a:t>
            </a:r>
          </a:p>
        </p:txBody>
      </p:sp>
      <p:sp>
        <p:nvSpPr>
          <p:cNvPr id="6" name="Slide Number Placeholder 5">
            <a:extLst>
              <a:ext uri="{FF2B5EF4-FFF2-40B4-BE49-F238E27FC236}">
                <a16:creationId xmlns:a16="http://schemas.microsoft.com/office/drawing/2014/main" id="{BB00E9EF-88A4-4B14-B477-422B19E3E8AE}"/>
              </a:ext>
            </a:extLst>
          </p:cNvPr>
          <p:cNvSpPr>
            <a:spLocks noGrp="1"/>
          </p:cNvSpPr>
          <p:nvPr>
            <p:ph type="sldNum" sz="quarter" idx="4"/>
          </p:nvPr>
        </p:nvSpPr>
        <p:spPr>
          <a:xfrm>
            <a:off x="8997098" y="6441468"/>
            <a:ext cx="2743201" cy="365125"/>
          </a:xfrm>
          <a:prstGeom prst="rect">
            <a:avLst/>
          </a:prstGeom>
        </p:spPr>
        <p:txBody>
          <a:bodyPr vert="horz" lIns="91401" tIns="45702" rIns="91401" bIns="45702" rtlCol="0" anchor="ctr"/>
          <a:lstStyle>
            <a:lvl1pPr algn="r">
              <a:defRPr sz="1200">
                <a:solidFill>
                  <a:schemeClr val="bg1"/>
                </a:solidFill>
              </a:defRPr>
            </a:lvl1pPr>
          </a:lstStyle>
          <a:p>
            <a:pPr defTabSz="914013"/>
            <a:r>
              <a:rPr lang="en-US">
                <a:solidFill>
                  <a:prstClr val="white"/>
                </a:solidFill>
              </a:rPr>
              <a:t>| </a:t>
            </a:r>
            <a:fld id="{64EB4972-ACDB-4443-AB71-2418AAD5DD1E}" type="slidenum">
              <a:rPr lang="x-none" smtClean="0">
                <a:solidFill>
                  <a:prstClr val="white"/>
                </a:solidFill>
              </a:rPr>
              <a:pPr defTabSz="914013"/>
              <a:t>‹#›</a:t>
            </a:fld>
            <a:endParaRPr lang="x-none" dirty="0">
              <a:solidFill>
                <a:prstClr val="white"/>
              </a:solidFill>
            </a:endParaRPr>
          </a:p>
        </p:txBody>
      </p:sp>
      <p:pic>
        <p:nvPicPr>
          <p:cNvPr id="14" name="Picture 8">
            <a:extLst>
              <a:ext uri="{FF2B5EF4-FFF2-40B4-BE49-F238E27FC236}">
                <a16:creationId xmlns:a16="http://schemas.microsoft.com/office/drawing/2014/main" id="{BDD7673F-EC04-4BAA-90CD-3CBA5E3C2E8C}"/>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944228" y="120548"/>
            <a:ext cx="1038003" cy="876252"/>
          </a:xfrm>
          <a:prstGeom prst="rect">
            <a:avLst/>
          </a:prstGeom>
          <a:noFill/>
          <a:ln>
            <a:noFill/>
          </a:ln>
          <a:effectLst/>
          <a:extLst>
            <a:ext uri="{909E8E84-426E-40DD-AFC4-6F175D3DCCD1}">
              <a14:hiddenFill xmlns:a14="http://schemas.microsoft.com/office/drawing/2010/main">
                <a:solidFill>
                  <a:srgbClr val="4E5B6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5" name="Picture 14">
            <a:extLst>
              <a:ext uri="{FF2B5EF4-FFF2-40B4-BE49-F238E27FC236}">
                <a16:creationId xmlns:a16="http://schemas.microsoft.com/office/drawing/2014/main" id="{1236DFB1-5022-4842-906D-F53BBBC52425}"/>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28829" y="120551"/>
            <a:ext cx="1038003" cy="949031"/>
          </a:xfrm>
          <a:prstGeom prst="rect">
            <a:avLst/>
          </a:prstGeom>
        </p:spPr>
      </p:pic>
    </p:spTree>
    <p:extLst>
      <p:ext uri="{BB962C8B-B14F-4D97-AF65-F5344CB8AC3E}">
        <p14:creationId xmlns:p14="http://schemas.microsoft.com/office/powerpoint/2010/main" val="1688048078"/>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 id="2147484492" r:id="rId8"/>
    <p:sldLayoutId id="2147484493" r:id="rId9"/>
    <p:sldLayoutId id="2147484494" r:id="rId10"/>
    <p:sldLayoutId id="2147484495" r:id="rId11"/>
  </p:sldLayoutIdLst>
  <p:hf hdr="0" ftr="0" dt="0"/>
  <p:txStyles>
    <p:titleStyle>
      <a:lvl1pPr algn="l" defTabSz="91401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03" indent="-228503" algn="l" defTabSz="91401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12" indent="-228503" algn="l" defTabSz="91401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16" indent="-228503" algn="l" defTabSz="91401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9523"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528"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533"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540"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547"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553" indent="-228503" algn="l" defTabSz="91401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013" rtl="0" eaLnBrk="1" latinLnBrk="0" hangingPunct="1">
        <a:defRPr sz="1800" kern="1200">
          <a:solidFill>
            <a:schemeClr val="tx1"/>
          </a:solidFill>
          <a:latin typeface="+mn-lt"/>
          <a:ea typeface="+mn-ea"/>
          <a:cs typeface="+mn-cs"/>
        </a:defRPr>
      </a:lvl1pPr>
      <a:lvl2pPr marL="457007" algn="l" defTabSz="914013" rtl="0" eaLnBrk="1" latinLnBrk="0" hangingPunct="1">
        <a:defRPr sz="1800" kern="1200">
          <a:solidFill>
            <a:schemeClr val="tx1"/>
          </a:solidFill>
          <a:latin typeface="+mn-lt"/>
          <a:ea typeface="+mn-ea"/>
          <a:cs typeface="+mn-cs"/>
        </a:defRPr>
      </a:lvl2pPr>
      <a:lvl3pPr marL="914013" algn="l" defTabSz="914013" rtl="0" eaLnBrk="1" latinLnBrk="0" hangingPunct="1">
        <a:defRPr sz="1800" kern="1200">
          <a:solidFill>
            <a:schemeClr val="tx1"/>
          </a:solidFill>
          <a:latin typeface="+mn-lt"/>
          <a:ea typeface="+mn-ea"/>
          <a:cs typeface="+mn-cs"/>
        </a:defRPr>
      </a:lvl3pPr>
      <a:lvl4pPr marL="1371019" algn="l" defTabSz="914013" rtl="0" eaLnBrk="1" latinLnBrk="0" hangingPunct="1">
        <a:defRPr sz="1800" kern="1200">
          <a:solidFill>
            <a:schemeClr val="tx1"/>
          </a:solidFill>
          <a:latin typeface="+mn-lt"/>
          <a:ea typeface="+mn-ea"/>
          <a:cs typeface="+mn-cs"/>
        </a:defRPr>
      </a:lvl4pPr>
      <a:lvl5pPr marL="1828025" algn="l" defTabSz="914013" rtl="0" eaLnBrk="1" latinLnBrk="0" hangingPunct="1">
        <a:defRPr sz="1800" kern="1200">
          <a:solidFill>
            <a:schemeClr val="tx1"/>
          </a:solidFill>
          <a:latin typeface="+mn-lt"/>
          <a:ea typeface="+mn-ea"/>
          <a:cs typeface="+mn-cs"/>
        </a:defRPr>
      </a:lvl5pPr>
      <a:lvl6pPr marL="2285031" algn="l" defTabSz="914013" rtl="0" eaLnBrk="1" latinLnBrk="0" hangingPunct="1">
        <a:defRPr sz="1800" kern="1200">
          <a:solidFill>
            <a:schemeClr val="tx1"/>
          </a:solidFill>
          <a:latin typeface="+mn-lt"/>
          <a:ea typeface="+mn-ea"/>
          <a:cs typeface="+mn-cs"/>
        </a:defRPr>
      </a:lvl6pPr>
      <a:lvl7pPr marL="2742037" algn="l" defTabSz="914013" rtl="0" eaLnBrk="1" latinLnBrk="0" hangingPunct="1">
        <a:defRPr sz="1800" kern="1200">
          <a:solidFill>
            <a:schemeClr val="tx1"/>
          </a:solidFill>
          <a:latin typeface="+mn-lt"/>
          <a:ea typeface="+mn-ea"/>
          <a:cs typeface="+mn-cs"/>
        </a:defRPr>
      </a:lvl7pPr>
      <a:lvl8pPr marL="3199044" algn="l" defTabSz="914013" rtl="0" eaLnBrk="1" latinLnBrk="0" hangingPunct="1">
        <a:defRPr sz="1800" kern="1200">
          <a:solidFill>
            <a:schemeClr val="tx1"/>
          </a:solidFill>
          <a:latin typeface="+mn-lt"/>
          <a:ea typeface="+mn-ea"/>
          <a:cs typeface="+mn-cs"/>
        </a:defRPr>
      </a:lvl8pPr>
      <a:lvl9pPr marL="3656050" algn="l" defTabSz="91401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384" tIns="45698" rIns="91384" bIns="45698" rtlCol="0" anchor="ctr">
            <a:normAutofit/>
          </a:bodyPr>
          <a:lstStyle/>
          <a:p>
            <a:r>
              <a:rPr lang="en-US"/>
              <a:t>Click to edit Master title style</a:t>
            </a:r>
          </a:p>
        </p:txBody>
      </p:sp>
      <p:sp>
        <p:nvSpPr>
          <p:cNvPr id="3" name="Text Placeholder 2"/>
          <p:cNvSpPr>
            <a:spLocks noGrp="1"/>
          </p:cNvSpPr>
          <p:nvPr>
            <p:ph type="body" idx="1"/>
          </p:nvPr>
        </p:nvSpPr>
        <p:spPr>
          <a:xfrm>
            <a:off x="838200" y="1825627"/>
            <a:ext cx="10515600" cy="4351339"/>
          </a:xfrm>
          <a:prstGeom prst="rect">
            <a:avLst/>
          </a:prstGeom>
        </p:spPr>
        <p:txBody>
          <a:bodyPr vert="horz" lIns="91384" tIns="45698" rIns="91384" bIns="45698"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673"/>
            <a:ext cx="2743201" cy="365125"/>
          </a:xfrm>
          <a:prstGeom prst="rect">
            <a:avLst/>
          </a:prstGeom>
        </p:spPr>
        <p:txBody>
          <a:bodyPr vert="horz" lIns="91384" tIns="45698" rIns="91384" bIns="45698" rtlCol="0" anchor="ctr"/>
          <a:lstStyle>
            <a:lvl1pPr algn="l">
              <a:defRPr sz="1200">
                <a:solidFill>
                  <a:schemeClr val="tx1">
                    <a:tint val="75000"/>
                  </a:schemeClr>
                </a:solidFill>
              </a:defRPr>
            </a:lvl1pPr>
          </a:lstStyle>
          <a:p>
            <a:fld id="{C244BE15-3B1C-4EF0-927D-D69063AF329C}" type="datetime1">
              <a:rPr lang="en-US" smtClean="0">
                <a:solidFill>
                  <a:prstClr val="black">
                    <a:tint val="75000"/>
                  </a:prstClr>
                </a:solidFill>
              </a:rPr>
              <a:t>4/30/2019</a:t>
            </a:fld>
            <a:endParaRPr lang="en-US">
              <a:solidFill>
                <a:prstClr val="black">
                  <a:tint val="75000"/>
                </a:prstClr>
              </a:solidFill>
            </a:endParaRPr>
          </a:p>
        </p:txBody>
      </p:sp>
      <p:sp>
        <p:nvSpPr>
          <p:cNvPr id="5" name="Footer Placeholder 4"/>
          <p:cNvSpPr>
            <a:spLocks noGrp="1"/>
          </p:cNvSpPr>
          <p:nvPr>
            <p:ph type="ftr" sz="quarter" idx="3"/>
          </p:nvPr>
        </p:nvSpPr>
        <p:spPr>
          <a:xfrm>
            <a:off x="4038601" y="6356673"/>
            <a:ext cx="4114800" cy="365125"/>
          </a:xfrm>
          <a:prstGeom prst="rect">
            <a:avLst/>
          </a:prstGeom>
        </p:spPr>
        <p:txBody>
          <a:bodyPr vert="horz" lIns="91384" tIns="45698" rIns="91384" bIns="45698"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599" y="6356673"/>
            <a:ext cx="2743201" cy="365125"/>
          </a:xfrm>
          <a:prstGeom prst="rect">
            <a:avLst/>
          </a:prstGeom>
        </p:spPr>
        <p:txBody>
          <a:bodyPr vert="horz" lIns="91384" tIns="45698" rIns="91384" bIns="45698" rtlCol="0" anchor="ctr"/>
          <a:lstStyle>
            <a:lvl1pPr algn="r">
              <a:defRPr sz="1200">
                <a:solidFill>
                  <a:schemeClr val="tx1">
                    <a:tint val="75000"/>
                  </a:schemeClr>
                </a:solidFill>
              </a:defRPr>
            </a:lvl1pPr>
          </a:lstStyle>
          <a:p>
            <a:fld id="{52836B5F-48D7-40A2-ACA3-00B9DC1B67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9660610"/>
      </p:ext>
    </p:extLst>
  </p:cSld>
  <p:clrMap bg1="lt1" tx1="dk1" bg2="lt2" tx2="dk2" accent1="accent1" accent2="accent2" accent3="accent3" accent4="accent4" accent5="accent5" accent6="accent6" hlink="hlink" folHlink="folHlink"/>
  <p:sldLayoutIdLst>
    <p:sldLayoutId id="2147484543" r:id="rId1"/>
    <p:sldLayoutId id="2147484544" r:id="rId2"/>
    <p:sldLayoutId id="2147484545" r:id="rId3"/>
    <p:sldLayoutId id="2147484546" r:id="rId4"/>
    <p:sldLayoutId id="2147484547" r:id="rId5"/>
    <p:sldLayoutId id="2147484548" r:id="rId6"/>
    <p:sldLayoutId id="2147484549" r:id="rId7"/>
    <p:sldLayoutId id="2147484550" r:id="rId8"/>
    <p:sldLayoutId id="2147484551" r:id="rId9"/>
    <p:sldLayoutId id="2147484552" r:id="rId10"/>
    <p:sldLayoutId id="2147484553" r:id="rId11"/>
  </p:sldLayoutIdLst>
  <p:hf hdr="0" ftr="0" dt="0"/>
  <p:txStyles>
    <p:titleStyle>
      <a:lvl1pPr algn="l" defTabSz="9138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455" indent="-228455" algn="l" defTabSz="9138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364" indent="-228455" algn="l" defTabSz="9138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262" indent="-228455" algn="l" defTabSz="91380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3pPr>
      <a:lvl4pPr marL="1599162" indent="-228455" algn="l" defTabSz="91380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6064" indent="-228455" algn="l" defTabSz="91380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2969" indent="-228455" algn="l" defTabSz="91380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9877" indent="-228455" algn="l" defTabSz="91380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6780" indent="-228455" algn="l" defTabSz="91380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3687" indent="-228455" algn="l" defTabSz="913809"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809" rtl="0" eaLnBrk="1" latinLnBrk="0" hangingPunct="1">
        <a:defRPr sz="1900" kern="1200">
          <a:solidFill>
            <a:schemeClr val="tx1"/>
          </a:solidFill>
          <a:latin typeface="+mn-lt"/>
          <a:ea typeface="+mn-ea"/>
          <a:cs typeface="+mn-cs"/>
        </a:defRPr>
      </a:lvl1pPr>
      <a:lvl2pPr marL="456902" algn="l" defTabSz="913809" rtl="0" eaLnBrk="1" latinLnBrk="0" hangingPunct="1">
        <a:defRPr sz="1900" kern="1200">
          <a:solidFill>
            <a:schemeClr val="tx1"/>
          </a:solidFill>
          <a:latin typeface="+mn-lt"/>
          <a:ea typeface="+mn-ea"/>
          <a:cs typeface="+mn-cs"/>
        </a:defRPr>
      </a:lvl2pPr>
      <a:lvl3pPr marL="913809" algn="l" defTabSz="913809" rtl="0" eaLnBrk="1" latinLnBrk="0" hangingPunct="1">
        <a:defRPr sz="1900" kern="1200">
          <a:solidFill>
            <a:schemeClr val="tx1"/>
          </a:solidFill>
          <a:latin typeface="+mn-lt"/>
          <a:ea typeface="+mn-ea"/>
          <a:cs typeface="+mn-cs"/>
        </a:defRPr>
      </a:lvl3pPr>
      <a:lvl4pPr marL="1370714" algn="l" defTabSz="913809" rtl="0" eaLnBrk="1" latinLnBrk="0" hangingPunct="1">
        <a:defRPr sz="1900" kern="1200">
          <a:solidFill>
            <a:schemeClr val="tx1"/>
          </a:solidFill>
          <a:latin typeface="+mn-lt"/>
          <a:ea typeface="+mn-ea"/>
          <a:cs typeface="+mn-cs"/>
        </a:defRPr>
      </a:lvl4pPr>
      <a:lvl5pPr marL="1827617" algn="l" defTabSz="913809" rtl="0" eaLnBrk="1" latinLnBrk="0" hangingPunct="1">
        <a:defRPr sz="1900" kern="1200">
          <a:solidFill>
            <a:schemeClr val="tx1"/>
          </a:solidFill>
          <a:latin typeface="+mn-lt"/>
          <a:ea typeface="+mn-ea"/>
          <a:cs typeface="+mn-cs"/>
        </a:defRPr>
      </a:lvl5pPr>
      <a:lvl6pPr marL="2284528" algn="l" defTabSz="913809" rtl="0" eaLnBrk="1" latinLnBrk="0" hangingPunct="1">
        <a:defRPr sz="1900" kern="1200">
          <a:solidFill>
            <a:schemeClr val="tx1"/>
          </a:solidFill>
          <a:latin typeface="+mn-lt"/>
          <a:ea typeface="+mn-ea"/>
          <a:cs typeface="+mn-cs"/>
        </a:defRPr>
      </a:lvl6pPr>
      <a:lvl7pPr marL="2741424" algn="l" defTabSz="913809" rtl="0" eaLnBrk="1" latinLnBrk="0" hangingPunct="1">
        <a:defRPr sz="1900" kern="1200">
          <a:solidFill>
            <a:schemeClr val="tx1"/>
          </a:solidFill>
          <a:latin typeface="+mn-lt"/>
          <a:ea typeface="+mn-ea"/>
          <a:cs typeface="+mn-cs"/>
        </a:defRPr>
      </a:lvl7pPr>
      <a:lvl8pPr marL="3198324" algn="l" defTabSz="913809" rtl="0" eaLnBrk="1" latinLnBrk="0" hangingPunct="1">
        <a:defRPr sz="1900" kern="1200">
          <a:solidFill>
            <a:schemeClr val="tx1"/>
          </a:solidFill>
          <a:latin typeface="+mn-lt"/>
          <a:ea typeface="+mn-ea"/>
          <a:cs typeface="+mn-cs"/>
        </a:defRPr>
      </a:lvl8pPr>
      <a:lvl9pPr marL="3655226" algn="l" defTabSz="913809"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81355"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20" name="Slide Number"/>
          <p:cNvSpPr txBox="1">
            <a:spLocks/>
          </p:cNvSpPr>
          <p:nvPr userDrawn="1"/>
        </p:nvSpPr>
        <p:spPr bwMode="auto">
          <a:xfrm>
            <a:off x="11801652" y="6565205"/>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013" fontAlgn="base">
              <a:spcBef>
                <a:spcPct val="0"/>
              </a:spcBef>
              <a:spcAft>
                <a:spcPct val="0"/>
              </a:spcAft>
            </a:pPr>
            <a:fld id="{42C328C1-A84F-4A39-A664-DBA00541A8C6}" type="slidenum">
              <a:rPr lang="en-US" sz="1000" smtClean="0">
                <a:solidFill>
                  <a:srgbClr val="1F1F1F"/>
                </a:solidFill>
              </a:rPr>
              <a:pPr algn="r" defTabSz="914013" fontAlgn="base">
                <a:spcBef>
                  <a:spcPct val="0"/>
                </a:spcBef>
                <a:spcAft>
                  <a:spcPct val="0"/>
                </a:spcAft>
              </a:pPr>
              <a:t>‹#›</a:t>
            </a:fld>
            <a:endParaRPr lang="en-US" sz="1000" dirty="0">
              <a:solidFill>
                <a:srgbClr val="1F1F1F"/>
              </a:solidFill>
            </a:endParaRPr>
          </a:p>
        </p:txBody>
      </p:sp>
      <p:sp>
        <p:nvSpPr>
          <p:cNvPr id="18" name="Rectangle 17"/>
          <p:cNvSpPr/>
          <p:nvPr userDrawn="1"/>
        </p:nvSpPr>
        <p:spPr bwMode="auto">
          <a:xfrm>
            <a:off x="0" y="6400584"/>
            <a:ext cx="12192000" cy="25712"/>
          </a:xfrm>
          <a:prstGeom prst="rect">
            <a:avLst/>
          </a:prstGeom>
          <a:gradFill>
            <a:gsLst>
              <a:gs pos="0">
                <a:srgbClr val="DAF2E6"/>
              </a:gs>
              <a:gs pos="100000">
                <a:srgbClr val="339966"/>
              </a:gs>
            </a:gsLst>
            <a:lin ang="0" scaled="1"/>
          </a:gradFill>
          <a:ln w="9525" cap="flat" cmpd="sng" algn="ctr">
            <a:noFill/>
            <a:prstDash val="solid"/>
          </a:ln>
          <a:effectLst/>
        </p:spPr>
        <p:txBody>
          <a:bodyPr lIns="91401" tIns="45702" rIns="91401" bIns="45702" rtlCol="0" anchor="ctr"/>
          <a:lstStyle/>
          <a:p>
            <a:pPr algn="ctr" defTabSz="914013">
              <a:defRPr/>
            </a:pPr>
            <a:endParaRPr lang="en-US" sz="1800" kern="0" dirty="0">
              <a:solidFill>
                <a:srgbClr val="1F1F1F"/>
              </a:solidFill>
              <a:ea typeface="ＭＳ Ｐゴシック"/>
            </a:endParaRPr>
          </a:p>
        </p:txBody>
      </p:sp>
      <p:sp>
        <p:nvSpPr>
          <p:cNvPr id="1033" name="doc id"/>
          <p:cNvSpPr>
            <a:spLocks noChangeArrowheads="1"/>
          </p:cNvSpPr>
          <p:nvPr/>
        </p:nvSpPr>
        <p:spPr bwMode="auto">
          <a:xfrm>
            <a:off x="11064593"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137" fontAlgn="base">
              <a:spcBef>
                <a:spcPct val="0"/>
              </a:spcBef>
              <a:spcAft>
                <a:spcPct val="0"/>
              </a:spcAft>
            </a:pPr>
            <a:endParaRPr lang="en-US" sz="900" dirty="0">
              <a:solidFill>
                <a:srgbClr val="000000"/>
              </a:solidFill>
            </a:endParaRPr>
          </a:p>
        </p:txBody>
      </p:sp>
      <p:sp>
        <p:nvSpPr>
          <p:cNvPr id="1036" name="Rectangle 286"/>
          <p:cNvSpPr>
            <a:spLocks noGrp="1" noChangeArrowheads="1"/>
          </p:cNvSpPr>
          <p:nvPr>
            <p:ph type="body" idx="1"/>
          </p:nvPr>
        </p:nvSpPr>
        <p:spPr bwMode="auto">
          <a:xfrm>
            <a:off x="1976209" y="2925409"/>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33264" y="234867"/>
            <a:ext cx="1172548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33275" y="27536"/>
            <a:ext cx="920124"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013" fontAlgn="base">
              <a:spcBef>
                <a:spcPct val="0"/>
              </a:spcBef>
              <a:spcAft>
                <a:spcPct val="0"/>
              </a:spcAft>
            </a:pPr>
            <a:r>
              <a:rPr lang="en-US" sz="1500" dirty="0">
                <a:solidFill>
                  <a:srgbClr val="808080"/>
                </a:solidFill>
              </a:rPr>
              <a:t>TRACKER</a:t>
            </a:r>
          </a:p>
        </p:txBody>
      </p:sp>
      <p:sp>
        <p:nvSpPr>
          <p:cNvPr id="11" name="McK 3. Unit of measure" hidden="1"/>
          <p:cNvSpPr txBox="1">
            <a:spLocks noChangeArrowheads="1"/>
          </p:cNvSpPr>
          <p:nvPr/>
        </p:nvSpPr>
        <p:spPr bwMode="auto">
          <a:xfrm>
            <a:off x="233264" y="542621"/>
            <a:ext cx="1172548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4" name="McK Slide Elements" hidden="1"/>
          <p:cNvGrpSpPr/>
          <p:nvPr userDrawn="1"/>
        </p:nvGrpSpPr>
        <p:grpSpPr bwMode="auto">
          <a:xfrm>
            <a:off x="233261" y="6205242"/>
            <a:ext cx="11725483" cy="513859"/>
            <a:chOff x="171451" y="6081700"/>
            <a:chExt cx="8618537" cy="503632"/>
          </a:xfrm>
        </p:grpSpPr>
        <p:sp>
          <p:nvSpPr>
            <p:cNvPr id="13" name="McK 4. Footnote"/>
            <p:cNvSpPr txBox="1">
              <a:spLocks noChangeArrowheads="1"/>
            </p:cNvSpPr>
            <p:nvPr/>
          </p:nvSpPr>
          <p:spPr bwMode="auto">
            <a:xfrm>
              <a:off x="171451" y="6081700"/>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1F1F1F"/>
                  </a:solidFill>
                  <a:latin typeface="Arial"/>
                </a:rPr>
                <a:t>1 Footnote</a:t>
              </a:r>
            </a:p>
          </p:txBody>
        </p:sp>
        <p:sp>
          <p:nvSpPr>
            <p:cNvPr id="14" name="McK 5. Source"/>
            <p:cNvSpPr>
              <a:spLocks noChangeArrowheads="1"/>
            </p:cNvSpPr>
            <p:nvPr/>
          </p:nvSpPr>
          <p:spPr bwMode="auto">
            <a:xfrm>
              <a:off x="171452" y="6434507"/>
              <a:ext cx="8258174"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711" indent="-621711" defTabSz="913137" fontAlgn="base">
                <a:spcBef>
                  <a:spcPct val="0"/>
                </a:spcBef>
                <a:spcAft>
                  <a:spcPct val="0"/>
                </a:spcAft>
                <a:tabLst>
                  <a:tab pos="624948" algn="l"/>
                </a:tabLst>
              </a:pPr>
              <a:r>
                <a:rPr lang="en-US" sz="1000" dirty="0">
                  <a:solidFill>
                    <a:srgbClr val="1F1F1F"/>
                  </a:solidFill>
                </a:rPr>
                <a:t>SOURCE: Source</a:t>
              </a:r>
            </a:p>
          </p:txBody>
        </p:sp>
      </p:grpSp>
      <p:grpSp>
        <p:nvGrpSpPr>
          <p:cNvPr id="15" name="ACET" hidden="1"/>
          <p:cNvGrpSpPr>
            <a:grpSpLocks/>
          </p:cNvGrpSpPr>
          <p:nvPr/>
        </p:nvGrpSpPr>
        <p:grpSpPr bwMode="auto">
          <a:xfrm>
            <a:off x="1976209" y="2335817"/>
            <a:ext cx="5853024"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013" fontAlgn="base">
                <a:spcBef>
                  <a:spcPct val="0"/>
                </a:spcBef>
                <a:spcAft>
                  <a:spcPct val="0"/>
                </a:spcAft>
              </a:pPr>
              <a:r>
                <a:rPr lang="en-US" sz="1600" b="1" dirty="0">
                  <a:solidFill>
                    <a:srgbClr val="1F1F1F"/>
                  </a:solidFill>
                </a:rPr>
                <a:t>Title</a:t>
              </a:r>
            </a:p>
            <a:p>
              <a:pPr defTabSz="914013" fontAlgn="base">
                <a:spcBef>
                  <a:spcPct val="0"/>
                </a:spcBef>
                <a:spcAft>
                  <a:spcPct val="0"/>
                </a:spcAft>
              </a:pPr>
              <a:r>
                <a:rPr lang="en-US" sz="1600" dirty="0">
                  <a:solidFill>
                    <a:srgbClr val="808080"/>
                  </a:solidFill>
                </a:rPr>
                <a:t>Unit of measure</a:t>
              </a:r>
            </a:p>
          </p:txBody>
        </p:sp>
      </p:grpSp>
      <p:grpSp>
        <p:nvGrpSpPr>
          <p:cNvPr id="21" name="LegendBoxes" hidden="1"/>
          <p:cNvGrpSpPr>
            <a:grpSpLocks/>
          </p:cNvGrpSpPr>
          <p:nvPr userDrawn="1"/>
        </p:nvGrpSpPr>
        <p:grpSpPr bwMode="auto">
          <a:xfrm>
            <a:off x="10919827" y="292447"/>
            <a:ext cx="855274" cy="1013962"/>
            <a:chOff x="4936" y="176"/>
            <a:chExt cx="396" cy="626"/>
          </a:xfrm>
        </p:grpSpPr>
        <p:sp>
          <p:nvSpPr>
            <p:cNvPr id="22"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2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24"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26"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2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28"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2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nvGrpSpPr>
          <p:cNvPr id="30" name="LegendLines" hidden="1"/>
          <p:cNvGrpSpPr>
            <a:grpSpLocks/>
          </p:cNvGrpSpPr>
          <p:nvPr userDrawn="1"/>
        </p:nvGrpSpPr>
        <p:grpSpPr bwMode="auto">
          <a:xfrm>
            <a:off x="10500878" y="292447"/>
            <a:ext cx="1274276" cy="741844"/>
            <a:chOff x="4750" y="176"/>
            <a:chExt cx="590" cy="458"/>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013" fontAlgn="base">
                <a:spcBef>
                  <a:spcPct val="0"/>
                </a:spcBef>
                <a:spcAft>
                  <a:spcPct val="0"/>
                </a:spcAft>
              </a:pPr>
              <a:endParaRPr lang="en-US" sz="1600" dirty="0">
                <a:solidFill>
                  <a:srgbClr val="1F1F1F"/>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013" fontAlgn="base">
                <a:spcBef>
                  <a:spcPct val="0"/>
                </a:spcBef>
                <a:spcAft>
                  <a:spcPct val="0"/>
                </a:spcAft>
              </a:pPr>
              <a:endParaRPr lang="en-US" sz="1600" dirty="0">
                <a:solidFill>
                  <a:srgbClr val="1F1F1F"/>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013" fontAlgn="base">
                <a:spcBef>
                  <a:spcPct val="0"/>
                </a:spcBef>
                <a:spcAft>
                  <a:spcPct val="0"/>
                </a:spcAft>
              </a:pPr>
              <a:endParaRPr lang="en-US" sz="1600" dirty="0">
                <a:solidFill>
                  <a:srgbClr val="1F1F1F"/>
                </a:solidFill>
              </a:endParaRPr>
            </a:p>
          </p:txBody>
        </p:sp>
        <p:sp>
          <p:nvSpPr>
            <p:cNvPr id="34"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35"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36"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grpSp>
      <p:grpSp>
        <p:nvGrpSpPr>
          <p:cNvPr id="37" name="McKSticker" hidden="1"/>
          <p:cNvGrpSpPr/>
          <p:nvPr userDrawn="1"/>
        </p:nvGrpSpPr>
        <p:grpSpPr bwMode="auto">
          <a:xfrm>
            <a:off x="10891789" y="292473"/>
            <a:ext cx="1066894" cy="212366"/>
            <a:chOff x="7956581" y="285750"/>
            <a:chExt cx="784194" cy="208141"/>
          </a:xfrm>
        </p:grpSpPr>
        <p:sp>
          <p:nvSpPr>
            <p:cNvPr id="38" name="StickerRectangle"/>
            <p:cNvSpPr>
              <a:spLocks noChangeArrowheads="1"/>
            </p:cNvSpPr>
            <p:nvPr/>
          </p:nvSpPr>
          <p:spPr bwMode="auto">
            <a:xfrm>
              <a:off x="7956581" y="285750"/>
              <a:ext cx="784194" cy="20814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137" fontAlgn="base">
                <a:spcBef>
                  <a:spcPct val="0"/>
                </a:spcBef>
                <a:spcAft>
                  <a:spcPct val="0"/>
                </a:spcAft>
                <a:buClr>
                  <a:srgbClr val="339966"/>
                </a:buClr>
              </a:pPr>
              <a:r>
                <a:rPr lang="en-US" sz="1200" dirty="0">
                  <a:solidFill>
                    <a:srgbClr val="808080"/>
                  </a:solidFill>
                </a:rPr>
                <a:t>PRELIMINARY</a:t>
              </a:r>
            </a:p>
          </p:txBody>
        </p:sp>
        <p:cxnSp>
          <p:nvCxnSpPr>
            <p:cNvPr id="39" name="AutoShape 31"/>
            <p:cNvCxnSpPr>
              <a:cxnSpLocks noChangeShapeType="1"/>
              <a:stCxn id="38" idx="2"/>
              <a:endCxn id="38" idx="4"/>
            </p:cNvCxnSpPr>
            <p:nvPr/>
          </p:nvCxnSpPr>
          <p:spPr bwMode="auto">
            <a:xfrm>
              <a:off x="7956581" y="285750"/>
              <a:ext cx="0" cy="20814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956581" y="493891"/>
              <a:ext cx="7841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1" name="LegendMoons" hidden="1"/>
          <p:cNvGrpSpPr/>
          <p:nvPr userDrawn="1"/>
        </p:nvGrpSpPr>
        <p:grpSpPr bwMode="auto">
          <a:xfrm>
            <a:off x="10828982" y="292447"/>
            <a:ext cx="946031" cy="1333054"/>
            <a:chOff x="7875175" y="286625"/>
            <a:chExt cx="695359" cy="1306516"/>
          </a:xfrm>
        </p:grpSpPr>
        <p:grpSp>
          <p:nvGrpSpPr>
            <p:cNvPr id="42" name="MoonLegend2"/>
            <p:cNvGrpSpPr>
              <a:grpSpLocks noChangeAspect="1"/>
            </p:cNvGrpSpPr>
            <p:nvPr>
              <p:custDataLst>
                <p:tags r:id="rId8"/>
              </p:custDataLst>
            </p:nvPr>
          </p:nvGrpSpPr>
          <p:grpSpPr bwMode="auto">
            <a:xfrm>
              <a:off x="7875175" y="560866"/>
              <a:ext cx="209550" cy="209551"/>
              <a:chOff x="1694" y="2044"/>
              <a:chExt cx="160" cy="160"/>
            </a:xfrm>
          </p:grpSpPr>
          <p:sp>
            <p:nvSpPr>
              <p:cNvPr id="6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6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nvGrpSpPr>
            <p:cNvPr id="43" name="MoonLegend4"/>
            <p:cNvGrpSpPr>
              <a:grpSpLocks noChangeAspect="1"/>
            </p:cNvGrpSpPr>
            <p:nvPr>
              <p:custDataLst>
                <p:tags r:id="rId9"/>
              </p:custDataLst>
            </p:nvPr>
          </p:nvGrpSpPr>
          <p:grpSpPr bwMode="auto">
            <a:xfrm>
              <a:off x="7875175" y="1109348"/>
              <a:ext cx="209550" cy="209551"/>
              <a:chOff x="4495" y="1198"/>
              <a:chExt cx="160" cy="160"/>
            </a:xfrm>
          </p:grpSpPr>
          <p:sp>
            <p:nvSpPr>
              <p:cNvPr id="5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5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nvGrpSpPr>
            <p:cNvPr id="44" name="MoonLegend5"/>
            <p:cNvGrpSpPr>
              <a:grpSpLocks noChangeAspect="1"/>
            </p:cNvGrpSpPr>
            <p:nvPr>
              <p:custDataLst>
                <p:tags r:id="rId10"/>
              </p:custDataLst>
            </p:nvPr>
          </p:nvGrpSpPr>
          <p:grpSpPr bwMode="auto">
            <a:xfrm>
              <a:off x="7875175" y="1383590"/>
              <a:ext cx="209550" cy="209551"/>
              <a:chOff x="4495" y="1440"/>
              <a:chExt cx="160" cy="160"/>
            </a:xfrm>
          </p:grpSpPr>
          <p:sp>
            <p:nvSpPr>
              <p:cNvPr id="5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5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sp>
          <p:nvSpPr>
            <p:cNvPr id="45" name="Legend1"/>
            <p:cNvSpPr>
              <a:spLocks noChangeArrowheads="1"/>
            </p:cNvSpPr>
            <p:nvPr/>
          </p:nvSpPr>
          <p:spPr bwMode="auto">
            <a:xfrm>
              <a:off x="8195850" y="29932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46" name="Legend2"/>
            <p:cNvSpPr>
              <a:spLocks noChangeArrowheads="1"/>
            </p:cNvSpPr>
            <p:nvPr/>
          </p:nvSpPr>
          <p:spPr bwMode="auto">
            <a:xfrm>
              <a:off x="8195850" y="573963"/>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47" name="Legend3"/>
            <p:cNvSpPr>
              <a:spLocks noChangeArrowheads="1"/>
            </p:cNvSpPr>
            <p:nvPr/>
          </p:nvSpPr>
          <p:spPr bwMode="auto">
            <a:xfrm>
              <a:off x="8195850" y="848602"/>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48" name="Legend4"/>
            <p:cNvSpPr>
              <a:spLocks noChangeArrowheads="1"/>
            </p:cNvSpPr>
            <p:nvPr/>
          </p:nvSpPr>
          <p:spPr bwMode="auto">
            <a:xfrm>
              <a:off x="8195850" y="1120065"/>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sp>
          <p:nvSpPr>
            <p:cNvPr id="49" name="Legend5"/>
            <p:cNvSpPr>
              <a:spLocks noChangeArrowheads="1"/>
            </p:cNvSpPr>
            <p:nvPr/>
          </p:nvSpPr>
          <p:spPr bwMode="auto">
            <a:xfrm>
              <a:off x="8195850" y="1396290"/>
              <a:ext cx="3746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37" fontAlgn="base">
                <a:spcBef>
                  <a:spcPct val="0"/>
                </a:spcBef>
                <a:spcAft>
                  <a:spcPct val="0"/>
                </a:spcAft>
                <a:buClr>
                  <a:srgbClr val="339966"/>
                </a:buClr>
              </a:pPr>
              <a:r>
                <a:rPr lang="en-US" sz="1200" dirty="0">
                  <a:solidFill>
                    <a:srgbClr val="1F1F1F"/>
                  </a:solidFill>
                </a:rPr>
                <a:t>Legend</a:t>
              </a:r>
            </a:p>
          </p:txBody>
        </p:sp>
        <p:grpSp>
          <p:nvGrpSpPr>
            <p:cNvPr id="50" name="MoonLegend3"/>
            <p:cNvGrpSpPr>
              <a:grpSpLocks noChangeAspect="1"/>
            </p:cNvGrpSpPr>
            <p:nvPr>
              <p:custDataLst>
                <p:tags r:id="rId11"/>
              </p:custDataLst>
            </p:nvPr>
          </p:nvGrpSpPr>
          <p:grpSpPr bwMode="auto">
            <a:xfrm>
              <a:off x="7875175" y="835107"/>
              <a:ext cx="209550" cy="209551"/>
              <a:chOff x="4495" y="1198"/>
              <a:chExt cx="160" cy="160"/>
            </a:xfrm>
          </p:grpSpPr>
          <p:sp>
            <p:nvSpPr>
              <p:cNvPr id="5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5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nvGrpSpPr>
            <p:cNvPr id="51" name="MoonLegend1"/>
            <p:cNvGrpSpPr>
              <a:grpSpLocks noChangeAspect="1"/>
            </p:cNvGrpSpPr>
            <p:nvPr userDrawn="1">
              <p:custDataLst>
                <p:tags r:id="rId12"/>
              </p:custDataLst>
            </p:nvPr>
          </p:nvGrpSpPr>
          <p:grpSpPr bwMode="auto">
            <a:xfrm>
              <a:off x="7875175" y="286625"/>
              <a:ext cx="209550" cy="209551"/>
              <a:chOff x="1694" y="2044"/>
              <a:chExt cx="160" cy="160"/>
            </a:xfrm>
          </p:grpSpPr>
          <p:sp>
            <p:nvSpPr>
              <p:cNvPr id="5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sp>
            <p:nvSpPr>
              <p:cNvPr id="53" name="Arc 42"/>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013" fontAlgn="base">
                  <a:spcBef>
                    <a:spcPct val="0"/>
                  </a:spcBef>
                  <a:spcAft>
                    <a:spcPct val="0"/>
                  </a:spcAft>
                </a:pPr>
                <a:endParaRPr lang="en-US" sz="1600" dirty="0">
                  <a:solidFill>
                    <a:srgbClr val="1F1F1F"/>
                  </a:solidFill>
                </a:endParaRPr>
              </a:p>
            </p:txBody>
          </p:sp>
        </p:grpSp>
      </p:grpSp>
    </p:spTree>
    <p:extLst>
      <p:ext uri="{BB962C8B-B14F-4D97-AF65-F5344CB8AC3E}">
        <p14:creationId xmlns:p14="http://schemas.microsoft.com/office/powerpoint/2010/main" val="2927182644"/>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61" r:id="rId4"/>
  </p:sldLayoutIdLst>
  <p:hf hdr="0" ftr="0" dt="0"/>
  <p:txStyles>
    <p:titleStyle>
      <a:lvl1pPr algn="l" defTabSz="913137" rtl="0" eaLnBrk="1" fontAlgn="base" hangingPunct="1">
        <a:spcBef>
          <a:spcPct val="0"/>
        </a:spcBef>
        <a:spcAft>
          <a:spcPct val="0"/>
        </a:spcAft>
        <a:tabLst>
          <a:tab pos="275237" algn="l"/>
        </a:tabLst>
        <a:defRPr sz="1900" b="1" baseline="0">
          <a:solidFill>
            <a:srgbClr val="26734D"/>
          </a:solidFill>
          <a:latin typeface="+mj-lt"/>
          <a:ea typeface="+mj-ea"/>
          <a:cs typeface="+mj-cs"/>
        </a:defRPr>
      </a:lvl1pPr>
      <a:lvl2pPr algn="l" defTabSz="913137" rtl="0" eaLnBrk="1" fontAlgn="base" hangingPunct="1">
        <a:spcBef>
          <a:spcPct val="0"/>
        </a:spcBef>
        <a:spcAft>
          <a:spcPct val="0"/>
        </a:spcAft>
        <a:defRPr sz="1900" b="1">
          <a:solidFill>
            <a:schemeClr val="tx2"/>
          </a:solidFill>
          <a:latin typeface="Arial" charset="0"/>
        </a:defRPr>
      </a:lvl2pPr>
      <a:lvl3pPr algn="l" defTabSz="913137" rtl="0" eaLnBrk="1" fontAlgn="base" hangingPunct="1">
        <a:spcBef>
          <a:spcPct val="0"/>
        </a:spcBef>
        <a:spcAft>
          <a:spcPct val="0"/>
        </a:spcAft>
        <a:defRPr sz="1900" b="1">
          <a:solidFill>
            <a:schemeClr val="tx2"/>
          </a:solidFill>
          <a:latin typeface="Arial" charset="0"/>
        </a:defRPr>
      </a:lvl3pPr>
      <a:lvl4pPr algn="l" defTabSz="913137" rtl="0" eaLnBrk="1" fontAlgn="base" hangingPunct="1">
        <a:spcBef>
          <a:spcPct val="0"/>
        </a:spcBef>
        <a:spcAft>
          <a:spcPct val="0"/>
        </a:spcAft>
        <a:defRPr sz="1900" b="1">
          <a:solidFill>
            <a:schemeClr val="tx2"/>
          </a:solidFill>
          <a:latin typeface="Arial" charset="0"/>
        </a:defRPr>
      </a:lvl4pPr>
      <a:lvl5pPr algn="l" defTabSz="913137" rtl="0" eaLnBrk="1" fontAlgn="base" hangingPunct="1">
        <a:spcBef>
          <a:spcPct val="0"/>
        </a:spcBef>
        <a:spcAft>
          <a:spcPct val="0"/>
        </a:spcAft>
        <a:defRPr sz="1900" b="1">
          <a:solidFill>
            <a:schemeClr val="tx2"/>
          </a:solidFill>
          <a:latin typeface="Arial" charset="0"/>
        </a:defRPr>
      </a:lvl5pPr>
      <a:lvl6pPr marL="466283" algn="l" defTabSz="913137" rtl="0" eaLnBrk="1" fontAlgn="base" hangingPunct="1">
        <a:spcBef>
          <a:spcPct val="0"/>
        </a:spcBef>
        <a:spcAft>
          <a:spcPct val="0"/>
        </a:spcAft>
        <a:defRPr sz="1900" b="1">
          <a:solidFill>
            <a:schemeClr val="tx2"/>
          </a:solidFill>
          <a:latin typeface="Arial" charset="0"/>
        </a:defRPr>
      </a:lvl6pPr>
      <a:lvl7pPr marL="932567" algn="l" defTabSz="913137" rtl="0" eaLnBrk="1" fontAlgn="base" hangingPunct="1">
        <a:spcBef>
          <a:spcPct val="0"/>
        </a:spcBef>
        <a:spcAft>
          <a:spcPct val="0"/>
        </a:spcAft>
        <a:defRPr sz="1900" b="1">
          <a:solidFill>
            <a:schemeClr val="tx2"/>
          </a:solidFill>
          <a:latin typeface="Arial" charset="0"/>
        </a:defRPr>
      </a:lvl7pPr>
      <a:lvl8pPr marL="1398849" algn="l" defTabSz="913137" rtl="0" eaLnBrk="1" fontAlgn="base" hangingPunct="1">
        <a:spcBef>
          <a:spcPct val="0"/>
        </a:spcBef>
        <a:spcAft>
          <a:spcPct val="0"/>
        </a:spcAft>
        <a:defRPr sz="1900" b="1">
          <a:solidFill>
            <a:schemeClr val="tx2"/>
          </a:solidFill>
          <a:latin typeface="Arial" charset="0"/>
        </a:defRPr>
      </a:lvl8pPr>
      <a:lvl9pPr marL="1865134" algn="l" defTabSz="913137" rtl="0" eaLnBrk="1" fontAlgn="base" hangingPunct="1">
        <a:spcBef>
          <a:spcPct val="0"/>
        </a:spcBef>
        <a:spcAft>
          <a:spcPct val="0"/>
        </a:spcAft>
        <a:defRPr sz="1900" b="1">
          <a:solidFill>
            <a:schemeClr val="tx2"/>
          </a:solidFill>
          <a:latin typeface="Arial" charset="0"/>
        </a:defRPr>
      </a:lvl9pPr>
    </p:titleStyle>
    <p:bodyStyle>
      <a:lvl1pPr marL="0" indent="0" algn="l" defTabSz="91313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23" indent="-195903" algn="l" defTabSz="91313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283" indent="-267142" algn="l" defTabSz="91313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570" indent="-158667" algn="l" defTabSz="91313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705" indent="-132762" algn="l" defTabSz="9131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567" rtl="0" eaLnBrk="1" latinLnBrk="0" hangingPunct="1">
        <a:defRPr sz="1800" kern="1200">
          <a:solidFill>
            <a:schemeClr val="tx1"/>
          </a:solidFill>
          <a:latin typeface="+mn-lt"/>
          <a:ea typeface="+mn-ea"/>
          <a:cs typeface="+mn-cs"/>
        </a:defRPr>
      </a:lvl1pPr>
      <a:lvl2pPr marL="466283" algn="l" defTabSz="932567" rtl="0" eaLnBrk="1" latinLnBrk="0" hangingPunct="1">
        <a:defRPr sz="1800" kern="1200">
          <a:solidFill>
            <a:schemeClr val="tx1"/>
          </a:solidFill>
          <a:latin typeface="+mn-lt"/>
          <a:ea typeface="+mn-ea"/>
          <a:cs typeface="+mn-cs"/>
        </a:defRPr>
      </a:lvl2pPr>
      <a:lvl3pPr marL="932567" algn="l" defTabSz="932567" rtl="0" eaLnBrk="1" latinLnBrk="0" hangingPunct="1">
        <a:defRPr sz="1800" kern="1200">
          <a:solidFill>
            <a:schemeClr val="tx1"/>
          </a:solidFill>
          <a:latin typeface="+mn-lt"/>
          <a:ea typeface="+mn-ea"/>
          <a:cs typeface="+mn-cs"/>
        </a:defRPr>
      </a:lvl3pPr>
      <a:lvl4pPr marL="1398849" algn="l" defTabSz="932567" rtl="0" eaLnBrk="1" latinLnBrk="0" hangingPunct="1">
        <a:defRPr sz="1800" kern="1200">
          <a:solidFill>
            <a:schemeClr val="tx1"/>
          </a:solidFill>
          <a:latin typeface="+mn-lt"/>
          <a:ea typeface="+mn-ea"/>
          <a:cs typeface="+mn-cs"/>
        </a:defRPr>
      </a:lvl4pPr>
      <a:lvl5pPr marL="1865134" algn="l" defTabSz="932567" rtl="0" eaLnBrk="1" latinLnBrk="0" hangingPunct="1">
        <a:defRPr sz="1800" kern="1200">
          <a:solidFill>
            <a:schemeClr val="tx1"/>
          </a:solidFill>
          <a:latin typeface="+mn-lt"/>
          <a:ea typeface="+mn-ea"/>
          <a:cs typeface="+mn-cs"/>
        </a:defRPr>
      </a:lvl5pPr>
      <a:lvl6pPr marL="2331419" algn="l" defTabSz="932567" rtl="0" eaLnBrk="1" latinLnBrk="0" hangingPunct="1">
        <a:defRPr sz="1800" kern="1200">
          <a:solidFill>
            <a:schemeClr val="tx1"/>
          </a:solidFill>
          <a:latin typeface="+mn-lt"/>
          <a:ea typeface="+mn-ea"/>
          <a:cs typeface="+mn-cs"/>
        </a:defRPr>
      </a:lvl6pPr>
      <a:lvl7pPr marL="2797701" algn="l" defTabSz="932567" rtl="0" eaLnBrk="1" latinLnBrk="0" hangingPunct="1">
        <a:defRPr sz="1800" kern="1200">
          <a:solidFill>
            <a:schemeClr val="tx1"/>
          </a:solidFill>
          <a:latin typeface="+mn-lt"/>
          <a:ea typeface="+mn-ea"/>
          <a:cs typeface="+mn-cs"/>
        </a:defRPr>
      </a:lvl7pPr>
      <a:lvl8pPr marL="3263984" algn="l" defTabSz="932567" rtl="0" eaLnBrk="1" latinLnBrk="0" hangingPunct="1">
        <a:defRPr sz="1800" kern="1200">
          <a:solidFill>
            <a:schemeClr val="tx1"/>
          </a:solidFill>
          <a:latin typeface="+mn-lt"/>
          <a:ea typeface="+mn-ea"/>
          <a:cs typeface="+mn-cs"/>
        </a:defRPr>
      </a:lvl8pPr>
      <a:lvl9pPr marL="3730267" algn="l" defTabSz="93256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189.xml"/><Relationship Id="rId1" Type="http://schemas.openxmlformats.org/officeDocument/2006/relationships/vmlDrawing" Target="../drawings/vmlDrawing71.vml"/><Relationship Id="rId6" Type="http://schemas.openxmlformats.org/officeDocument/2006/relationships/image" Target="../media/image11.emf"/><Relationship Id="rId5" Type="http://schemas.openxmlformats.org/officeDocument/2006/relationships/oleObject" Target="../embeddings/oleObject7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7.jpg"/><Relationship Id="rId2" Type="http://schemas.openxmlformats.org/officeDocument/2006/relationships/tags" Target="../tags/tag238.xml"/><Relationship Id="rId1" Type="http://schemas.openxmlformats.org/officeDocument/2006/relationships/vmlDrawing" Target="../drawings/vmlDrawing80.vml"/><Relationship Id="rId6" Type="http://schemas.openxmlformats.org/officeDocument/2006/relationships/image" Target="../media/image26.jpeg"/><Relationship Id="rId5" Type="http://schemas.openxmlformats.org/officeDocument/2006/relationships/image" Target="../media/image9.emf"/><Relationship Id="rId4" Type="http://schemas.openxmlformats.org/officeDocument/2006/relationships/oleObject" Target="../embeddings/oleObject86.bin"/></Relationships>
</file>

<file path=ppt/slides/_rels/slide11.xml.rels><?xml version="1.0" encoding="UTF-8" standalone="yes"?>
<Relationships xmlns="http://schemas.openxmlformats.org/package/2006/relationships"><Relationship Id="rId8" Type="http://schemas.openxmlformats.org/officeDocument/2006/relationships/image" Target="../media/image46.jpg"/><Relationship Id="rId13" Type="http://schemas.openxmlformats.org/officeDocument/2006/relationships/image" Target="../media/image51.jpg"/><Relationship Id="rId3" Type="http://schemas.openxmlformats.org/officeDocument/2006/relationships/tags" Target="../tags/tag240.xml"/><Relationship Id="rId7" Type="http://schemas.openxmlformats.org/officeDocument/2006/relationships/image" Target="../media/image45.jpg"/><Relationship Id="rId12" Type="http://schemas.openxmlformats.org/officeDocument/2006/relationships/image" Target="../media/image50.jpeg"/><Relationship Id="rId2" Type="http://schemas.openxmlformats.org/officeDocument/2006/relationships/tags" Target="../tags/tag239.xml"/><Relationship Id="rId1" Type="http://schemas.openxmlformats.org/officeDocument/2006/relationships/vmlDrawing" Target="../drawings/vmlDrawing81.vml"/><Relationship Id="rId6" Type="http://schemas.openxmlformats.org/officeDocument/2006/relationships/image" Target="../media/image9.emf"/><Relationship Id="rId11" Type="http://schemas.openxmlformats.org/officeDocument/2006/relationships/image" Target="../media/image49.jpg"/><Relationship Id="rId5" Type="http://schemas.openxmlformats.org/officeDocument/2006/relationships/oleObject" Target="../embeddings/oleObject87.bin"/><Relationship Id="rId10" Type="http://schemas.openxmlformats.org/officeDocument/2006/relationships/image" Target="../media/image48.jpg"/><Relationship Id="rId4" Type="http://schemas.openxmlformats.org/officeDocument/2006/relationships/slideLayout" Target="../slideLayouts/slideLayout2.xml"/><Relationship Id="rId9" Type="http://schemas.openxmlformats.org/officeDocument/2006/relationships/image" Target="../media/image47.jpg"/></Relationships>
</file>

<file path=ppt/slides/_rels/slide12.xml.rels><?xml version="1.0" encoding="UTF-8" standalone="yes"?>
<Relationships xmlns="http://schemas.openxmlformats.org/package/2006/relationships"><Relationship Id="rId8" Type="http://schemas.openxmlformats.org/officeDocument/2006/relationships/image" Target="../media/image52.jpg"/><Relationship Id="rId3" Type="http://schemas.openxmlformats.org/officeDocument/2006/relationships/tags" Target="../tags/tag242.xml"/><Relationship Id="rId7" Type="http://schemas.openxmlformats.org/officeDocument/2006/relationships/image" Target="../media/image24.emf"/><Relationship Id="rId2" Type="http://schemas.openxmlformats.org/officeDocument/2006/relationships/tags" Target="../tags/tag241.xml"/><Relationship Id="rId1" Type="http://schemas.openxmlformats.org/officeDocument/2006/relationships/vmlDrawing" Target="../drawings/vmlDrawing82.vml"/><Relationship Id="rId6" Type="http://schemas.openxmlformats.org/officeDocument/2006/relationships/oleObject" Target="../embeddings/oleObject88.bin"/><Relationship Id="rId5" Type="http://schemas.openxmlformats.org/officeDocument/2006/relationships/notesSlide" Target="../notesSlides/notesSlide2.xml"/><Relationship Id="rId4" Type="http://schemas.openxmlformats.org/officeDocument/2006/relationships/slideLayout" Target="../slideLayouts/slideLayout28.xml"/><Relationship Id="rId9" Type="http://schemas.openxmlformats.org/officeDocument/2006/relationships/image" Target="../media/image53.jpg"/></Relationships>
</file>

<file path=ppt/slides/_rels/slide13.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1.emf"/><Relationship Id="rId2" Type="http://schemas.openxmlformats.org/officeDocument/2006/relationships/tags" Target="../tags/tag243.xml"/><Relationship Id="rId1" Type="http://schemas.openxmlformats.org/officeDocument/2006/relationships/vmlDrawing" Target="../drawings/vmlDrawing83.vml"/><Relationship Id="rId6" Type="http://schemas.openxmlformats.org/officeDocument/2006/relationships/oleObject" Target="../embeddings/oleObject89.bin"/><Relationship Id="rId5" Type="http://schemas.openxmlformats.org/officeDocument/2006/relationships/slideLayout" Target="../slideLayouts/slideLayout92.xml"/><Relationship Id="rId4" Type="http://schemas.openxmlformats.org/officeDocument/2006/relationships/tags" Target="../tags/tag24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46.xml"/><Relationship Id="rId1" Type="http://schemas.openxmlformats.org/officeDocument/2006/relationships/vmlDrawing" Target="../drawings/vmlDrawing84.vml"/><Relationship Id="rId5" Type="http://schemas.openxmlformats.org/officeDocument/2006/relationships/image" Target="../media/image54.emf"/><Relationship Id="rId4" Type="http://schemas.openxmlformats.org/officeDocument/2006/relationships/oleObject" Target="../embeddings/oleObject90.bin"/></Relationships>
</file>

<file path=ppt/slides/_rels/slide15.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tags" Target="../tags/tag248.xml"/><Relationship Id="rId7" Type="http://schemas.openxmlformats.org/officeDocument/2006/relationships/image" Target="../media/image55.png"/><Relationship Id="rId2" Type="http://schemas.openxmlformats.org/officeDocument/2006/relationships/tags" Target="../tags/tag247.xml"/><Relationship Id="rId1" Type="http://schemas.openxmlformats.org/officeDocument/2006/relationships/vmlDrawing" Target="../drawings/vmlDrawing85.vml"/><Relationship Id="rId6" Type="http://schemas.openxmlformats.org/officeDocument/2006/relationships/image" Target="../media/image9.emf"/><Relationship Id="rId5" Type="http://schemas.openxmlformats.org/officeDocument/2006/relationships/oleObject" Target="../embeddings/oleObject91.bin"/><Relationship Id="rId4"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8.xml"/></Relationships>
</file>

<file path=ppt/slides/_rels/slide17.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18" Type="http://schemas.openxmlformats.org/officeDocument/2006/relationships/tags" Target="../tags/tag265.xml"/><Relationship Id="rId3" Type="http://schemas.openxmlformats.org/officeDocument/2006/relationships/tags" Target="../tags/tag250.xml"/><Relationship Id="rId21" Type="http://schemas.openxmlformats.org/officeDocument/2006/relationships/image" Target="../media/image57.emf"/><Relationship Id="rId7" Type="http://schemas.openxmlformats.org/officeDocument/2006/relationships/tags" Target="../tags/tag254.xml"/><Relationship Id="rId12" Type="http://schemas.openxmlformats.org/officeDocument/2006/relationships/tags" Target="../tags/tag259.xml"/><Relationship Id="rId17" Type="http://schemas.openxmlformats.org/officeDocument/2006/relationships/tags" Target="../tags/tag264.xml"/><Relationship Id="rId2" Type="http://schemas.openxmlformats.org/officeDocument/2006/relationships/tags" Target="../tags/tag249.xml"/><Relationship Id="rId16" Type="http://schemas.openxmlformats.org/officeDocument/2006/relationships/tags" Target="../tags/tag263.xml"/><Relationship Id="rId20" Type="http://schemas.openxmlformats.org/officeDocument/2006/relationships/oleObject" Target="../embeddings/oleObject92.bin"/><Relationship Id="rId1" Type="http://schemas.openxmlformats.org/officeDocument/2006/relationships/vmlDrawing" Target="../drawings/vmlDrawing86.vml"/><Relationship Id="rId6" Type="http://schemas.openxmlformats.org/officeDocument/2006/relationships/tags" Target="../tags/tag253.xml"/><Relationship Id="rId11" Type="http://schemas.openxmlformats.org/officeDocument/2006/relationships/tags" Target="../tags/tag258.xml"/><Relationship Id="rId5" Type="http://schemas.openxmlformats.org/officeDocument/2006/relationships/tags" Target="../tags/tag252.xml"/><Relationship Id="rId15" Type="http://schemas.openxmlformats.org/officeDocument/2006/relationships/tags" Target="../tags/tag262.xml"/><Relationship Id="rId10" Type="http://schemas.openxmlformats.org/officeDocument/2006/relationships/tags" Target="../tags/tag257.xml"/><Relationship Id="rId19" Type="http://schemas.openxmlformats.org/officeDocument/2006/relationships/slideLayout" Target="../slideLayouts/slideLayout149.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tags" Target="../tags/tag261.xml"/></Relationships>
</file>

<file path=ppt/slides/_rels/slide1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Layout" Target="../slideLayouts/slideLayout153.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267.xml"/><Relationship Id="rId7" Type="http://schemas.openxmlformats.org/officeDocument/2006/relationships/notesSlide" Target="../notesSlides/notesSlide4.xml"/><Relationship Id="rId2" Type="http://schemas.openxmlformats.org/officeDocument/2006/relationships/tags" Target="../tags/tag266.xml"/><Relationship Id="rId1" Type="http://schemas.openxmlformats.org/officeDocument/2006/relationships/vmlDrawing" Target="../drawings/vmlDrawing87.vml"/><Relationship Id="rId6" Type="http://schemas.openxmlformats.org/officeDocument/2006/relationships/slideLayout" Target="../slideLayouts/slideLayout109.xml"/><Relationship Id="rId11" Type="http://schemas.openxmlformats.org/officeDocument/2006/relationships/image" Target="../media/image62.png"/><Relationship Id="rId5" Type="http://schemas.openxmlformats.org/officeDocument/2006/relationships/tags" Target="../tags/tag269.xml"/><Relationship Id="rId10" Type="http://schemas.openxmlformats.org/officeDocument/2006/relationships/image" Target="../media/image61.png"/><Relationship Id="rId4" Type="http://schemas.openxmlformats.org/officeDocument/2006/relationships/tags" Target="../tags/tag268.xml"/><Relationship Id="rId9" Type="http://schemas.openxmlformats.org/officeDocument/2006/relationships/image" Target="../media/image60.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7.jpg"/><Relationship Id="rId2" Type="http://schemas.openxmlformats.org/officeDocument/2006/relationships/tags" Target="../tags/tag190.xml"/><Relationship Id="rId1" Type="http://schemas.openxmlformats.org/officeDocument/2006/relationships/vmlDrawing" Target="../drawings/vmlDrawing72.vml"/><Relationship Id="rId6" Type="http://schemas.openxmlformats.org/officeDocument/2006/relationships/image" Target="../media/image26.jpeg"/><Relationship Id="rId5" Type="http://schemas.openxmlformats.org/officeDocument/2006/relationships/image" Target="../media/image9.emf"/><Relationship Id="rId4" Type="http://schemas.openxmlformats.org/officeDocument/2006/relationships/oleObject" Target="../embeddings/oleObject78.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270.xml"/><Relationship Id="rId1" Type="http://schemas.openxmlformats.org/officeDocument/2006/relationships/vmlDrawing" Target="../drawings/vmlDrawing88.vml"/><Relationship Id="rId6" Type="http://schemas.openxmlformats.org/officeDocument/2006/relationships/chart" Target="../charts/chart1.xml"/><Relationship Id="rId5" Type="http://schemas.openxmlformats.org/officeDocument/2006/relationships/image" Target="../media/image9.emf"/><Relationship Id="rId4" Type="http://schemas.openxmlformats.org/officeDocument/2006/relationships/oleObject" Target="../embeddings/oleObject94.bin"/></Relationships>
</file>

<file path=ppt/slides/_rels/slide21.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18" Type="http://schemas.openxmlformats.org/officeDocument/2006/relationships/image" Target="../media/image7.emf"/><Relationship Id="rId3" Type="http://schemas.openxmlformats.org/officeDocument/2006/relationships/tags" Target="../tags/tag272.xml"/><Relationship Id="rId21" Type="http://schemas.openxmlformats.org/officeDocument/2006/relationships/image" Target="../media/image63.png"/><Relationship Id="rId7" Type="http://schemas.openxmlformats.org/officeDocument/2006/relationships/tags" Target="../tags/tag276.xml"/><Relationship Id="rId12" Type="http://schemas.openxmlformats.org/officeDocument/2006/relationships/tags" Target="../tags/tag281.xml"/><Relationship Id="rId17" Type="http://schemas.openxmlformats.org/officeDocument/2006/relationships/oleObject" Target="../embeddings/oleObject95.bin"/><Relationship Id="rId2" Type="http://schemas.openxmlformats.org/officeDocument/2006/relationships/tags" Target="../tags/tag271.xml"/><Relationship Id="rId16" Type="http://schemas.openxmlformats.org/officeDocument/2006/relationships/slideLayout" Target="../slideLayouts/slideLayout28.xml"/><Relationship Id="rId20" Type="http://schemas.openxmlformats.org/officeDocument/2006/relationships/chart" Target="../charts/chart3.xml"/><Relationship Id="rId1" Type="http://schemas.openxmlformats.org/officeDocument/2006/relationships/vmlDrawing" Target="../drawings/vmlDrawing89.vml"/><Relationship Id="rId6" Type="http://schemas.openxmlformats.org/officeDocument/2006/relationships/tags" Target="../tags/tag275.xml"/><Relationship Id="rId11" Type="http://schemas.openxmlformats.org/officeDocument/2006/relationships/tags" Target="../tags/tag280.xml"/><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image" Target="../media/image65.png"/><Relationship Id="rId10" Type="http://schemas.openxmlformats.org/officeDocument/2006/relationships/tags" Target="../tags/tag279.xml"/><Relationship Id="rId19" Type="http://schemas.openxmlformats.org/officeDocument/2006/relationships/chart" Target="../charts/chart2.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image" Target="../media/image6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85.xml"/><Relationship Id="rId1" Type="http://schemas.openxmlformats.org/officeDocument/2006/relationships/vmlDrawing" Target="../drawings/vmlDrawing90.vml"/><Relationship Id="rId5" Type="http://schemas.openxmlformats.org/officeDocument/2006/relationships/image" Target="../media/image9.emf"/><Relationship Id="rId4" Type="http://schemas.openxmlformats.org/officeDocument/2006/relationships/oleObject" Target="../embeddings/oleObject96.bin"/></Relationships>
</file>

<file path=ppt/slides/_rels/slide2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5.xml"/><Relationship Id="rId1" Type="http://schemas.openxmlformats.org/officeDocument/2006/relationships/slideLayout" Target="../slideLayouts/slideLayout218.xml"/><Relationship Id="rId4" Type="http://schemas.openxmlformats.org/officeDocument/2006/relationships/image" Target="../media/image67.jpeg"/></Relationships>
</file>

<file path=ppt/slides/_rels/slide25.xml.rels><?xml version="1.0" encoding="UTF-8" standalone="yes"?>
<Relationships xmlns="http://schemas.openxmlformats.org/package/2006/relationships"><Relationship Id="rId8" Type="http://schemas.openxmlformats.org/officeDocument/2006/relationships/image" Target="../media/image68.emf"/><Relationship Id="rId3" Type="http://schemas.openxmlformats.org/officeDocument/2006/relationships/tags" Target="../tags/tag287.xml"/><Relationship Id="rId7" Type="http://schemas.openxmlformats.org/officeDocument/2006/relationships/oleObject" Target="../embeddings/oleObject97.bin"/><Relationship Id="rId2" Type="http://schemas.openxmlformats.org/officeDocument/2006/relationships/tags" Target="../tags/tag286.xml"/><Relationship Id="rId1" Type="http://schemas.openxmlformats.org/officeDocument/2006/relationships/vmlDrawing" Target="../drawings/vmlDrawing91.vml"/><Relationship Id="rId6" Type="http://schemas.openxmlformats.org/officeDocument/2006/relationships/slideLayout" Target="../slideLayouts/slideLayout28.xml"/><Relationship Id="rId5" Type="http://schemas.openxmlformats.org/officeDocument/2006/relationships/tags" Target="../tags/tag289.xml"/><Relationship Id="rId4" Type="http://schemas.openxmlformats.org/officeDocument/2006/relationships/tags" Target="../tags/tag288.xml"/><Relationship Id="rId9" Type="http://schemas.openxmlformats.org/officeDocument/2006/relationships/image" Target="../media/image69.png"/></Relationships>
</file>

<file path=ppt/slides/_rels/slide26.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tags" Target="../tags/tag291.xml"/><Relationship Id="rId7" Type="http://schemas.openxmlformats.org/officeDocument/2006/relationships/image" Target="../media/image71.jpeg"/><Relationship Id="rId2" Type="http://schemas.openxmlformats.org/officeDocument/2006/relationships/tags" Target="../tags/tag290.xml"/><Relationship Id="rId1" Type="http://schemas.openxmlformats.org/officeDocument/2006/relationships/vmlDrawing" Target="../drawings/vmlDrawing92.vml"/><Relationship Id="rId6" Type="http://schemas.openxmlformats.org/officeDocument/2006/relationships/image" Target="../media/image70.emf"/><Relationship Id="rId5" Type="http://schemas.openxmlformats.org/officeDocument/2006/relationships/oleObject" Target="../embeddings/oleObject98.bin"/><Relationship Id="rId4"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93.vml"/><Relationship Id="rId6" Type="http://schemas.openxmlformats.org/officeDocument/2006/relationships/image" Target="../media/image9.emf"/><Relationship Id="rId5" Type="http://schemas.openxmlformats.org/officeDocument/2006/relationships/oleObject" Target="../embeddings/oleObject99.bin"/><Relationship Id="rId4" Type="http://schemas.openxmlformats.org/officeDocument/2006/relationships/slideLayout" Target="../slideLayouts/slideLayout17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94.xml"/><Relationship Id="rId1" Type="http://schemas.openxmlformats.org/officeDocument/2006/relationships/vmlDrawing" Target="../drawings/vmlDrawing94.vml"/><Relationship Id="rId5" Type="http://schemas.openxmlformats.org/officeDocument/2006/relationships/image" Target="../media/image54.emf"/><Relationship Id="rId4" Type="http://schemas.openxmlformats.org/officeDocument/2006/relationships/oleObject" Target="../embeddings/oleObject100.bin"/></Relationships>
</file>

<file path=ppt/slides/_rels/slide29.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95.vml"/><Relationship Id="rId6" Type="http://schemas.openxmlformats.org/officeDocument/2006/relationships/image" Target="../media/image70.emf"/><Relationship Id="rId5" Type="http://schemas.openxmlformats.org/officeDocument/2006/relationships/oleObject" Target="../embeddings/oleObject101.bin"/><Relationship Id="rId4" Type="http://schemas.openxmlformats.org/officeDocument/2006/relationships/slideLayout" Target="../slideLayouts/slideLayout188.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tags" Target="../tags/tag192.xml"/><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tags" Target="../tags/tag191.xml"/><Relationship Id="rId1" Type="http://schemas.openxmlformats.org/officeDocument/2006/relationships/vmlDrawing" Target="../drawings/vmlDrawing73.vml"/><Relationship Id="rId6" Type="http://schemas.openxmlformats.org/officeDocument/2006/relationships/image" Target="../media/image9.emf"/><Relationship Id="rId11" Type="http://schemas.openxmlformats.org/officeDocument/2006/relationships/image" Target="../media/image32.png"/><Relationship Id="rId5" Type="http://schemas.openxmlformats.org/officeDocument/2006/relationships/oleObject" Target="../embeddings/oleObject79.bin"/><Relationship Id="rId10" Type="http://schemas.openxmlformats.org/officeDocument/2006/relationships/image" Target="../media/image31.png"/><Relationship Id="rId4" Type="http://schemas.openxmlformats.org/officeDocument/2006/relationships/slideLayout" Target="../slideLayouts/slideLayout44.xml"/><Relationship Id="rId9" Type="http://schemas.openxmlformats.org/officeDocument/2006/relationships/image" Target="../media/image30.png"/></Relationships>
</file>

<file path=ppt/slides/_rels/slide30.xml.rels><?xml version="1.0" encoding="UTF-8" standalone="yes"?>
<Relationships xmlns="http://schemas.openxmlformats.org/package/2006/relationships"><Relationship Id="rId13" Type="http://schemas.openxmlformats.org/officeDocument/2006/relationships/tags" Target="../tags/tag309.xml"/><Relationship Id="rId18" Type="http://schemas.openxmlformats.org/officeDocument/2006/relationships/tags" Target="../tags/tag314.xml"/><Relationship Id="rId26" Type="http://schemas.openxmlformats.org/officeDocument/2006/relationships/tags" Target="../tags/tag322.xml"/><Relationship Id="rId3" Type="http://schemas.openxmlformats.org/officeDocument/2006/relationships/tags" Target="../tags/tag299.xml"/><Relationship Id="rId21" Type="http://schemas.openxmlformats.org/officeDocument/2006/relationships/tags" Target="../tags/tag317.xml"/><Relationship Id="rId7" Type="http://schemas.openxmlformats.org/officeDocument/2006/relationships/tags" Target="../tags/tag303.xml"/><Relationship Id="rId12" Type="http://schemas.openxmlformats.org/officeDocument/2006/relationships/tags" Target="../tags/tag308.xml"/><Relationship Id="rId17" Type="http://schemas.openxmlformats.org/officeDocument/2006/relationships/tags" Target="../tags/tag313.xml"/><Relationship Id="rId25" Type="http://schemas.openxmlformats.org/officeDocument/2006/relationships/tags" Target="../tags/tag321.xml"/><Relationship Id="rId33" Type="http://schemas.openxmlformats.org/officeDocument/2006/relationships/chart" Target="../charts/chart4.xml"/><Relationship Id="rId2" Type="http://schemas.openxmlformats.org/officeDocument/2006/relationships/tags" Target="../tags/tag298.xml"/><Relationship Id="rId16" Type="http://schemas.openxmlformats.org/officeDocument/2006/relationships/tags" Target="../tags/tag312.xml"/><Relationship Id="rId20" Type="http://schemas.openxmlformats.org/officeDocument/2006/relationships/tags" Target="../tags/tag316.xml"/><Relationship Id="rId29" Type="http://schemas.openxmlformats.org/officeDocument/2006/relationships/tags" Target="../tags/tag325.xml"/><Relationship Id="rId1" Type="http://schemas.openxmlformats.org/officeDocument/2006/relationships/tags" Target="../tags/tag297.xml"/><Relationship Id="rId6" Type="http://schemas.openxmlformats.org/officeDocument/2006/relationships/tags" Target="../tags/tag302.xml"/><Relationship Id="rId11" Type="http://schemas.openxmlformats.org/officeDocument/2006/relationships/tags" Target="../tags/tag307.xml"/><Relationship Id="rId24" Type="http://schemas.openxmlformats.org/officeDocument/2006/relationships/tags" Target="../tags/tag320.xml"/><Relationship Id="rId32" Type="http://schemas.openxmlformats.org/officeDocument/2006/relationships/notesSlide" Target="../notesSlides/notesSlide6.xml"/><Relationship Id="rId5" Type="http://schemas.openxmlformats.org/officeDocument/2006/relationships/tags" Target="../tags/tag301.xml"/><Relationship Id="rId15" Type="http://schemas.openxmlformats.org/officeDocument/2006/relationships/tags" Target="../tags/tag311.xml"/><Relationship Id="rId23" Type="http://schemas.openxmlformats.org/officeDocument/2006/relationships/tags" Target="../tags/tag319.xml"/><Relationship Id="rId28" Type="http://schemas.openxmlformats.org/officeDocument/2006/relationships/tags" Target="../tags/tag324.xml"/><Relationship Id="rId10" Type="http://schemas.openxmlformats.org/officeDocument/2006/relationships/tags" Target="../tags/tag306.xml"/><Relationship Id="rId19" Type="http://schemas.openxmlformats.org/officeDocument/2006/relationships/tags" Target="../tags/tag315.xml"/><Relationship Id="rId31" Type="http://schemas.openxmlformats.org/officeDocument/2006/relationships/slideLayout" Target="../slideLayouts/slideLayout223.xml"/><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tags" Target="../tags/tag310.xml"/><Relationship Id="rId22" Type="http://schemas.openxmlformats.org/officeDocument/2006/relationships/tags" Target="../tags/tag318.xml"/><Relationship Id="rId27" Type="http://schemas.openxmlformats.org/officeDocument/2006/relationships/tags" Target="../tags/tag323.xml"/><Relationship Id="rId30" Type="http://schemas.openxmlformats.org/officeDocument/2006/relationships/tags" Target="../tags/tag326.xml"/><Relationship Id="rId8" Type="http://schemas.openxmlformats.org/officeDocument/2006/relationships/tags" Target="../tags/tag30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95.xml"/><Relationship Id="rId2" Type="http://schemas.openxmlformats.org/officeDocument/2006/relationships/tags" Target="../tags/tag327.xml"/><Relationship Id="rId1" Type="http://schemas.openxmlformats.org/officeDocument/2006/relationships/vmlDrawing" Target="../drawings/vmlDrawing96.vml"/><Relationship Id="rId6" Type="http://schemas.openxmlformats.org/officeDocument/2006/relationships/chart" Target="../charts/chart5.xml"/><Relationship Id="rId5" Type="http://schemas.openxmlformats.org/officeDocument/2006/relationships/image" Target="../media/image73.emf"/><Relationship Id="rId4" Type="http://schemas.openxmlformats.org/officeDocument/2006/relationships/oleObject" Target="../embeddings/oleObject102.bin"/></Relationships>
</file>

<file path=ppt/slides/_rels/slide32.xml.rels><?xml version="1.0" encoding="UTF-8" standalone="yes"?>
<Relationships xmlns="http://schemas.openxmlformats.org/package/2006/relationships"><Relationship Id="rId117" Type="http://schemas.openxmlformats.org/officeDocument/2006/relationships/tags" Target="../tags/tag444.xml"/><Relationship Id="rId21" Type="http://schemas.openxmlformats.org/officeDocument/2006/relationships/tags" Target="../tags/tag348.xml"/><Relationship Id="rId42" Type="http://schemas.openxmlformats.org/officeDocument/2006/relationships/tags" Target="../tags/tag369.xml"/><Relationship Id="rId63" Type="http://schemas.openxmlformats.org/officeDocument/2006/relationships/tags" Target="../tags/tag390.xml"/><Relationship Id="rId84" Type="http://schemas.openxmlformats.org/officeDocument/2006/relationships/tags" Target="../tags/tag411.xml"/><Relationship Id="rId138" Type="http://schemas.openxmlformats.org/officeDocument/2006/relationships/tags" Target="../tags/tag465.xml"/><Relationship Id="rId159" Type="http://schemas.openxmlformats.org/officeDocument/2006/relationships/tags" Target="../tags/tag486.xml"/><Relationship Id="rId170" Type="http://schemas.openxmlformats.org/officeDocument/2006/relationships/tags" Target="../tags/tag497.xml"/><Relationship Id="rId107" Type="http://schemas.openxmlformats.org/officeDocument/2006/relationships/tags" Target="../tags/tag434.xml"/><Relationship Id="rId11" Type="http://schemas.openxmlformats.org/officeDocument/2006/relationships/tags" Target="../tags/tag338.xml"/><Relationship Id="rId32" Type="http://schemas.openxmlformats.org/officeDocument/2006/relationships/tags" Target="../tags/tag359.xml"/><Relationship Id="rId53" Type="http://schemas.openxmlformats.org/officeDocument/2006/relationships/tags" Target="../tags/tag380.xml"/><Relationship Id="rId74" Type="http://schemas.openxmlformats.org/officeDocument/2006/relationships/tags" Target="../tags/tag401.xml"/><Relationship Id="rId128" Type="http://schemas.openxmlformats.org/officeDocument/2006/relationships/tags" Target="../tags/tag455.xml"/><Relationship Id="rId149" Type="http://schemas.openxmlformats.org/officeDocument/2006/relationships/tags" Target="../tags/tag476.xml"/><Relationship Id="rId5" Type="http://schemas.openxmlformats.org/officeDocument/2006/relationships/tags" Target="../tags/tag332.xml"/><Relationship Id="rId95" Type="http://schemas.openxmlformats.org/officeDocument/2006/relationships/tags" Target="../tags/tag422.xml"/><Relationship Id="rId160" Type="http://schemas.openxmlformats.org/officeDocument/2006/relationships/tags" Target="../tags/tag487.xml"/><Relationship Id="rId181" Type="http://schemas.openxmlformats.org/officeDocument/2006/relationships/image" Target="../media/image75.png"/><Relationship Id="rId22" Type="http://schemas.openxmlformats.org/officeDocument/2006/relationships/tags" Target="../tags/tag349.xml"/><Relationship Id="rId43" Type="http://schemas.openxmlformats.org/officeDocument/2006/relationships/tags" Target="../tags/tag370.xml"/><Relationship Id="rId64" Type="http://schemas.openxmlformats.org/officeDocument/2006/relationships/tags" Target="../tags/tag391.xml"/><Relationship Id="rId118" Type="http://schemas.openxmlformats.org/officeDocument/2006/relationships/tags" Target="../tags/tag445.xml"/><Relationship Id="rId139" Type="http://schemas.openxmlformats.org/officeDocument/2006/relationships/tags" Target="../tags/tag466.xml"/><Relationship Id="rId85" Type="http://schemas.openxmlformats.org/officeDocument/2006/relationships/tags" Target="../tags/tag412.xml"/><Relationship Id="rId150" Type="http://schemas.openxmlformats.org/officeDocument/2006/relationships/tags" Target="../tags/tag477.xml"/><Relationship Id="rId171" Type="http://schemas.openxmlformats.org/officeDocument/2006/relationships/tags" Target="../tags/tag498.xml"/><Relationship Id="rId12" Type="http://schemas.openxmlformats.org/officeDocument/2006/relationships/tags" Target="../tags/tag339.xml"/><Relationship Id="rId33" Type="http://schemas.openxmlformats.org/officeDocument/2006/relationships/tags" Target="../tags/tag360.xml"/><Relationship Id="rId108" Type="http://schemas.openxmlformats.org/officeDocument/2006/relationships/tags" Target="../tags/tag435.xml"/><Relationship Id="rId129" Type="http://schemas.openxmlformats.org/officeDocument/2006/relationships/tags" Target="../tags/tag456.xml"/><Relationship Id="rId54" Type="http://schemas.openxmlformats.org/officeDocument/2006/relationships/tags" Target="../tags/tag381.xml"/><Relationship Id="rId75" Type="http://schemas.openxmlformats.org/officeDocument/2006/relationships/tags" Target="../tags/tag402.xml"/><Relationship Id="rId96" Type="http://schemas.openxmlformats.org/officeDocument/2006/relationships/tags" Target="../tags/tag423.xml"/><Relationship Id="rId140" Type="http://schemas.openxmlformats.org/officeDocument/2006/relationships/tags" Target="../tags/tag467.xml"/><Relationship Id="rId161" Type="http://schemas.openxmlformats.org/officeDocument/2006/relationships/tags" Target="../tags/tag488.xml"/><Relationship Id="rId182" Type="http://schemas.openxmlformats.org/officeDocument/2006/relationships/image" Target="../media/image76.wmf"/><Relationship Id="rId6" Type="http://schemas.openxmlformats.org/officeDocument/2006/relationships/tags" Target="../tags/tag333.xml"/><Relationship Id="rId23" Type="http://schemas.openxmlformats.org/officeDocument/2006/relationships/tags" Target="../tags/tag350.xml"/><Relationship Id="rId119" Type="http://schemas.openxmlformats.org/officeDocument/2006/relationships/tags" Target="../tags/tag446.xml"/><Relationship Id="rId44" Type="http://schemas.openxmlformats.org/officeDocument/2006/relationships/tags" Target="../tags/tag371.xml"/><Relationship Id="rId60" Type="http://schemas.openxmlformats.org/officeDocument/2006/relationships/tags" Target="../tags/tag387.xml"/><Relationship Id="rId65" Type="http://schemas.openxmlformats.org/officeDocument/2006/relationships/tags" Target="../tags/tag392.xml"/><Relationship Id="rId81" Type="http://schemas.openxmlformats.org/officeDocument/2006/relationships/tags" Target="../tags/tag408.xml"/><Relationship Id="rId86" Type="http://schemas.openxmlformats.org/officeDocument/2006/relationships/tags" Target="../tags/tag413.xml"/><Relationship Id="rId130" Type="http://schemas.openxmlformats.org/officeDocument/2006/relationships/tags" Target="../tags/tag457.xml"/><Relationship Id="rId135" Type="http://schemas.openxmlformats.org/officeDocument/2006/relationships/tags" Target="../tags/tag462.xml"/><Relationship Id="rId151" Type="http://schemas.openxmlformats.org/officeDocument/2006/relationships/tags" Target="../tags/tag478.xml"/><Relationship Id="rId156" Type="http://schemas.openxmlformats.org/officeDocument/2006/relationships/tags" Target="../tags/tag483.xml"/><Relationship Id="rId177" Type="http://schemas.openxmlformats.org/officeDocument/2006/relationships/tags" Target="../tags/tag504.xml"/><Relationship Id="rId172" Type="http://schemas.openxmlformats.org/officeDocument/2006/relationships/tags" Target="../tags/tag499.xml"/><Relationship Id="rId13" Type="http://schemas.openxmlformats.org/officeDocument/2006/relationships/tags" Target="../tags/tag340.xml"/><Relationship Id="rId18" Type="http://schemas.openxmlformats.org/officeDocument/2006/relationships/tags" Target="../tags/tag345.xml"/><Relationship Id="rId39" Type="http://schemas.openxmlformats.org/officeDocument/2006/relationships/tags" Target="../tags/tag366.xml"/><Relationship Id="rId109" Type="http://schemas.openxmlformats.org/officeDocument/2006/relationships/tags" Target="../tags/tag436.xml"/><Relationship Id="rId34" Type="http://schemas.openxmlformats.org/officeDocument/2006/relationships/tags" Target="../tags/tag361.xml"/><Relationship Id="rId50" Type="http://schemas.openxmlformats.org/officeDocument/2006/relationships/tags" Target="../tags/tag377.xml"/><Relationship Id="rId55" Type="http://schemas.openxmlformats.org/officeDocument/2006/relationships/tags" Target="../tags/tag382.xml"/><Relationship Id="rId76" Type="http://schemas.openxmlformats.org/officeDocument/2006/relationships/tags" Target="../tags/tag403.xml"/><Relationship Id="rId97" Type="http://schemas.openxmlformats.org/officeDocument/2006/relationships/tags" Target="../tags/tag424.xml"/><Relationship Id="rId104" Type="http://schemas.openxmlformats.org/officeDocument/2006/relationships/tags" Target="../tags/tag431.xml"/><Relationship Id="rId120" Type="http://schemas.openxmlformats.org/officeDocument/2006/relationships/tags" Target="../tags/tag447.xml"/><Relationship Id="rId125" Type="http://schemas.openxmlformats.org/officeDocument/2006/relationships/tags" Target="../tags/tag452.xml"/><Relationship Id="rId141" Type="http://schemas.openxmlformats.org/officeDocument/2006/relationships/tags" Target="../tags/tag468.xml"/><Relationship Id="rId146" Type="http://schemas.openxmlformats.org/officeDocument/2006/relationships/tags" Target="../tags/tag473.xml"/><Relationship Id="rId167" Type="http://schemas.openxmlformats.org/officeDocument/2006/relationships/tags" Target="../tags/tag494.xml"/><Relationship Id="rId7" Type="http://schemas.openxmlformats.org/officeDocument/2006/relationships/tags" Target="../tags/tag334.xml"/><Relationship Id="rId71" Type="http://schemas.openxmlformats.org/officeDocument/2006/relationships/tags" Target="../tags/tag398.xml"/><Relationship Id="rId92" Type="http://schemas.openxmlformats.org/officeDocument/2006/relationships/tags" Target="../tags/tag419.xml"/><Relationship Id="rId162" Type="http://schemas.openxmlformats.org/officeDocument/2006/relationships/tags" Target="../tags/tag489.xml"/><Relationship Id="rId2" Type="http://schemas.openxmlformats.org/officeDocument/2006/relationships/tags" Target="../tags/tag329.xml"/><Relationship Id="rId29" Type="http://schemas.openxmlformats.org/officeDocument/2006/relationships/tags" Target="../tags/tag356.xml"/><Relationship Id="rId24" Type="http://schemas.openxmlformats.org/officeDocument/2006/relationships/tags" Target="../tags/tag351.xml"/><Relationship Id="rId40" Type="http://schemas.openxmlformats.org/officeDocument/2006/relationships/tags" Target="../tags/tag367.xml"/><Relationship Id="rId45" Type="http://schemas.openxmlformats.org/officeDocument/2006/relationships/tags" Target="../tags/tag372.xml"/><Relationship Id="rId66" Type="http://schemas.openxmlformats.org/officeDocument/2006/relationships/tags" Target="../tags/tag393.xml"/><Relationship Id="rId87" Type="http://schemas.openxmlformats.org/officeDocument/2006/relationships/tags" Target="../tags/tag414.xml"/><Relationship Id="rId110" Type="http://schemas.openxmlformats.org/officeDocument/2006/relationships/tags" Target="../tags/tag437.xml"/><Relationship Id="rId115" Type="http://schemas.openxmlformats.org/officeDocument/2006/relationships/tags" Target="../tags/tag442.xml"/><Relationship Id="rId131" Type="http://schemas.openxmlformats.org/officeDocument/2006/relationships/tags" Target="../tags/tag458.xml"/><Relationship Id="rId136" Type="http://schemas.openxmlformats.org/officeDocument/2006/relationships/tags" Target="../tags/tag463.xml"/><Relationship Id="rId157" Type="http://schemas.openxmlformats.org/officeDocument/2006/relationships/tags" Target="../tags/tag484.xml"/><Relationship Id="rId178" Type="http://schemas.openxmlformats.org/officeDocument/2006/relationships/tags" Target="../tags/tag505.xml"/><Relationship Id="rId61" Type="http://schemas.openxmlformats.org/officeDocument/2006/relationships/tags" Target="../tags/tag388.xml"/><Relationship Id="rId82" Type="http://schemas.openxmlformats.org/officeDocument/2006/relationships/tags" Target="../tags/tag409.xml"/><Relationship Id="rId152" Type="http://schemas.openxmlformats.org/officeDocument/2006/relationships/tags" Target="../tags/tag479.xml"/><Relationship Id="rId173" Type="http://schemas.openxmlformats.org/officeDocument/2006/relationships/tags" Target="../tags/tag500.xml"/><Relationship Id="rId19" Type="http://schemas.openxmlformats.org/officeDocument/2006/relationships/tags" Target="../tags/tag346.xml"/><Relationship Id="rId14" Type="http://schemas.openxmlformats.org/officeDocument/2006/relationships/tags" Target="../tags/tag341.xml"/><Relationship Id="rId30" Type="http://schemas.openxmlformats.org/officeDocument/2006/relationships/tags" Target="../tags/tag357.xml"/><Relationship Id="rId35" Type="http://schemas.openxmlformats.org/officeDocument/2006/relationships/tags" Target="../tags/tag362.xml"/><Relationship Id="rId56" Type="http://schemas.openxmlformats.org/officeDocument/2006/relationships/tags" Target="../tags/tag383.xml"/><Relationship Id="rId77" Type="http://schemas.openxmlformats.org/officeDocument/2006/relationships/tags" Target="../tags/tag404.xml"/><Relationship Id="rId100" Type="http://schemas.openxmlformats.org/officeDocument/2006/relationships/tags" Target="../tags/tag427.xml"/><Relationship Id="rId105" Type="http://schemas.openxmlformats.org/officeDocument/2006/relationships/tags" Target="../tags/tag432.xml"/><Relationship Id="rId126" Type="http://schemas.openxmlformats.org/officeDocument/2006/relationships/tags" Target="../tags/tag453.xml"/><Relationship Id="rId147" Type="http://schemas.openxmlformats.org/officeDocument/2006/relationships/tags" Target="../tags/tag474.xml"/><Relationship Id="rId168" Type="http://schemas.openxmlformats.org/officeDocument/2006/relationships/tags" Target="../tags/tag495.xml"/><Relationship Id="rId8" Type="http://schemas.openxmlformats.org/officeDocument/2006/relationships/tags" Target="../tags/tag335.xml"/><Relationship Id="rId51" Type="http://schemas.openxmlformats.org/officeDocument/2006/relationships/tags" Target="../tags/tag378.xml"/><Relationship Id="rId72" Type="http://schemas.openxmlformats.org/officeDocument/2006/relationships/tags" Target="../tags/tag399.xml"/><Relationship Id="rId93" Type="http://schemas.openxmlformats.org/officeDocument/2006/relationships/tags" Target="../tags/tag420.xml"/><Relationship Id="rId98" Type="http://schemas.openxmlformats.org/officeDocument/2006/relationships/tags" Target="../tags/tag425.xml"/><Relationship Id="rId121" Type="http://schemas.openxmlformats.org/officeDocument/2006/relationships/tags" Target="../tags/tag448.xml"/><Relationship Id="rId142" Type="http://schemas.openxmlformats.org/officeDocument/2006/relationships/tags" Target="../tags/tag469.xml"/><Relationship Id="rId163" Type="http://schemas.openxmlformats.org/officeDocument/2006/relationships/tags" Target="../tags/tag490.xml"/><Relationship Id="rId3" Type="http://schemas.openxmlformats.org/officeDocument/2006/relationships/tags" Target="../tags/tag330.xml"/><Relationship Id="rId25" Type="http://schemas.openxmlformats.org/officeDocument/2006/relationships/tags" Target="../tags/tag352.xml"/><Relationship Id="rId46" Type="http://schemas.openxmlformats.org/officeDocument/2006/relationships/tags" Target="../tags/tag373.xml"/><Relationship Id="rId67" Type="http://schemas.openxmlformats.org/officeDocument/2006/relationships/tags" Target="../tags/tag394.xml"/><Relationship Id="rId116" Type="http://schemas.openxmlformats.org/officeDocument/2006/relationships/tags" Target="../tags/tag443.xml"/><Relationship Id="rId137" Type="http://schemas.openxmlformats.org/officeDocument/2006/relationships/tags" Target="../tags/tag464.xml"/><Relationship Id="rId158" Type="http://schemas.openxmlformats.org/officeDocument/2006/relationships/tags" Target="../tags/tag485.xml"/><Relationship Id="rId20" Type="http://schemas.openxmlformats.org/officeDocument/2006/relationships/tags" Target="../tags/tag347.xml"/><Relationship Id="rId41" Type="http://schemas.openxmlformats.org/officeDocument/2006/relationships/tags" Target="../tags/tag368.xml"/><Relationship Id="rId62" Type="http://schemas.openxmlformats.org/officeDocument/2006/relationships/tags" Target="../tags/tag389.xml"/><Relationship Id="rId83" Type="http://schemas.openxmlformats.org/officeDocument/2006/relationships/tags" Target="../tags/tag410.xml"/><Relationship Id="rId88" Type="http://schemas.openxmlformats.org/officeDocument/2006/relationships/tags" Target="../tags/tag415.xml"/><Relationship Id="rId111" Type="http://schemas.openxmlformats.org/officeDocument/2006/relationships/tags" Target="../tags/tag438.xml"/><Relationship Id="rId132" Type="http://schemas.openxmlformats.org/officeDocument/2006/relationships/tags" Target="../tags/tag459.xml"/><Relationship Id="rId153" Type="http://schemas.openxmlformats.org/officeDocument/2006/relationships/tags" Target="../tags/tag480.xml"/><Relationship Id="rId174" Type="http://schemas.openxmlformats.org/officeDocument/2006/relationships/tags" Target="../tags/tag501.xml"/><Relationship Id="rId179" Type="http://schemas.openxmlformats.org/officeDocument/2006/relationships/slideLayout" Target="../slideLayouts/slideLayout51.xml"/><Relationship Id="rId15" Type="http://schemas.openxmlformats.org/officeDocument/2006/relationships/tags" Target="../tags/tag342.xml"/><Relationship Id="rId36" Type="http://schemas.openxmlformats.org/officeDocument/2006/relationships/tags" Target="../tags/tag363.xml"/><Relationship Id="rId57" Type="http://schemas.openxmlformats.org/officeDocument/2006/relationships/tags" Target="../tags/tag384.xml"/><Relationship Id="rId106" Type="http://schemas.openxmlformats.org/officeDocument/2006/relationships/tags" Target="../tags/tag433.xml"/><Relationship Id="rId127" Type="http://schemas.openxmlformats.org/officeDocument/2006/relationships/tags" Target="../tags/tag454.xml"/><Relationship Id="rId10" Type="http://schemas.openxmlformats.org/officeDocument/2006/relationships/tags" Target="../tags/tag337.xml"/><Relationship Id="rId31" Type="http://schemas.openxmlformats.org/officeDocument/2006/relationships/tags" Target="../tags/tag358.xml"/><Relationship Id="rId52" Type="http://schemas.openxmlformats.org/officeDocument/2006/relationships/tags" Target="../tags/tag379.xml"/><Relationship Id="rId73" Type="http://schemas.openxmlformats.org/officeDocument/2006/relationships/tags" Target="../tags/tag400.xml"/><Relationship Id="rId78" Type="http://schemas.openxmlformats.org/officeDocument/2006/relationships/tags" Target="../tags/tag405.xml"/><Relationship Id="rId94" Type="http://schemas.openxmlformats.org/officeDocument/2006/relationships/tags" Target="../tags/tag421.xml"/><Relationship Id="rId99" Type="http://schemas.openxmlformats.org/officeDocument/2006/relationships/tags" Target="../tags/tag426.xml"/><Relationship Id="rId101" Type="http://schemas.openxmlformats.org/officeDocument/2006/relationships/tags" Target="../tags/tag428.xml"/><Relationship Id="rId122" Type="http://schemas.openxmlformats.org/officeDocument/2006/relationships/tags" Target="../tags/tag449.xml"/><Relationship Id="rId143" Type="http://schemas.openxmlformats.org/officeDocument/2006/relationships/tags" Target="../tags/tag470.xml"/><Relationship Id="rId148" Type="http://schemas.openxmlformats.org/officeDocument/2006/relationships/tags" Target="../tags/tag475.xml"/><Relationship Id="rId164" Type="http://schemas.openxmlformats.org/officeDocument/2006/relationships/tags" Target="../tags/tag491.xml"/><Relationship Id="rId169" Type="http://schemas.openxmlformats.org/officeDocument/2006/relationships/tags" Target="../tags/tag496.xml"/><Relationship Id="rId4" Type="http://schemas.openxmlformats.org/officeDocument/2006/relationships/tags" Target="../tags/tag331.xml"/><Relationship Id="rId9" Type="http://schemas.openxmlformats.org/officeDocument/2006/relationships/tags" Target="../tags/tag336.xml"/><Relationship Id="rId180" Type="http://schemas.openxmlformats.org/officeDocument/2006/relationships/image" Target="../media/image74.png"/><Relationship Id="rId26" Type="http://schemas.openxmlformats.org/officeDocument/2006/relationships/tags" Target="../tags/tag353.xml"/><Relationship Id="rId47" Type="http://schemas.openxmlformats.org/officeDocument/2006/relationships/tags" Target="../tags/tag374.xml"/><Relationship Id="rId68" Type="http://schemas.openxmlformats.org/officeDocument/2006/relationships/tags" Target="../tags/tag395.xml"/><Relationship Id="rId89" Type="http://schemas.openxmlformats.org/officeDocument/2006/relationships/tags" Target="../tags/tag416.xml"/><Relationship Id="rId112" Type="http://schemas.openxmlformats.org/officeDocument/2006/relationships/tags" Target="../tags/tag439.xml"/><Relationship Id="rId133" Type="http://schemas.openxmlformats.org/officeDocument/2006/relationships/tags" Target="../tags/tag460.xml"/><Relationship Id="rId154" Type="http://schemas.openxmlformats.org/officeDocument/2006/relationships/tags" Target="../tags/tag481.xml"/><Relationship Id="rId175" Type="http://schemas.openxmlformats.org/officeDocument/2006/relationships/tags" Target="../tags/tag502.xml"/><Relationship Id="rId16" Type="http://schemas.openxmlformats.org/officeDocument/2006/relationships/tags" Target="../tags/tag343.xml"/><Relationship Id="rId37" Type="http://schemas.openxmlformats.org/officeDocument/2006/relationships/tags" Target="../tags/tag364.xml"/><Relationship Id="rId58" Type="http://schemas.openxmlformats.org/officeDocument/2006/relationships/tags" Target="../tags/tag385.xml"/><Relationship Id="rId79" Type="http://schemas.openxmlformats.org/officeDocument/2006/relationships/tags" Target="../tags/tag406.xml"/><Relationship Id="rId102" Type="http://schemas.openxmlformats.org/officeDocument/2006/relationships/tags" Target="../tags/tag429.xml"/><Relationship Id="rId123" Type="http://schemas.openxmlformats.org/officeDocument/2006/relationships/tags" Target="../tags/tag450.xml"/><Relationship Id="rId144" Type="http://schemas.openxmlformats.org/officeDocument/2006/relationships/tags" Target="../tags/tag471.xml"/><Relationship Id="rId90" Type="http://schemas.openxmlformats.org/officeDocument/2006/relationships/tags" Target="../tags/tag417.xml"/><Relationship Id="rId165" Type="http://schemas.openxmlformats.org/officeDocument/2006/relationships/tags" Target="../tags/tag492.xml"/><Relationship Id="rId27" Type="http://schemas.openxmlformats.org/officeDocument/2006/relationships/tags" Target="../tags/tag354.xml"/><Relationship Id="rId48" Type="http://schemas.openxmlformats.org/officeDocument/2006/relationships/tags" Target="../tags/tag375.xml"/><Relationship Id="rId69" Type="http://schemas.openxmlformats.org/officeDocument/2006/relationships/tags" Target="../tags/tag396.xml"/><Relationship Id="rId113" Type="http://schemas.openxmlformats.org/officeDocument/2006/relationships/tags" Target="../tags/tag440.xml"/><Relationship Id="rId134" Type="http://schemas.openxmlformats.org/officeDocument/2006/relationships/tags" Target="../tags/tag461.xml"/><Relationship Id="rId80" Type="http://schemas.openxmlformats.org/officeDocument/2006/relationships/tags" Target="../tags/tag407.xml"/><Relationship Id="rId155" Type="http://schemas.openxmlformats.org/officeDocument/2006/relationships/tags" Target="../tags/tag482.xml"/><Relationship Id="rId176" Type="http://schemas.openxmlformats.org/officeDocument/2006/relationships/tags" Target="../tags/tag503.xml"/><Relationship Id="rId17" Type="http://schemas.openxmlformats.org/officeDocument/2006/relationships/tags" Target="../tags/tag344.xml"/><Relationship Id="rId38" Type="http://schemas.openxmlformats.org/officeDocument/2006/relationships/tags" Target="../tags/tag365.xml"/><Relationship Id="rId59" Type="http://schemas.openxmlformats.org/officeDocument/2006/relationships/tags" Target="../tags/tag386.xml"/><Relationship Id="rId103" Type="http://schemas.openxmlformats.org/officeDocument/2006/relationships/tags" Target="../tags/tag430.xml"/><Relationship Id="rId124" Type="http://schemas.openxmlformats.org/officeDocument/2006/relationships/tags" Target="../tags/tag451.xml"/><Relationship Id="rId70" Type="http://schemas.openxmlformats.org/officeDocument/2006/relationships/tags" Target="../tags/tag397.xml"/><Relationship Id="rId91" Type="http://schemas.openxmlformats.org/officeDocument/2006/relationships/tags" Target="../tags/tag418.xml"/><Relationship Id="rId145" Type="http://schemas.openxmlformats.org/officeDocument/2006/relationships/tags" Target="../tags/tag472.xml"/><Relationship Id="rId166" Type="http://schemas.openxmlformats.org/officeDocument/2006/relationships/tags" Target="../tags/tag493.xml"/><Relationship Id="rId1" Type="http://schemas.openxmlformats.org/officeDocument/2006/relationships/tags" Target="../tags/tag328.xml"/><Relationship Id="rId28" Type="http://schemas.openxmlformats.org/officeDocument/2006/relationships/tags" Target="../tags/tag355.xml"/><Relationship Id="rId49" Type="http://schemas.openxmlformats.org/officeDocument/2006/relationships/tags" Target="../tags/tag376.xml"/><Relationship Id="rId114" Type="http://schemas.openxmlformats.org/officeDocument/2006/relationships/tags" Target="../tags/tag441.xml"/></Relationships>
</file>

<file path=ppt/slides/_rels/slide33.xml.rels><?xml version="1.0" encoding="UTF-8" standalone="yes"?>
<Relationships xmlns="http://schemas.openxmlformats.org/package/2006/relationships"><Relationship Id="rId3" Type="http://schemas.openxmlformats.org/officeDocument/2006/relationships/tags" Target="../tags/tag507.xml"/><Relationship Id="rId7" Type="http://schemas.openxmlformats.org/officeDocument/2006/relationships/image" Target="../media/image77.png"/><Relationship Id="rId2" Type="http://schemas.openxmlformats.org/officeDocument/2006/relationships/tags" Target="../tags/tag506.xml"/><Relationship Id="rId1" Type="http://schemas.openxmlformats.org/officeDocument/2006/relationships/vmlDrawing" Target="../drawings/vmlDrawing97.vml"/><Relationship Id="rId6" Type="http://schemas.openxmlformats.org/officeDocument/2006/relationships/image" Target="../media/image9.emf"/><Relationship Id="rId5" Type="http://schemas.openxmlformats.org/officeDocument/2006/relationships/oleObject" Target="../embeddings/oleObject103.bin"/><Relationship Id="rId4" Type="http://schemas.openxmlformats.org/officeDocument/2006/relationships/slideLayout" Target="../slideLayouts/slideLayout21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7.jpg"/><Relationship Id="rId2" Type="http://schemas.openxmlformats.org/officeDocument/2006/relationships/tags" Target="../tags/tag508.xml"/><Relationship Id="rId1" Type="http://schemas.openxmlformats.org/officeDocument/2006/relationships/vmlDrawing" Target="../drawings/vmlDrawing98.vml"/><Relationship Id="rId6" Type="http://schemas.openxmlformats.org/officeDocument/2006/relationships/image" Target="../media/image26.jpeg"/><Relationship Id="rId5" Type="http://schemas.openxmlformats.org/officeDocument/2006/relationships/image" Target="../media/image9.emf"/><Relationship Id="rId4" Type="http://schemas.openxmlformats.org/officeDocument/2006/relationships/oleObject" Target="../embeddings/oleObject104.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09.xml"/><Relationship Id="rId1" Type="http://schemas.openxmlformats.org/officeDocument/2006/relationships/vmlDrawing" Target="../drawings/vmlDrawing99.vml"/><Relationship Id="rId5" Type="http://schemas.openxmlformats.org/officeDocument/2006/relationships/image" Target="../media/image9.emf"/><Relationship Id="rId4" Type="http://schemas.openxmlformats.org/officeDocument/2006/relationships/oleObject" Target="../embeddings/oleObject105.bin"/></Relationships>
</file>

<file path=ppt/slides/_rels/slide36.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94.xml"/><Relationship Id="rId7" Type="http://schemas.openxmlformats.org/officeDocument/2006/relationships/oleObject" Target="../embeddings/oleObject80.bin"/><Relationship Id="rId2" Type="http://schemas.openxmlformats.org/officeDocument/2006/relationships/tags" Target="../tags/tag193.xml"/><Relationship Id="rId1" Type="http://schemas.openxmlformats.org/officeDocument/2006/relationships/vmlDrawing" Target="../drawings/vmlDrawing74.vml"/><Relationship Id="rId6" Type="http://schemas.openxmlformats.org/officeDocument/2006/relationships/slideLayout" Target="../slideLayouts/slideLayout6.xml"/><Relationship Id="rId5" Type="http://schemas.openxmlformats.org/officeDocument/2006/relationships/tags" Target="../tags/tag196.xml"/><Relationship Id="rId4" Type="http://schemas.openxmlformats.org/officeDocument/2006/relationships/tags" Target="../tags/tag195.xml"/></Relationships>
</file>

<file path=ppt/slides/_rels/slide5.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9.emf"/><Relationship Id="rId2" Type="http://schemas.openxmlformats.org/officeDocument/2006/relationships/tags" Target="../tags/tag197.xml"/><Relationship Id="rId1" Type="http://schemas.openxmlformats.org/officeDocument/2006/relationships/vmlDrawing" Target="../drawings/vmlDrawing75.vml"/><Relationship Id="rId6" Type="http://schemas.openxmlformats.org/officeDocument/2006/relationships/oleObject" Target="../embeddings/oleObject81.bin"/><Relationship Id="rId5" Type="http://schemas.openxmlformats.org/officeDocument/2006/relationships/slideLayout" Target="../slideLayouts/slideLayout6.xml"/><Relationship Id="rId4" Type="http://schemas.openxmlformats.org/officeDocument/2006/relationships/tags" Target="../tags/tag19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7.jpg"/><Relationship Id="rId2" Type="http://schemas.openxmlformats.org/officeDocument/2006/relationships/tags" Target="../tags/tag200.xml"/><Relationship Id="rId1" Type="http://schemas.openxmlformats.org/officeDocument/2006/relationships/vmlDrawing" Target="../drawings/vmlDrawing76.vml"/><Relationship Id="rId6" Type="http://schemas.openxmlformats.org/officeDocument/2006/relationships/image" Target="../media/image26.jpeg"/><Relationship Id="rId5" Type="http://schemas.openxmlformats.org/officeDocument/2006/relationships/image" Target="../media/image9.emf"/><Relationship Id="rId4" Type="http://schemas.openxmlformats.org/officeDocument/2006/relationships/oleObject" Target="../embeddings/oleObject82.bin"/></Relationships>
</file>

<file path=ppt/slides/_rels/slide7.xml.rels><?xml version="1.0" encoding="UTF-8" standalone="yes"?>
<Relationships xmlns="http://schemas.openxmlformats.org/package/2006/relationships"><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tags" Target="../tags/tag225.xml"/><Relationship Id="rId39" Type="http://schemas.openxmlformats.org/officeDocument/2006/relationships/image" Target="../media/image38.jpeg"/><Relationship Id="rId21" Type="http://schemas.openxmlformats.org/officeDocument/2006/relationships/tags" Target="../tags/tag220.xml"/><Relationship Id="rId34" Type="http://schemas.openxmlformats.org/officeDocument/2006/relationships/oleObject" Target="../embeddings/oleObject83.bin"/><Relationship Id="rId42" Type="http://schemas.openxmlformats.org/officeDocument/2006/relationships/image" Target="../media/image41.jpg"/><Relationship Id="rId7" Type="http://schemas.openxmlformats.org/officeDocument/2006/relationships/tags" Target="../tags/tag206.xml"/><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tags" Target="../tags/tag219.xml"/><Relationship Id="rId29" Type="http://schemas.openxmlformats.org/officeDocument/2006/relationships/tags" Target="../tags/tag228.xml"/><Relationship Id="rId41" Type="http://schemas.openxmlformats.org/officeDocument/2006/relationships/image" Target="../media/image40.jpeg"/><Relationship Id="rId1" Type="http://schemas.openxmlformats.org/officeDocument/2006/relationships/vmlDrawing" Target="../drawings/vmlDrawing77.vml"/><Relationship Id="rId6" Type="http://schemas.openxmlformats.org/officeDocument/2006/relationships/tags" Target="../tags/tag205.xml"/><Relationship Id="rId11" Type="http://schemas.openxmlformats.org/officeDocument/2006/relationships/tags" Target="../tags/tag210.xml"/><Relationship Id="rId24" Type="http://schemas.openxmlformats.org/officeDocument/2006/relationships/tags" Target="../tags/tag223.xml"/><Relationship Id="rId32" Type="http://schemas.openxmlformats.org/officeDocument/2006/relationships/tags" Target="../tags/tag231.xml"/><Relationship Id="rId37" Type="http://schemas.openxmlformats.org/officeDocument/2006/relationships/image" Target="../media/image36.jpeg"/><Relationship Id="rId40" Type="http://schemas.openxmlformats.org/officeDocument/2006/relationships/image" Target="../media/image39.jpeg"/><Relationship Id="rId5" Type="http://schemas.openxmlformats.org/officeDocument/2006/relationships/tags" Target="../tags/tag204.xml"/><Relationship Id="rId15" Type="http://schemas.openxmlformats.org/officeDocument/2006/relationships/tags" Target="../tags/tag214.xml"/><Relationship Id="rId23" Type="http://schemas.openxmlformats.org/officeDocument/2006/relationships/tags" Target="../tags/tag222.xml"/><Relationship Id="rId28" Type="http://schemas.openxmlformats.org/officeDocument/2006/relationships/tags" Target="../tags/tag227.xml"/><Relationship Id="rId36" Type="http://schemas.openxmlformats.org/officeDocument/2006/relationships/image" Target="../media/image35.jpeg"/><Relationship Id="rId10" Type="http://schemas.openxmlformats.org/officeDocument/2006/relationships/tags" Target="../tags/tag209.xml"/><Relationship Id="rId19" Type="http://schemas.openxmlformats.org/officeDocument/2006/relationships/tags" Target="../tags/tag218.xml"/><Relationship Id="rId31" Type="http://schemas.openxmlformats.org/officeDocument/2006/relationships/tags" Target="../tags/tag230.xml"/><Relationship Id="rId44" Type="http://schemas.openxmlformats.org/officeDocument/2006/relationships/image" Target="../media/image43.jpg"/><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tags" Target="../tags/tag221.xml"/><Relationship Id="rId27" Type="http://schemas.openxmlformats.org/officeDocument/2006/relationships/tags" Target="../tags/tag226.xml"/><Relationship Id="rId30" Type="http://schemas.openxmlformats.org/officeDocument/2006/relationships/tags" Target="../tags/tag229.xml"/><Relationship Id="rId35" Type="http://schemas.openxmlformats.org/officeDocument/2006/relationships/image" Target="../media/image9.emf"/><Relationship Id="rId43" Type="http://schemas.openxmlformats.org/officeDocument/2006/relationships/image" Target="../media/image42.jpg"/><Relationship Id="rId8" Type="http://schemas.openxmlformats.org/officeDocument/2006/relationships/tags" Target="../tags/tag207.xml"/><Relationship Id="rId3" Type="http://schemas.openxmlformats.org/officeDocument/2006/relationships/tags" Target="../tags/tag202.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tags" Target="../tags/tag224.xml"/><Relationship Id="rId33" Type="http://schemas.openxmlformats.org/officeDocument/2006/relationships/slideLayout" Target="../slideLayouts/slideLayout6.xml"/><Relationship Id="rId38" Type="http://schemas.openxmlformats.org/officeDocument/2006/relationships/image" Target="../media/image37.jpeg"/></Relationships>
</file>

<file path=ppt/slides/_rels/slide8.xml.rels><?xml version="1.0" encoding="UTF-8" standalone="yes"?>
<Relationships xmlns="http://schemas.openxmlformats.org/package/2006/relationships"><Relationship Id="rId3" Type="http://schemas.openxmlformats.org/officeDocument/2006/relationships/tags" Target="../tags/tag233.xml"/><Relationship Id="rId7" Type="http://schemas.openxmlformats.org/officeDocument/2006/relationships/image" Target="../media/image9.emf"/><Relationship Id="rId2" Type="http://schemas.openxmlformats.org/officeDocument/2006/relationships/tags" Target="../tags/tag232.xml"/><Relationship Id="rId1" Type="http://schemas.openxmlformats.org/officeDocument/2006/relationships/vmlDrawing" Target="../drawings/vmlDrawing78.vml"/><Relationship Id="rId6" Type="http://schemas.openxmlformats.org/officeDocument/2006/relationships/oleObject" Target="../embeddings/oleObject84.bin"/><Relationship Id="rId5" Type="http://schemas.openxmlformats.org/officeDocument/2006/relationships/slideLayout" Target="../slideLayouts/slideLayout17.xml"/><Relationship Id="rId4" Type="http://schemas.openxmlformats.org/officeDocument/2006/relationships/tags" Target="../tags/tag234.xml"/></Relationships>
</file>

<file path=ppt/slides/_rels/slide9.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tags" Target="../tags/tag236.xml"/><Relationship Id="rId7" Type="http://schemas.openxmlformats.org/officeDocument/2006/relationships/image" Target="../media/image9.emf"/><Relationship Id="rId2" Type="http://schemas.openxmlformats.org/officeDocument/2006/relationships/tags" Target="../tags/tag235.xml"/><Relationship Id="rId1" Type="http://schemas.openxmlformats.org/officeDocument/2006/relationships/vmlDrawing" Target="../drawings/vmlDrawing79.vml"/><Relationship Id="rId6" Type="http://schemas.openxmlformats.org/officeDocument/2006/relationships/oleObject" Target="../embeddings/oleObject85.bin"/><Relationship Id="rId5" Type="http://schemas.openxmlformats.org/officeDocument/2006/relationships/slideLayout" Target="../slideLayouts/slideLayout6.xml"/><Relationship Id="rId4" Type="http://schemas.openxmlformats.org/officeDocument/2006/relationships/tags" Target="../tags/tag2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1" hidden="1">
            <a:extLst>
              <a:ext uri="{FF2B5EF4-FFF2-40B4-BE49-F238E27FC236}">
                <a16:creationId xmlns:a16="http://schemas.microsoft.com/office/drawing/2014/main" id="{CDA9D6D5-7116-4DA5-8BD2-118326C48521}"/>
              </a:ext>
            </a:extLst>
          </p:cNvPr>
          <p:cNvGraphicFramePr>
            <a:graphicFrameLocks noChangeAspect="1"/>
          </p:cNvGraphicFramePr>
          <p:nvPr>
            <p:custDataLst>
              <p:tags r:id="rId2"/>
            </p:custDataLst>
            <p:extLst/>
          </p:nvPr>
        </p:nvGraphicFramePr>
        <p:xfrm>
          <a:off x="2207" y="2169"/>
          <a:ext cx="2116" cy="2116"/>
        </p:xfrm>
        <a:graphic>
          <a:graphicData uri="http://schemas.openxmlformats.org/presentationml/2006/ole">
            <mc:AlternateContent xmlns:mc="http://schemas.openxmlformats.org/markup-compatibility/2006">
              <mc:Choice xmlns:v="urn:schemas-microsoft-com:vml" Requires="v">
                <p:oleObj spid="_x0000_s35542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7" y="216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5" name="Title 7">
            <a:extLst>
              <a:ext uri="{FF2B5EF4-FFF2-40B4-BE49-F238E27FC236}">
                <a16:creationId xmlns:a16="http://schemas.microsoft.com/office/drawing/2014/main" id="{B31C37BB-8D49-4DD8-A65F-6F3771BF9B5F}"/>
              </a:ext>
            </a:extLst>
          </p:cNvPr>
          <p:cNvSpPr>
            <a:spLocks noGrp="1"/>
          </p:cNvSpPr>
          <p:nvPr>
            <p:ph type="body" idx="4294967295"/>
          </p:nvPr>
        </p:nvSpPr>
        <p:spPr>
          <a:xfrm>
            <a:off x="93" y="54"/>
            <a:ext cx="12191820" cy="1780091"/>
          </a:xfrm>
          <a:solidFill>
            <a:srgbClr val="008000"/>
          </a:solidFill>
        </p:spPr>
        <p:txBody>
          <a:bodyPr vert="horz" wrap="square" lIns="121816" tIns="60909" rIns="121816" bIns="60909" numCol="1" rtlCol="0" anchor="t" anchorCtr="0" compatLnSpc="1">
            <a:prstTxWarp prst="textNoShape">
              <a:avLst/>
            </a:prstTxWarp>
            <a:normAutofit/>
          </a:bodyPr>
          <a:lstStyle/>
          <a:p>
            <a:pPr marL="0" indent="0" algn="ctr" defTabSz="1216563">
              <a:spcBef>
                <a:spcPts val="1334"/>
              </a:spcBef>
              <a:buNone/>
            </a:pPr>
            <a:endParaRPr lang="en-US" altLang="x-none" sz="1600" b="1" dirty="0">
              <a:solidFill>
                <a:schemeClr val="bg1"/>
              </a:solidFill>
              <a:latin typeface="Gill Sans MT" panose="020B0502020104020203" pitchFamily="34" charset="0"/>
              <a:ea typeface="ＭＳ Ｐゴシック" panose="020B0600070205080204" pitchFamily="34" charset="-128"/>
              <a:cs typeface="Arial" panose="020B0604020202020204" pitchFamily="34" charset="0"/>
            </a:endParaRPr>
          </a:p>
          <a:p>
            <a:pPr marL="0" indent="0" algn="ctr" defTabSz="1216563">
              <a:spcBef>
                <a:spcPts val="1334"/>
              </a:spcBef>
              <a:buNone/>
            </a:pPr>
            <a:endParaRPr lang="en-US" altLang="x-none" sz="1600" b="1" dirty="0">
              <a:solidFill>
                <a:schemeClr val="bg1"/>
              </a:solidFill>
              <a:latin typeface="Gill Sans MT" panose="020B0502020104020203" pitchFamily="34" charset="0"/>
              <a:ea typeface="ＭＳ Ｐゴシック" panose="020B0600070205080204" pitchFamily="34" charset="-128"/>
              <a:cs typeface="Arial" panose="020B0604020202020204" pitchFamily="34" charset="0"/>
            </a:endParaRPr>
          </a:p>
          <a:p>
            <a:pPr marL="0" indent="0" algn="ctr" defTabSz="1216563">
              <a:spcBef>
                <a:spcPts val="1334"/>
              </a:spcBef>
              <a:buNone/>
            </a:pPr>
            <a:r>
              <a:rPr lang="en-US" altLang="x-none" sz="3600" b="1" dirty="0">
                <a:solidFill>
                  <a:schemeClr val="bg1"/>
                </a:solidFill>
                <a:latin typeface="Gill Sans MT" panose="020B0502020104020203" pitchFamily="34" charset="0"/>
                <a:ea typeface="ＭＳ Ｐゴシック" panose="020B0600070205080204" pitchFamily="34" charset="-128"/>
                <a:cs typeface="Arial" panose="020B0604020202020204" pitchFamily="34" charset="0"/>
              </a:rPr>
              <a:t>National Primary Health Care Development Agency</a:t>
            </a:r>
          </a:p>
        </p:txBody>
      </p:sp>
      <p:sp>
        <p:nvSpPr>
          <p:cNvPr id="11" name="Title 7">
            <a:extLst>
              <a:ext uri="{FF2B5EF4-FFF2-40B4-BE49-F238E27FC236}">
                <a16:creationId xmlns:a16="http://schemas.microsoft.com/office/drawing/2014/main" id="{AF1DAE8D-014F-4800-B06A-77D3FE830DA8}"/>
              </a:ext>
            </a:extLst>
          </p:cNvPr>
          <p:cNvSpPr txBox="1">
            <a:spLocks/>
          </p:cNvSpPr>
          <p:nvPr/>
        </p:nvSpPr>
        <p:spPr>
          <a:xfrm>
            <a:off x="93" y="5213325"/>
            <a:ext cx="12191820" cy="1706008"/>
          </a:xfrm>
          <a:prstGeom prst="rect">
            <a:avLst/>
          </a:prstGeom>
          <a:solidFill>
            <a:srgbClr val="008000"/>
          </a:solidFill>
        </p:spPr>
        <p:txBody>
          <a:bodyPr lIns="121816" tIns="60909" rIns="121816" bIns="60909" anchor="ctr">
            <a:normAutofit/>
          </a:bodyPr>
          <a:lstStyle>
            <a:lvl1pPr defTabSz="912813">
              <a:defRPr sz="3200">
                <a:solidFill>
                  <a:schemeClr val="tx1"/>
                </a:solidFill>
                <a:latin typeface="Calibri" pitchFamily="34" charset="0"/>
                <a:ea typeface="MS PGothic" pitchFamily="34" charset="-128"/>
              </a:defRPr>
            </a:lvl1pPr>
            <a:lvl2pPr defTabSz="912813">
              <a:defRPr sz="2800">
                <a:solidFill>
                  <a:schemeClr val="tx1"/>
                </a:solidFill>
                <a:latin typeface="Calibri" pitchFamily="34" charset="0"/>
                <a:ea typeface="MS PGothic" pitchFamily="34" charset="-128"/>
              </a:defRPr>
            </a:lvl2pPr>
            <a:lvl3pPr defTabSz="912813">
              <a:defRPr sz="2400">
                <a:solidFill>
                  <a:schemeClr val="tx1"/>
                </a:solidFill>
                <a:latin typeface="Calibri" pitchFamily="34" charset="0"/>
                <a:ea typeface="MS PGothic" pitchFamily="34" charset="-128"/>
              </a:defRPr>
            </a:lvl3pPr>
            <a:lvl4pPr defTabSz="912813">
              <a:defRPr sz="2000">
                <a:solidFill>
                  <a:schemeClr val="tx1"/>
                </a:solidFill>
                <a:latin typeface="Calibri" pitchFamily="34" charset="0"/>
                <a:ea typeface="MS PGothic" pitchFamily="34" charset="-128"/>
              </a:defRPr>
            </a:lvl4pPr>
            <a:lvl5pPr defTabSz="912813">
              <a:defRPr sz="2000">
                <a:solidFill>
                  <a:schemeClr val="tx1"/>
                </a:solidFill>
                <a:latin typeface="Calibri" pitchFamily="34" charset="0"/>
                <a:ea typeface="MS PGothic" pitchFamily="34" charset="-128"/>
              </a:defRPr>
            </a:lvl5pPr>
            <a:lvl6pPr defTabSz="912813" eaLnBrk="0" fontAlgn="base" hangingPunct="0">
              <a:spcAft>
                <a:spcPct val="0"/>
              </a:spcAft>
              <a:buFont typeface="Arial" pitchFamily="34" charset="0"/>
              <a:buChar char="»"/>
              <a:defRPr sz="2000">
                <a:solidFill>
                  <a:schemeClr val="tx1"/>
                </a:solidFill>
                <a:latin typeface="Calibri" pitchFamily="34" charset="0"/>
                <a:ea typeface="MS PGothic" pitchFamily="34" charset="-128"/>
              </a:defRPr>
            </a:lvl6pPr>
            <a:lvl7pPr defTabSz="912813" eaLnBrk="0" fontAlgn="base" hangingPunct="0">
              <a:spcAft>
                <a:spcPct val="0"/>
              </a:spcAft>
              <a:buFont typeface="Arial" pitchFamily="34" charset="0"/>
              <a:buChar char="»"/>
              <a:defRPr sz="2000">
                <a:solidFill>
                  <a:schemeClr val="tx1"/>
                </a:solidFill>
                <a:latin typeface="Calibri" pitchFamily="34" charset="0"/>
                <a:ea typeface="MS PGothic" pitchFamily="34" charset="-128"/>
              </a:defRPr>
            </a:lvl7pPr>
            <a:lvl8pPr defTabSz="912813" eaLnBrk="0" fontAlgn="base" hangingPunct="0">
              <a:spcAft>
                <a:spcPct val="0"/>
              </a:spcAft>
              <a:buFont typeface="Arial" pitchFamily="34" charset="0"/>
              <a:buChar char="»"/>
              <a:defRPr sz="2000">
                <a:solidFill>
                  <a:schemeClr val="tx1"/>
                </a:solidFill>
                <a:latin typeface="Calibri" pitchFamily="34" charset="0"/>
                <a:ea typeface="MS PGothic" pitchFamily="34" charset="-128"/>
              </a:defRPr>
            </a:lvl8pPr>
            <a:lvl9pPr defTabSz="912813" eaLnBrk="0" fontAlgn="base" hangingPunct="0">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defTabSz="1216563">
              <a:lnSpc>
                <a:spcPct val="90000"/>
              </a:lnSpc>
              <a:defRPr/>
            </a:pPr>
            <a:r>
              <a:rPr lang="en-US" altLang="en-US" b="1" dirty="0">
                <a:solidFill>
                  <a:prstClr val="white"/>
                </a:solidFill>
                <a:effectLst>
                  <a:outerShdw blurRad="38100" dist="38100" dir="2700000" algn="tl">
                    <a:srgbClr val="000000"/>
                  </a:outerShdw>
                </a:effectLst>
                <a:latin typeface="Candara" pitchFamily="34" charset="0"/>
                <a:cs typeface="Arial" panose="020B0604020202020204" pitchFamily="34" charset="0"/>
              </a:rPr>
              <a:t> </a:t>
            </a:r>
          </a:p>
          <a:p>
            <a:pPr algn="ctr" defTabSz="1216563">
              <a:lnSpc>
                <a:spcPct val="90000"/>
              </a:lnSpc>
              <a:defRPr/>
            </a:pPr>
            <a:r>
              <a:rPr lang="en-US" altLang="en-US" b="1" dirty="0">
                <a:solidFill>
                  <a:prstClr val="white"/>
                </a:solidFill>
                <a:effectLst>
                  <a:outerShdw blurRad="38100" dist="38100" dir="2700000" algn="tl">
                    <a:srgbClr val="000000"/>
                  </a:outerShdw>
                </a:effectLst>
                <a:latin typeface="Candara" pitchFamily="34" charset="0"/>
                <a:cs typeface="Arial" panose="020B0604020202020204" pitchFamily="34" charset="0"/>
              </a:rPr>
              <a:t>April 30</a:t>
            </a:r>
            <a:r>
              <a:rPr lang="en-US" altLang="en-US" b="1" baseline="30000" dirty="0">
                <a:solidFill>
                  <a:prstClr val="white"/>
                </a:solidFill>
                <a:effectLst>
                  <a:outerShdw blurRad="38100" dist="38100" dir="2700000" algn="tl">
                    <a:srgbClr val="000000"/>
                  </a:outerShdw>
                </a:effectLst>
                <a:latin typeface="Candara" pitchFamily="34" charset="0"/>
                <a:cs typeface="Arial" panose="020B0604020202020204" pitchFamily="34" charset="0"/>
              </a:rPr>
              <a:t>th</a:t>
            </a:r>
            <a:r>
              <a:rPr lang="en-US" altLang="en-US" b="1" dirty="0">
                <a:solidFill>
                  <a:prstClr val="white"/>
                </a:solidFill>
                <a:effectLst>
                  <a:outerShdw blurRad="38100" dist="38100" dir="2700000" algn="tl">
                    <a:srgbClr val="000000"/>
                  </a:outerShdw>
                </a:effectLst>
                <a:latin typeface="Candara" pitchFamily="34" charset="0"/>
                <a:cs typeface="Arial" panose="020B0604020202020204" pitchFamily="34" charset="0"/>
              </a:rPr>
              <a:t> , 2019</a:t>
            </a:r>
          </a:p>
          <a:p>
            <a:pPr algn="ctr" defTabSz="1216563">
              <a:lnSpc>
                <a:spcPct val="90000"/>
              </a:lnSpc>
              <a:defRPr/>
            </a:pPr>
            <a:endParaRPr lang="en-US" altLang="en-US" b="1" dirty="0">
              <a:solidFill>
                <a:prstClr val="white"/>
              </a:solidFill>
              <a:effectLst>
                <a:outerShdw blurRad="38100" dist="38100" dir="2700000" algn="tl">
                  <a:srgbClr val="000000"/>
                </a:outerShdw>
              </a:effectLst>
              <a:latin typeface="Candara" pitchFamily="34" charset="0"/>
              <a:cs typeface="Arial" panose="020B0604020202020204" pitchFamily="34" charset="0"/>
            </a:endParaRPr>
          </a:p>
          <a:p>
            <a:pPr algn="ctr" defTabSz="1216563">
              <a:lnSpc>
                <a:spcPct val="90000"/>
              </a:lnSpc>
              <a:defRPr/>
            </a:pPr>
            <a:r>
              <a:rPr lang="en-US" altLang="en-US" sz="1800" b="1" spc="800" dirty="0">
                <a:solidFill>
                  <a:prstClr val="white"/>
                </a:solidFill>
                <a:effectLst>
                  <a:outerShdw blurRad="38100" dist="38100" dir="2700000" algn="tl">
                    <a:srgbClr val="000000"/>
                  </a:outerShdw>
                </a:effectLst>
                <a:latin typeface="Candara" pitchFamily="34" charset="0"/>
                <a:cs typeface="Arial" panose="020B0604020202020204" pitchFamily="34" charset="0"/>
              </a:rPr>
              <a:t>NATIONAL PRIMARY HEALTH CARE DEVELOPMENT AGENCY</a:t>
            </a:r>
          </a:p>
        </p:txBody>
      </p:sp>
      <p:pic>
        <p:nvPicPr>
          <p:cNvPr id="8197" name="Picture 8">
            <a:extLst>
              <a:ext uri="{FF2B5EF4-FFF2-40B4-BE49-F238E27FC236}">
                <a16:creationId xmlns:a16="http://schemas.microsoft.com/office/drawing/2014/main" id="{C43E6BF4-28BD-4F11-B5E7-500B4DDB97A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64737" y="2796133"/>
            <a:ext cx="1674259" cy="1549377"/>
          </a:xfrm>
          <a:prstGeom prst="rect">
            <a:avLst/>
          </a:prstGeom>
          <a:noFill/>
          <a:ln>
            <a:noFill/>
          </a:ln>
          <a:effectLst/>
          <a:extLst>
            <a:ext uri="{909E8E84-426E-40DD-AFC4-6F175D3DCCD1}">
              <a14:hiddenFill xmlns:a14="http://schemas.microsoft.com/office/drawing/2010/main">
                <a:solidFill>
                  <a:srgbClr val="4E5B6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198" name="Picture 7">
            <a:extLst>
              <a:ext uri="{FF2B5EF4-FFF2-40B4-BE49-F238E27FC236}">
                <a16:creationId xmlns:a16="http://schemas.microsoft.com/office/drawing/2014/main" id="{7B545793-1DC6-4043-B684-FAAAAC68133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541" y="2734744"/>
            <a:ext cx="1809724" cy="1526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199" name="Rectangle 1">
            <a:extLst>
              <a:ext uri="{FF2B5EF4-FFF2-40B4-BE49-F238E27FC236}">
                <a16:creationId xmlns:a16="http://schemas.microsoft.com/office/drawing/2014/main" id="{5E502091-CF4C-4E68-82B7-56BACED65322}"/>
              </a:ext>
            </a:extLst>
          </p:cNvPr>
          <p:cNvSpPr>
            <a:spLocks noChangeArrowheads="1"/>
          </p:cNvSpPr>
          <p:nvPr/>
        </p:nvSpPr>
        <p:spPr bwMode="auto">
          <a:xfrm>
            <a:off x="2225753" y="3051382"/>
            <a:ext cx="7867534" cy="590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2" rIns="91401" bIns="45702">
            <a:spAutoFit/>
          </a:bodyPr>
          <a:lstStyle>
            <a:lvl1pPr defTabSz="912813">
              <a:defRPr>
                <a:solidFill>
                  <a:schemeClr val="tx1"/>
                </a:solidFill>
                <a:latin typeface="Calibri" panose="020F0502020204030204" pitchFamily="34" charset="0"/>
                <a:cs typeface="Arial" panose="020B0604020202020204" pitchFamily="34" charset="0"/>
              </a:defRPr>
            </a:lvl1pPr>
            <a:lvl2pPr marL="742950" indent="-285750" defTabSz="912813">
              <a:defRPr>
                <a:solidFill>
                  <a:schemeClr val="tx1"/>
                </a:solidFill>
                <a:latin typeface="Calibri" panose="020F0502020204030204" pitchFamily="34" charset="0"/>
                <a:cs typeface="Arial" panose="020B0604020202020204" pitchFamily="34" charset="0"/>
              </a:defRPr>
            </a:lvl2pPr>
            <a:lvl3pPr marL="1143000" indent="-228600" defTabSz="912813">
              <a:defRPr>
                <a:solidFill>
                  <a:schemeClr val="tx1"/>
                </a:solidFill>
                <a:latin typeface="Calibri" panose="020F0502020204030204" pitchFamily="34" charset="0"/>
                <a:cs typeface="Arial" panose="020B0604020202020204" pitchFamily="34" charset="0"/>
              </a:defRPr>
            </a:lvl3pPr>
            <a:lvl4pPr marL="1600200" indent="-228600" defTabSz="912813">
              <a:defRPr>
                <a:solidFill>
                  <a:schemeClr val="tx1"/>
                </a:solidFill>
                <a:latin typeface="Calibri" panose="020F0502020204030204" pitchFamily="34" charset="0"/>
                <a:cs typeface="Arial" panose="020B0604020202020204" pitchFamily="34" charset="0"/>
              </a:defRPr>
            </a:lvl4pPr>
            <a:lvl5pPr marL="2057400" indent="-228600" defTabSz="912813">
              <a:defRPr>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1216563">
              <a:lnSpc>
                <a:spcPct val="90000"/>
              </a:lnSpc>
              <a:spcBef>
                <a:spcPts val="1334"/>
              </a:spcBef>
            </a:pPr>
            <a:r>
              <a:rPr lang="en-US" altLang="en-US" sz="3600" b="1" dirty="0">
                <a:solidFill>
                  <a:srgbClr val="008000"/>
                </a:solidFill>
                <a:latin typeface="Candara" panose="020E0502030303020204" pitchFamily="34" charset="0"/>
                <a:ea typeface="ＭＳ Ｐゴシック" panose="020B0600070205080204" pitchFamily="34" charset="-128"/>
              </a:rPr>
              <a:t> </a:t>
            </a:r>
          </a:p>
        </p:txBody>
      </p:sp>
      <p:sp>
        <p:nvSpPr>
          <p:cNvPr id="2" name="Rectangle 1"/>
          <p:cNvSpPr/>
          <p:nvPr/>
        </p:nvSpPr>
        <p:spPr>
          <a:xfrm>
            <a:off x="1789880" y="2411839"/>
            <a:ext cx="9105071" cy="2215955"/>
          </a:xfrm>
          <a:prstGeom prst="rect">
            <a:avLst/>
          </a:prstGeom>
        </p:spPr>
        <p:txBody>
          <a:bodyPr wrap="square" lIns="91401" tIns="45702" rIns="91401" bIns="45702">
            <a:spAutoFit/>
          </a:bodyPr>
          <a:lstStyle/>
          <a:p>
            <a:pPr algn="ctr" defTabSz="1216532">
              <a:spcBef>
                <a:spcPts val="1200"/>
              </a:spcBef>
              <a:spcAft>
                <a:spcPts val="600"/>
              </a:spcAft>
              <a:defRPr/>
            </a:pPr>
            <a:r>
              <a:rPr lang="en-US" altLang="en-US" sz="3600" b="1" dirty="0">
                <a:solidFill>
                  <a:srgbClr val="008000"/>
                </a:solidFill>
                <a:latin typeface="Candara" panose="020E0502030303020204" pitchFamily="34" charset="0"/>
                <a:ea typeface="ＭＳ Ｐゴシック" panose="020B0600070205080204" pitchFamily="34" charset="-128"/>
              </a:rPr>
              <a:t>Transforming the PHC Landscape in Nigeria</a:t>
            </a:r>
          </a:p>
          <a:p>
            <a:pPr algn="ctr" defTabSz="1216532">
              <a:spcBef>
                <a:spcPts val="1200"/>
              </a:spcBef>
              <a:spcAft>
                <a:spcPts val="600"/>
              </a:spcAft>
              <a:defRPr/>
            </a:pPr>
            <a:r>
              <a:rPr lang="en-US" altLang="en-US" sz="3600" b="1" dirty="0">
                <a:solidFill>
                  <a:srgbClr val="008000"/>
                </a:solidFill>
                <a:latin typeface="Candara" panose="020E0502030303020204" pitchFamily="34" charset="0"/>
                <a:ea typeface="ＭＳ Ｐゴシック" panose="020B0600070205080204" pitchFamily="34" charset="-128"/>
              </a:rPr>
              <a:t>Dr. Faisal Shuaib</a:t>
            </a:r>
          </a:p>
          <a:p>
            <a:pPr algn="ctr" defTabSz="1216532">
              <a:spcBef>
                <a:spcPts val="1200"/>
              </a:spcBef>
              <a:spcAft>
                <a:spcPts val="600"/>
              </a:spcAft>
              <a:defRPr/>
            </a:pPr>
            <a:r>
              <a:rPr lang="en-US" altLang="en-US" sz="3600" b="1" dirty="0">
                <a:solidFill>
                  <a:srgbClr val="008000"/>
                </a:solidFill>
                <a:latin typeface="Candara" panose="020E0502030303020204" pitchFamily="34" charset="0"/>
                <a:ea typeface="ＭＳ Ｐゴシック" panose="020B0600070205080204" pitchFamily="34" charset="-128"/>
              </a:rPr>
              <a:t>ED/CEO NPHCDA</a:t>
            </a:r>
          </a:p>
        </p:txBody>
      </p:sp>
    </p:spTree>
    <p:extLst>
      <p:ext uri="{BB962C8B-B14F-4D97-AF65-F5344CB8AC3E}">
        <p14:creationId xmlns:p14="http://schemas.microsoft.com/office/powerpoint/2010/main" val="35979875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2"/>
            </p:custDataLst>
          </p:nvPr>
        </p:nvGraphicFramePr>
        <p:xfrm>
          <a:off x="1592" y="1588"/>
          <a:ext cx="1588" cy="1588"/>
        </p:xfrm>
        <a:graphic>
          <a:graphicData uri="http://schemas.openxmlformats.org/presentationml/2006/ole">
            <mc:AlternateContent xmlns:mc="http://schemas.openxmlformats.org/markup-compatibility/2006">
              <mc:Choice xmlns:v="urn:schemas-microsoft-com:vml" Requires="v">
                <p:oleObj spid="_x0000_s623644" name="think-cell Slide" r:id="rId4" imgW="416" imgH="416" progId="TCLayout.ActiveDocument.1">
                  <p:embed/>
                </p:oleObj>
              </mc:Choice>
              <mc:Fallback>
                <p:oleObj name="think-cell Slide" r:id="rId4" imgW="416" imgH="416" progId="TCLayout.ActiveDocument.1">
                  <p:embed/>
                  <p:pic>
                    <p:nvPicPr>
                      <p:cNvPr id="5" name="Object 4" hidden="1">
                        <a:extLst>
                          <a:ext uri="{FF2B5EF4-FFF2-40B4-BE49-F238E27FC236}">
                            <a16:creationId xmlns:a16="http://schemas.microsoft.com/office/drawing/2014/main" id="{D3A62A60-D420-4F37-9136-6289E97C5533}"/>
                          </a:ext>
                        </a:extLst>
                      </p:cNvPr>
                      <p:cNvPicPr/>
                      <p:nvPr/>
                    </p:nvPicPr>
                    <p:blipFill>
                      <a:blip r:embed="rId5"/>
                      <a:stretch>
                        <a:fillRect/>
                      </a:stretch>
                    </p:blipFill>
                    <p:spPr>
                      <a:xfrm>
                        <a:off x="1592" y="1588"/>
                        <a:ext cx="1588" cy="1588"/>
                      </a:xfrm>
                      <a:prstGeom prst="rect">
                        <a:avLst/>
                      </a:prstGeom>
                    </p:spPr>
                  </p:pic>
                </p:oleObj>
              </mc:Fallback>
            </mc:AlternateContent>
          </a:graphicData>
        </a:graphic>
      </p:graphicFrame>
      <p:pic>
        <p:nvPicPr>
          <p:cNvPr id="619522" name="Picture 2" descr="Creative Agenda Slide Design with Table of Content and 4 Bullet Points">
            <a:extLst>
              <a:ext uri="{FF2B5EF4-FFF2-40B4-BE49-F238E27FC236}">
                <a16:creationId xmlns:a16="http://schemas.microsoft.com/office/drawing/2014/main" id="{7F9E5B74-43CE-41E0-87AC-28F3FA8197F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3331"/>
          <a:stretch/>
        </p:blipFill>
        <p:spPr bwMode="auto">
          <a:xfrm>
            <a:off x="813753" y="1062285"/>
            <a:ext cx="10437827" cy="5092558"/>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9FCE40F2-C3F0-436F-8CE4-CFA8ABCDE599}"/>
              </a:ext>
            </a:extLst>
          </p:cNvPr>
          <p:cNvSpPr>
            <a:spLocks noGrp="1"/>
          </p:cNvSpPr>
          <p:nvPr>
            <p:ph type="sldNum" sz="quarter" idx="12"/>
          </p:nvPr>
        </p:nvSpPr>
        <p:spPr>
          <a:xfrm>
            <a:off x="9448799" y="6492900"/>
            <a:ext cx="2743201" cy="365125"/>
          </a:xfrm>
        </p:spPr>
        <p:txBody>
          <a:bodyPr/>
          <a:lstStyle/>
          <a:p>
            <a:fld id="{978E596B-AA80-4BB2-8707-B351070E738D}" type="slidenum">
              <a:rPr lang="en-US" sz="1600" b="1">
                <a:solidFill>
                  <a:schemeClr val="bg1"/>
                </a:solidFill>
              </a:rPr>
              <a:pPr/>
              <a:t>10</a:t>
            </a:fld>
            <a:endParaRPr lang="en-US" sz="1600" b="1" dirty="0">
              <a:solidFill>
                <a:schemeClr val="bg1"/>
              </a:solidFill>
            </a:endParaRPr>
          </a:p>
        </p:txBody>
      </p:sp>
      <p:sp>
        <p:nvSpPr>
          <p:cNvPr id="7" name="Rectangle 6">
            <a:extLst>
              <a:ext uri="{FF2B5EF4-FFF2-40B4-BE49-F238E27FC236}">
                <a16:creationId xmlns:a16="http://schemas.microsoft.com/office/drawing/2014/main" id="{952E7759-E482-4D86-9D44-616B3D38C203}"/>
              </a:ext>
            </a:extLst>
          </p:cNvPr>
          <p:cNvSpPr/>
          <p:nvPr/>
        </p:nvSpPr>
        <p:spPr>
          <a:xfrm>
            <a:off x="5051506" y="1449388"/>
            <a:ext cx="5330283"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About the National Primary Health Care Development Agency (NPHCDA)</a:t>
            </a:r>
          </a:p>
        </p:txBody>
      </p:sp>
      <p:sp>
        <p:nvSpPr>
          <p:cNvPr id="9" name="Rectangle 8">
            <a:extLst>
              <a:ext uri="{FF2B5EF4-FFF2-40B4-BE49-F238E27FC236}">
                <a16:creationId xmlns:a16="http://schemas.microsoft.com/office/drawing/2014/main" id="{D25101E8-C702-40D2-9C84-C889D9E97D02}"/>
              </a:ext>
            </a:extLst>
          </p:cNvPr>
          <p:cNvSpPr/>
          <p:nvPr/>
        </p:nvSpPr>
        <p:spPr>
          <a:xfrm>
            <a:off x="5659245" y="2551074"/>
            <a:ext cx="4722547"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Universal Health Coverage</a:t>
            </a:r>
          </a:p>
        </p:txBody>
      </p:sp>
      <p:sp>
        <p:nvSpPr>
          <p:cNvPr id="10" name="Rectangle 9">
            <a:extLst>
              <a:ext uri="{FF2B5EF4-FFF2-40B4-BE49-F238E27FC236}">
                <a16:creationId xmlns:a16="http://schemas.microsoft.com/office/drawing/2014/main" id="{1E4E0AB2-2A60-4369-81FB-09241DC47918}"/>
              </a:ext>
            </a:extLst>
          </p:cNvPr>
          <p:cNvSpPr/>
          <p:nvPr/>
        </p:nvSpPr>
        <p:spPr>
          <a:xfrm>
            <a:off x="5659255" y="3706574"/>
            <a:ext cx="4722545" cy="756000"/>
          </a:xfrm>
          <a:prstGeom prst="rect">
            <a:avLst/>
          </a:prstGeom>
          <a:gradFill flip="none" rotWithShape="1">
            <a:gsLst>
              <a:gs pos="0">
                <a:schemeClr val="bg1"/>
              </a:gs>
              <a:gs pos="100000">
                <a:srgbClr val="92D050"/>
              </a:gs>
            </a:gsLst>
            <a:lin ang="0" scaled="1"/>
            <a:tileRect/>
          </a:gradFill>
          <a:ln w="85725">
            <a:solidFill>
              <a:schemeClr val="accent5">
                <a:lumMod val="50000"/>
              </a:schemeClr>
            </a:solid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NPHCDA’s Strategic Interventions </a:t>
            </a:r>
          </a:p>
        </p:txBody>
      </p:sp>
      <p:pic>
        <p:nvPicPr>
          <p:cNvPr id="11" name="Picture 10">
            <a:extLst>
              <a:ext uri="{FF2B5EF4-FFF2-40B4-BE49-F238E27FC236}">
                <a16:creationId xmlns:a16="http://schemas.microsoft.com/office/drawing/2014/main" id="{51D0F064-E484-4886-B327-01A0E919B1D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61542" y="2357209"/>
            <a:ext cx="2219097" cy="2259581"/>
          </a:xfrm>
          <a:prstGeom prst="ellipse">
            <a:avLst/>
          </a:prstGeom>
          <a:ln w="63500" cap="rnd">
            <a:solidFill>
              <a:schemeClr val="accent5">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a:extLst>
              <a:ext uri="{FF2B5EF4-FFF2-40B4-BE49-F238E27FC236}">
                <a16:creationId xmlns:a16="http://schemas.microsoft.com/office/drawing/2014/main" id="{128DA7BB-8154-4530-8E70-7B02B86110C1}"/>
              </a:ext>
            </a:extLst>
          </p:cNvPr>
          <p:cNvSpPr/>
          <p:nvPr/>
        </p:nvSpPr>
        <p:spPr>
          <a:xfrm>
            <a:off x="1029641" y="159772"/>
            <a:ext cx="10109897" cy="586500"/>
          </a:xfrm>
          <a:prstGeom prst="rect">
            <a:avLst/>
          </a:prstGeom>
        </p:spPr>
        <p:txBody>
          <a:bodyPr wrap="square" lIns="93146" tIns="46574" rIns="93146" bIns="46574">
            <a:spAutoFit/>
          </a:bodyPr>
          <a:lstStyle/>
          <a:p>
            <a:pPr algn="just" defTabSz="912072" fontAlgn="base">
              <a:spcBef>
                <a:spcPct val="0"/>
              </a:spcBef>
              <a:spcAft>
                <a:spcPct val="0"/>
              </a:spcAft>
              <a:tabLst>
                <a:tab pos="274916" algn="l"/>
              </a:tabLst>
            </a:pPr>
            <a:r>
              <a:rPr lang="en-US" sz="3200" b="1" dirty="0">
                <a:solidFill>
                  <a:srgbClr val="70AD47">
                    <a:lumMod val="50000"/>
                  </a:srgbClr>
                </a:solidFill>
                <a:latin typeface="Arial" panose="020B0604020202020204" pitchFamily="34" charset="0"/>
                <a:cs typeface="Arial" panose="020B0604020202020204" pitchFamily="34" charset="0"/>
              </a:rPr>
              <a:t>Outline</a:t>
            </a:r>
          </a:p>
        </p:txBody>
      </p:sp>
      <p:sp>
        <p:nvSpPr>
          <p:cNvPr id="13" name="Rectangle 12">
            <a:extLst>
              <a:ext uri="{FF2B5EF4-FFF2-40B4-BE49-F238E27FC236}">
                <a16:creationId xmlns:a16="http://schemas.microsoft.com/office/drawing/2014/main" id="{525402E0-D67E-4973-9A30-5B11D6FD973C}"/>
              </a:ext>
            </a:extLst>
          </p:cNvPr>
          <p:cNvSpPr/>
          <p:nvPr/>
        </p:nvSpPr>
        <p:spPr>
          <a:xfrm>
            <a:off x="5051506" y="4829316"/>
            <a:ext cx="5330283"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Prayers to the Executive Governors</a:t>
            </a:r>
          </a:p>
        </p:txBody>
      </p:sp>
    </p:spTree>
    <p:extLst>
      <p:ext uri="{BB962C8B-B14F-4D97-AF65-F5344CB8AC3E}">
        <p14:creationId xmlns:p14="http://schemas.microsoft.com/office/powerpoint/2010/main" val="633486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528B7E-7FA7-4091-B554-E6E07749C4CC}"/>
              </a:ext>
            </a:extLst>
          </p:cNvPr>
          <p:cNvGraphicFramePr>
            <a:graphicFrameLocks noChangeAspect="1"/>
          </p:cNvGraphicFramePr>
          <p:nvPr>
            <p:custDataLst>
              <p:tags r:id="rId2"/>
            </p:custDataLst>
            <p:extLst>
              <p:ext uri="{D42A27DB-BD31-4B8C-83A1-F6EECF244321}">
                <p14:modId xmlns:p14="http://schemas.microsoft.com/office/powerpoint/2010/main" val="2331232469"/>
              </p:ext>
            </p:extLst>
          </p:nvPr>
        </p:nvGraphicFramePr>
        <p:xfrm>
          <a:off x="-1522407" y="1588"/>
          <a:ext cx="1588" cy="1588"/>
        </p:xfrm>
        <a:graphic>
          <a:graphicData uri="http://schemas.openxmlformats.org/presentationml/2006/ole">
            <mc:AlternateContent xmlns:mc="http://schemas.openxmlformats.org/markup-compatibility/2006">
              <mc:Choice xmlns:v="urn:schemas-microsoft-com:vml" Requires="v">
                <p:oleObj spid="_x0000_s598051" name="think-cell Slide" r:id="rId5" imgW="416" imgH="416" progId="TCLayout.ActiveDocument.1">
                  <p:embed/>
                </p:oleObj>
              </mc:Choice>
              <mc:Fallback>
                <p:oleObj name="think-cell Slide" r:id="rId5" imgW="416" imgH="416" progId="TCLayout.ActiveDocument.1">
                  <p:embed/>
                  <p:pic>
                    <p:nvPicPr>
                      <p:cNvPr id="3" name="Object 2" hidden="1">
                        <a:extLst>
                          <a:ext uri="{FF2B5EF4-FFF2-40B4-BE49-F238E27FC236}">
                            <a16:creationId xmlns:a16="http://schemas.microsoft.com/office/drawing/2014/main" id="{0F528B7E-7FA7-4091-B554-E6E07749C4CC}"/>
                          </a:ext>
                        </a:extLst>
                      </p:cNvPr>
                      <p:cNvPicPr/>
                      <p:nvPr/>
                    </p:nvPicPr>
                    <p:blipFill>
                      <a:blip r:embed="rId6"/>
                      <a:stretch>
                        <a:fillRect/>
                      </a:stretch>
                    </p:blipFill>
                    <p:spPr>
                      <a:xfrm>
                        <a:off x="-1522407" y="1588"/>
                        <a:ext cx="1588" cy="1588"/>
                      </a:xfrm>
                      <a:prstGeom prst="rect">
                        <a:avLst/>
                      </a:prstGeom>
                    </p:spPr>
                  </p:pic>
                </p:oleObj>
              </mc:Fallback>
            </mc:AlternateContent>
          </a:graphicData>
        </a:graphic>
      </p:graphicFrame>
      <p:sp>
        <p:nvSpPr>
          <p:cNvPr id="13" name="Oval 12">
            <a:extLst>
              <a:ext uri="{FF2B5EF4-FFF2-40B4-BE49-F238E27FC236}">
                <a16:creationId xmlns:a16="http://schemas.microsoft.com/office/drawing/2014/main" id="{0F7C8EA4-B5FA-4878-A37E-F6EF5C58B842}"/>
              </a:ext>
            </a:extLst>
          </p:cNvPr>
          <p:cNvSpPr/>
          <p:nvPr/>
        </p:nvSpPr>
        <p:spPr>
          <a:xfrm>
            <a:off x="7712034" y="1830992"/>
            <a:ext cx="480761" cy="480761"/>
          </a:xfrm>
          <a:prstGeom prst="ellipse">
            <a:avLst/>
          </a:prstGeom>
          <a:blipFill>
            <a:blip r:embed="rId7">
              <a:extLst>
                <a:ext uri="{28A0092B-C50C-407E-A947-70E740481C1C}">
                  <a14:useLocalDpi xmlns:a14="http://schemas.microsoft.com/office/drawing/2010/main" val="0"/>
                </a:ext>
              </a:extLst>
            </a:blip>
            <a:srcRect/>
            <a:stretch>
              <a:fillRect l="-36000" r="-36000"/>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lIns="91401" tIns="45702" rIns="91401" bIns="45702"/>
          <a:lstStyle/>
          <a:p>
            <a:endParaRPr lang="x-none" sz="1500"/>
          </a:p>
        </p:txBody>
      </p:sp>
      <p:sp>
        <p:nvSpPr>
          <p:cNvPr id="15" name="Oval 14">
            <a:extLst>
              <a:ext uri="{FF2B5EF4-FFF2-40B4-BE49-F238E27FC236}">
                <a16:creationId xmlns:a16="http://schemas.microsoft.com/office/drawing/2014/main" id="{08E99F47-C26E-46A3-B0A9-E9A973D71572}"/>
              </a:ext>
            </a:extLst>
          </p:cNvPr>
          <p:cNvSpPr/>
          <p:nvPr/>
        </p:nvSpPr>
        <p:spPr>
          <a:xfrm>
            <a:off x="7712034" y="2455284"/>
            <a:ext cx="480761" cy="480761"/>
          </a:xfrm>
          <a:prstGeom prst="ellipse">
            <a:avLst/>
          </a:prstGeom>
          <a:blipFill>
            <a:blip r:embed="rId8"/>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lIns="91401" tIns="45702" rIns="91401" bIns="45702"/>
          <a:lstStyle/>
          <a:p>
            <a:endParaRPr lang="x-none" sz="1500"/>
          </a:p>
        </p:txBody>
      </p:sp>
      <p:sp>
        <p:nvSpPr>
          <p:cNvPr id="17" name="Oval 16">
            <a:extLst>
              <a:ext uri="{FF2B5EF4-FFF2-40B4-BE49-F238E27FC236}">
                <a16:creationId xmlns:a16="http://schemas.microsoft.com/office/drawing/2014/main" id="{2C4C5909-C7A5-46E3-A3D7-89E661A8F87F}"/>
              </a:ext>
            </a:extLst>
          </p:cNvPr>
          <p:cNvSpPr/>
          <p:nvPr/>
        </p:nvSpPr>
        <p:spPr>
          <a:xfrm>
            <a:off x="7712034" y="3079559"/>
            <a:ext cx="480761" cy="480761"/>
          </a:xfrm>
          <a:prstGeom prst="ellipse">
            <a:avLst/>
          </a:prstGeom>
          <a:blipFill>
            <a:blip r:embed="rId9">
              <a:extLst>
                <a:ext uri="{28A0092B-C50C-407E-A947-70E740481C1C}">
                  <a14:useLocalDpi xmlns:a14="http://schemas.microsoft.com/office/drawing/2010/main" val="0"/>
                </a:ext>
              </a:extLst>
            </a:blip>
            <a:srcRect/>
            <a:stretch>
              <a:fillRect l="-24000" r="-24000"/>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lIns="91401" tIns="45702" rIns="91401" bIns="45702"/>
          <a:lstStyle/>
          <a:p>
            <a:endParaRPr lang="x-none" sz="1500"/>
          </a:p>
        </p:txBody>
      </p:sp>
      <p:sp>
        <p:nvSpPr>
          <p:cNvPr id="19" name="Oval 18">
            <a:extLst>
              <a:ext uri="{FF2B5EF4-FFF2-40B4-BE49-F238E27FC236}">
                <a16:creationId xmlns:a16="http://schemas.microsoft.com/office/drawing/2014/main" id="{F04F33B3-F924-4949-A350-0768948EB458}"/>
              </a:ext>
            </a:extLst>
          </p:cNvPr>
          <p:cNvSpPr/>
          <p:nvPr/>
        </p:nvSpPr>
        <p:spPr>
          <a:xfrm>
            <a:off x="7712034" y="3751273"/>
            <a:ext cx="480761" cy="480761"/>
          </a:xfrm>
          <a:prstGeom prst="ellipse">
            <a:avLst/>
          </a:prstGeom>
          <a:blipFill>
            <a:blip r:embed="rId10">
              <a:extLst>
                <a:ext uri="{28A0092B-C50C-407E-A947-70E740481C1C}">
                  <a14:useLocalDpi xmlns:a14="http://schemas.microsoft.com/office/drawing/2010/main" val="0"/>
                </a:ext>
              </a:extLst>
            </a:blip>
            <a:srcRect/>
            <a:stretch>
              <a:fillRect l="-6000" r="-6000"/>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lIns="91401" tIns="45702" rIns="91401" bIns="45702"/>
          <a:lstStyle/>
          <a:p>
            <a:endParaRPr lang="x-none" sz="1500"/>
          </a:p>
        </p:txBody>
      </p:sp>
      <p:sp>
        <p:nvSpPr>
          <p:cNvPr id="21" name="Oval 20">
            <a:extLst>
              <a:ext uri="{FF2B5EF4-FFF2-40B4-BE49-F238E27FC236}">
                <a16:creationId xmlns:a16="http://schemas.microsoft.com/office/drawing/2014/main" id="{E1C653E8-F4A3-4811-8E5F-F8837E0A2A63}"/>
              </a:ext>
            </a:extLst>
          </p:cNvPr>
          <p:cNvSpPr/>
          <p:nvPr/>
        </p:nvSpPr>
        <p:spPr>
          <a:xfrm>
            <a:off x="7702052" y="4516467"/>
            <a:ext cx="480761" cy="480761"/>
          </a:xfrm>
          <a:prstGeom prst="ellipse">
            <a:avLst/>
          </a:prstGeom>
          <a:blipFill>
            <a:blip r:embed="rId11">
              <a:extLst>
                <a:ext uri="{28A0092B-C50C-407E-A947-70E740481C1C}">
                  <a14:useLocalDpi xmlns:a14="http://schemas.microsoft.com/office/drawing/2010/main" val="0"/>
                </a:ext>
              </a:extLst>
            </a:blip>
            <a:srcRect/>
            <a:stretch>
              <a:fillRect l="-25000" r="-25000"/>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lIns="91401" tIns="45702" rIns="91401" bIns="45702"/>
          <a:lstStyle/>
          <a:p>
            <a:endParaRPr lang="x-none" sz="1500"/>
          </a:p>
        </p:txBody>
      </p:sp>
      <p:sp>
        <p:nvSpPr>
          <p:cNvPr id="23" name="Oval 22">
            <a:extLst>
              <a:ext uri="{FF2B5EF4-FFF2-40B4-BE49-F238E27FC236}">
                <a16:creationId xmlns:a16="http://schemas.microsoft.com/office/drawing/2014/main" id="{BAAF478A-376F-4688-862F-5D7CC5E17889}"/>
              </a:ext>
            </a:extLst>
          </p:cNvPr>
          <p:cNvSpPr/>
          <p:nvPr/>
        </p:nvSpPr>
        <p:spPr>
          <a:xfrm>
            <a:off x="7699845" y="5125330"/>
            <a:ext cx="480761" cy="480761"/>
          </a:xfrm>
          <a:prstGeom prst="ellipse">
            <a:avLst/>
          </a:prstGeom>
          <a:blipFill>
            <a:blip r:embed="rId12" cstate="print">
              <a:extLst>
                <a:ext uri="{28A0092B-C50C-407E-A947-70E740481C1C}">
                  <a14:useLocalDpi xmlns:a14="http://schemas.microsoft.com/office/drawing/2010/main" val="0"/>
                </a:ext>
              </a:extLst>
            </a:blip>
            <a:srcRect/>
            <a:stretch>
              <a:fillRect l="-12000" r="-12000"/>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lIns="91401" tIns="45702" rIns="91401" bIns="45702"/>
          <a:lstStyle/>
          <a:p>
            <a:endParaRPr lang="x-none" sz="1500"/>
          </a:p>
        </p:txBody>
      </p:sp>
      <p:sp>
        <p:nvSpPr>
          <p:cNvPr id="25" name="Oval 24">
            <a:extLst>
              <a:ext uri="{FF2B5EF4-FFF2-40B4-BE49-F238E27FC236}">
                <a16:creationId xmlns:a16="http://schemas.microsoft.com/office/drawing/2014/main" id="{B6B33F6D-4840-4CEC-BDBE-614EBF50739C}"/>
              </a:ext>
            </a:extLst>
          </p:cNvPr>
          <p:cNvSpPr/>
          <p:nvPr/>
        </p:nvSpPr>
        <p:spPr>
          <a:xfrm>
            <a:off x="7699845" y="5858462"/>
            <a:ext cx="480761" cy="480761"/>
          </a:xfrm>
          <a:prstGeom prst="ellipse">
            <a:avLst/>
          </a:prstGeom>
          <a:blipFill>
            <a:blip r:embed="rId13">
              <a:extLst>
                <a:ext uri="{28A0092B-C50C-407E-A947-70E740481C1C}">
                  <a14:useLocalDpi xmlns:a14="http://schemas.microsoft.com/office/drawing/2010/main" val="0"/>
                </a:ext>
              </a:extLst>
            </a:blip>
            <a:srcRect/>
            <a:stretch>
              <a:fillRect l="-17000" r="-17000"/>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txBody>
          <a:bodyPr lIns="91401" tIns="45702" rIns="91401" bIns="45702"/>
          <a:lstStyle/>
          <a:p>
            <a:endParaRPr lang="x-none" sz="1500"/>
          </a:p>
        </p:txBody>
      </p:sp>
      <p:sp>
        <p:nvSpPr>
          <p:cNvPr id="2" name="TextBox 1">
            <a:extLst>
              <a:ext uri="{FF2B5EF4-FFF2-40B4-BE49-F238E27FC236}">
                <a16:creationId xmlns:a16="http://schemas.microsoft.com/office/drawing/2014/main" id="{BBAA1804-4D69-409C-BE50-CB0E6EA105CD}"/>
              </a:ext>
            </a:extLst>
          </p:cNvPr>
          <p:cNvSpPr txBox="1"/>
          <p:nvPr/>
        </p:nvSpPr>
        <p:spPr>
          <a:xfrm>
            <a:off x="3" y="1894838"/>
            <a:ext cx="2062019" cy="1477291"/>
          </a:xfrm>
          <a:prstGeom prst="rect">
            <a:avLst/>
          </a:prstGeom>
          <a:solidFill>
            <a:schemeClr val="accent5">
              <a:lumMod val="20000"/>
              <a:lumOff val="80000"/>
            </a:schemeClr>
          </a:solidFill>
        </p:spPr>
        <p:txBody>
          <a:bodyPr wrap="square" lIns="91401" tIns="45702" rIns="91401" bIns="45702" rtlCol="0">
            <a:spAutoFit/>
          </a:bodyPr>
          <a:lstStyle/>
          <a:p>
            <a:pPr defTabSz="914013">
              <a:defRPr/>
            </a:pPr>
            <a:r>
              <a:rPr lang="en-US" sz="1500" b="1" dirty="0">
                <a:solidFill>
                  <a:prstClr val="black"/>
                </a:solidFill>
                <a:latin typeface="Arial" panose="020B0604020202020204" pitchFamily="34" charset="0"/>
                <a:cs typeface="Arial" panose="020B0604020202020204" pitchFamily="34" charset="0"/>
              </a:rPr>
              <a:t>Facility- Based Services</a:t>
            </a:r>
          </a:p>
          <a:p>
            <a:pPr lvl="0"/>
            <a:r>
              <a:rPr lang="en-GB" sz="1500" dirty="0">
                <a:solidFill>
                  <a:prstClr val="black"/>
                </a:solidFill>
                <a:latin typeface="Arial" panose="020B0604020202020204" pitchFamily="34" charset="0"/>
                <a:cs typeface="Arial" panose="020B0604020202020204" pitchFamily="34" charset="0"/>
              </a:rPr>
              <a:t>Improve Facility Based Services by functionality of PHC facilities</a:t>
            </a:r>
          </a:p>
        </p:txBody>
      </p:sp>
      <p:sp>
        <p:nvSpPr>
          <p:cNvPr id="9" name="TextBox 8">
            <a:extLst>
              <a:ext uri="{FF2B5EF4-FFF2-40B4-BE49-F238E27FC236}">
                <a16:creationId xmlns:a16="http://schemas.microsoft.com/office/drawing/2014/main" id="{F3496178-98D3-4224-B50D-A79A4EEFB70B}"/>
              </a:ext>
            </a:extLst>
          </p:cNvPr>
          <p:cNvSpPr txBox="1"/>
          <p:nvPr/>
        </p:nvSpPr>
        <p:spPr>
          <a:xfrm>
            <a:off x="3" y="4641155"/>
            <a:ext cx="2062019" cy="1938956"/>
          </a:xfrm>
          <a:prstGeom prst="rect">
            <a:avLst/>
          </a:prstGeom>
          <a:solidFill>
            <a:schemeClr val="accent4">
              <a:lumMod val="20000"/>
              <a:lumOff val="80000"/>
            </a:schemeClr>
          </a:solidFill>
        </p:spPr>
        <p:txBody>
          <a:bodyPr wrap="square" lIns="91401" tIns="45702" rIns="91401" bIns="45702" rtlCol="0">
            <a:spAutoFit/>
          </a:bodyPr>
          <a:lstStyle/>
          <a:p>
            <a:pPr defTabSz="914013">
              <a:defRPr/>
            </a:pPr>
            <a:r>
              <a:rPr lang="en-US" sz="1500" b="1" dirty="0">
                <a:solidFill>
                  <a:prstClr val="black"/>
                </a:solidFill>
                <a:latin typeface="Arial" panose="020B0604020202020204" pitchFamily="34" charset="0"/>
                <a:cs typeface="Arial" panose="020B0604020202020204" pitchFamily="34" charset="0"/>
              </a:rPr>
              <a:t>Community - Based Services</a:t>
            </a:r>
          </a:p>
          <a:p>
            <a:pPr lvl="0"/>
            <a:r>
              <a:rPr lang="en-GB" sz="1500" dirty="0">
                <a:solidFill>
                  <a:prstClr val="black"/>
                </a:solidFill>
                <a:latin typeface="Arial" panose="020B0604020202020204" pitchFamily="34" charset="0"/>
                <a:cs typeface="Arial" panose="020B0604020202020204" pitchFamily="34" charset="0"/>
              </a:rPr>
              <a:t>Improve service effectiveness, citizens’ confidence in the PHC system, and their health seeking behaviours</a:t>
            </a:r>
          </a:p>
        </p:txBody>
      </p:sp>
      <p:sp>
        <p:nvSpPr>
          <p:cNvPr id="10" name="Rectangle 9">
            <a:extLst>
              <a:ext uri="{FF2B5EF4-FFF2-40B4-BE49-F238E27FC236}">
                <a16:creationId xmlns:a16="http://schemas.microsoft.com/office/drawing/2014/main" id="{EAC57E4B-BBF0-454D-AD23-D8F1E3A954AD}"/>
              </a:ext>
            </a:extLst>
          </p:cNvPr>
          <p:cNvSpPr/>
          <p:nvPr/>
        </p:nvSpPr>
        <p:spPr>
          <a:xfrm>
            <a:off x="11" y="924497"/>
            <a:ext cx="12191999" cy="553961"/>
          </a:xfrm>
          <a:prstGeom prst="rect">
            <a:avLst/>
          </a:prstGeom>
          <a:solidFill>
            <a:schemeClr val="accent6">
              <a:lumMod val="75000"/>
            </a:schemeClr>
          </a:solidFill>
        </p:spPr>
        <p:txBody>
          <a:bodyPr wrap="square" lIns="91401" tIns="45702" rIns="91401" bIns="45702">
            <a:spAutoFit/>
          </a:bodyPr>
          <a:lstStyle/>
          <a:p>
            <a:pPr defTabSz="914013">
              <a:defRPr/>
            </a:pPr>
            <a:r>
              <a:rPr lang="en-GB" sz="1500" b="1" dirty="0">
                <a:ln w="0"/>
                <a:solidFill>
                  <a:prstClr val="white"/>
                </a:solidFill>
                <a:effectLst>
                  <a:outerShdw blurRad="38100" dist="19050" dir="2700000" algn="tl" rotWithShape="0">
                    <a:prstClr val="black">
                      <a:alpha val="40000"/>
                    </a:prstClr>
                  </a:outerShdw>
                </a:effectLst>
                <a:latin typeface="Arial" panose="020B0604020202020204" pitchFamily="34" charset="0"/>
                <a:cs typeface="Arial" panose="020B0604020202020204" pitchFamily="34" charset="0"/>
              </a:rPr>
              <a:t>Our goal is to achieve a functional and effective Primary Health Care System that, at a minimum, supports the delivery of Routine Immunization and Maternal, Neonatal and Child Health plus Nutrition Services in every communities, wards and LGAs</a:t>
            </a:r>
          </a:p>
        </p:txBody>
      </p:sp>
      <p:sp>
        <p:nvSpPr>
          <p:cNvPr id="7" name="Slide Number Placeholder 6">
            <a:extLst>
              <a:ext uri="{FF2B5EF4-FFF2-40B4-BE49-F238E27FC236}">
                <a16:creationId xmlns:a16="http://schemas.microsoft.com/office/drawing/2014/main" id="{2E1AE2FA-746E-4046-AF74-53435D76FE42}"/>
              </a:ext>
            </a:extLst>
          </p:cNvPr>
          <p:cNvSpPr>
            <a:spLocks noGrp="1"/>
          </p:cNvSpPr>
          <p:nvPr>
            <p:ph type="sldNum" sz="quarter" idx="12"/>
          </p:nvPr>
        </p:nvSpPr>
        <p:spPr>
          <a:xfrm>
            <a:off x="9774378" y="6468873"/>
            <a:ext cx="2330969" cy="365125"/>
          </a:xfrm>
        </p:spPr>
        <p:txBody>
          <a:bodyPr/>
          <a:lstStyle/>
          <a:p>
            <a:pPr defTabSz="914013">
              <a:defRPr/>
            </a:pPr>
            <a:fld id="{978E596B-AA80-4BB2-8707-B351070E738D}" type="slidenum">
              <a:rPr lang="en-US" sz="1500" b="1">
                <a:solidFill>
                  <a:schemeClr val="bg1"/>
                </a:solidFill>
                <a:latin typeface="Calibri"/>
              </a:rPr>
              <a:pPr defTabSz="914013">
                <a:defRPr/>
              </a:pPr>
              <a:t>11</a:t>
            </a:fld>
            <a:endParaRPr lang="en-US" sz="1500" b="1" dirty="0">
              <a:solidFill>
                <a:schemeClr val="bg1"/>
              </a:solidFill>
              <a:latin typeface="Calibri"/>
            </a:endParaRPr>
          </a:p>
        </p:txBody>
      </p:sp>
      <p:sp>
        <p:nvSpPr>
          <p:cNvPr id="11" name="Rectangle 2">
            <a:extLst>
              <a:ext uri="{FF2B5EF4-FFF2-40B4-BE49-F238E27FC236}">
                <a16:creationId xmlns:a16="http://schemas.microsoft.com/office/drawing/2014/main" id="{49122690-BD9B-4A4F-BC53-0A923AD15698}"/>
              </a:ext>
            </a:extLst>
          </p:cNvPr>
          <p:cNvSpPr txBox="1">
            <a:spLocks noChangeArrowheads="1"/>
          </p:cNvSpPr>
          <p:nvPr>
            <p:custDataLst>
              <p:tags r:id="rId3"/>
            </p:custDataLst>
          </p:nvPr>
        </p:nvSpPr>
        <p:spPr bwMode="gray">
          <a:xfrm>
            <a:off x="1055593" y="141208"/>
            <a:ext cx="10080816" cy="7015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199" tIns="45607" rIns="91199" bIns="45607" rtlCol="0" anchor="ctr">
            <a:spAutoFit/>
          </a:bodyPr>
          <a:lstStyle>
            <a:defPPr>
              <a:defRPr lang="en-US"/>
            </a:defPPr>
            <a:lvl1pPr>
              <a:lnSpc>
                <a:spcPct val="90000"/>
              </a:lnSpc>
              <a:spcBef>
                <a:spcPct val="0"/>
              </a:spcBef>
              <a:buNone/>
              <a:defRPr sz="3200" b="1">
                <a:solidFill>
                  <a:srgbClr val="204024"/>
                </a:solidFill>
                <a:latin typeface="+mj-lt"/>
                <a:ea typeface="+mj-ea"/>
                <a:cs typeface="+mj-cs"/>
              </a:defRPr>
            </a:lvl1pPr>
            <a:lvl2pPr defTabSz="669832">
              <a:defRPr sz="1397" b="1">
                <a:solidFill>
                  <a:schemeClr val="tx2"/>
                </a:solidFill>
                <a:latin typeface="Arial" panose="020B0604020202020204" pitchFamily="34" charset="0"/>
              </a:defRPr>
            </a:lvl2pPr>
            <a:lvl3pPr defTabSz="669832">
              <a:defRPr sz="1397" b="1">
                <a:solidFill>
                  <a:schemeClr val="tx2"/>
                </a:solidFill>
                <a:latin typeface="Arial" panose="020B0604020202020204" pitchFamily="34" charset="0"/>
              </a:defRPr>
            </a:lvl3pPr>
            <a:lvl4pPr defTabSz="669832">
              <a:defRPr sz="1397" b="1">
                <a:solidFill>
                  <a:schemeClr val="tx2"/>
                </a:solidFill>
                <a:latin typeface="Arial" panose="020B0604020202020204" pitchFamily="34" charset="0"/>
              </a:defRPr>
            </a:lvl4pPr>
            <a:lvl5pPr defTabSz="669832">
              <a:defRPr sz="1397" b="1">
                <a:solidFill>
                  <a:schemeClr val="tx2"/>
                </a:solidFill>
                <a:latin typeface="Arial" panose="020B0604020202020204" pitchFamily="34" charset="0"/>
              </a:defRPr>
            </a:lvl5pPr>
            <a:lvl6pPr marL="342042" defTabSz="669832" fontAlgn="base">
              <a:spcBef>
                <a:spcPct val="0"/>
              </a:spcBef>
              <a:spcAft>
                <a:spcPct val="0"/>
              </a:spcAft>
              <a:defRPr sz="1397" b="1">
                <a:solidFill>
                  <a:schemeClr val="tx2"/>
                </a:solidFill>
                <a:latin typeface="Arial" panose="020B0604020202020204" pitchFamily="34" charset="0"/>
              </a:defRPr>
            </a:lvl6pPr>
            <a:lvl7pPr marL="684086" defTabSz="669832" fontAlgn="base">
              <a:spcBef>
                <a:spcPct val="0"/>
              </a:spcBef>
              <a:spcAft>
                <a:spcPct val="0"/>
              </a:spcAft>
              <a:defRPr sz="1397" b="1">
                <a:solidFill>
                  <a:schemeClr val="tx2"/>
                </a:solidFill>
                <a:latin typeface="Arial" panose="020B0604020202020204" pitchFamily="34" charset="0"/>
              </a:defRPr>
            </a:lvl7pPr>
            <a:lvl8pPr marL="1026120" defTabSz="669832" fontAlgn="base">
              <a:spcBef>
                <a:spcPct val="0"/>
              </a:spcBef>
              <a:spcAft>
                <a:spcPct val="0"/>
              </a:spcAft>
              <a:defRPr sz="1397" b="1">
                <a:solidFill>
                  <a:schemeClr val="tx2"/>
                </a:solidFill>
                <a:latin typeface="Arial" panose="020B0604020202020204" pitchFamily="34" charset="0"/>
              </a:defRPr>
            </a:lvl8pPr>
            <a:lvl9pPr marL="1368168" defTabSz="669832" fontAlgn="base">
              <a:spcBef>
                <a:spcPct val="0"/>
              </a:spcBef>
              <a:spcAft>
                <a:spcPct val="0"/>
              </a:spcAft>
              <a:defRPr sz="1397" b="1">
                <a:solidFill>
                  <a:schemeClr val="tx2"/>
                </a:solidFill>
                <a:latin typeface="Arial" panose="020B0604020202020204" pitchFamily="34" charset="0"/>
              </a:defRPr>
            </a:lvl9pPr>
          </a:lstStyle>
          <a:p>
            <a:pPr marL="4759"/>
            <a:r>
              <a:rPr lang="en-US" sz="2200" dirty="0">
                <a:solidFill>
                  <a:srgbClr val="015F32"/>
                </a:solidFill>
                <a:latin typeface="Arial" panose="020B0604020202020204" pitchFamily="34" charset="0"/>
                <a:cs typeface="Arial" panose="020B0604020202020204" pitchFamily="34" charset="0"/>
              </a:rPr>
              <a:t>NPHCDA is implementing multiple innovative strategies that cut across 7 domains to drastically improve the health indices in the country</a:t>
            </a:r>
          </a:p>
        </p:txBody>
      </p:sp>
      <p:sp>
        <p:nvSpPr>
          <p:cNvPr id="26" name="Freeform: Shape 25">
            <a:extLst>
              <a:ext uri="{FF2B5EF4-FFF2-40B4-BE49-F238E27FC236}">
                <a16:creationId xmlns:a16="http://schemas.microsoft.com/office/drawing/2014/main" id="{EF24A640-61BD-4869-8030-877A1643E56B}"/>
              </a:ext>
            </a:extLst>
          </p:cNvPr>
          <p:cNvSpPr/>
          <p:nvPr/>
        </p:nvSpPr>
        <p:spPr>
          <a:xfrm flipH="1">
            <a:off x="3397081" y="1894839"/>
            <a:ext cx="4308839" cy="480763"/>
          </a:xfrm>
          <a:custGeom>
            <a:avLst/>
            <a:gdLst>
              <a:gd name="connsiteX0" fmla="*/ 0 w 4308838"/>
              <a:gd name="connsiteY0" fmla="*/ 0 h 480761"/>
              <a:gd name="connsiteX1" fmla="*/ 4068458 w 4308838"/>
              <a:gd name="connsiteY1" fmla="*/ 0 h 480761"/>
              <a:gd name="connsiteX2" fmla="*/ 4308838 w 4308838"/>
              <a:gd name="connsiteY2" fmla="*/ 240381 h 480761"/>
              <a:gd name="connsiteX3" fmla="*/ 4068458 w 4308838"/>
              <a:gd name="connsiteY3" fmla="*/ 480761 h 480761"/>
              <a:gd name="connsiteX4" fmla="*/ 0 w 4308838"/>
              <a:gd name="connsiteY4" fmla="*/ 480761 h 480761"/>
              <a:gd name="connsiteX5" fmla="*/ 0 w 4308838"/>
              <a:gd name="connsiteY5" fmla="*/ 0 h 48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838" h="480761">
                <a:moveTo>
                  <a:pt x="4308838" y="480760"/>
                </a:moveTo>
                <a:lnTo>
                  <a:pt x="240380" y="480760"/>
                </a:lnTo>
                <a:lnTo>
                  <a:pt x="0" y="240380"/>
                </a:lnTo>
                <a:lnTo>
                  <a:pt x="240380" y="1"/>
                </a:lnTo>
                <a:lnTo>
                  <a:pt x="4308838" y="1"/>
                </a:lnTo>
                <a:lnTo>
                  <a:pt x="4308838" y="480760"/>
                </a:lnTo>
                <a:close/>
              </a:path>
            </a:pathLst>
          </a:custGeom>
          <a:solidFill>
            <a:schemeClr val="accent5">
              <a:lumMod val="20000"/>
              <a:lumOff val="8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211912" tIns="60934" rIns="233883" bIns="60935" numCol="1" spcCol="1269" anchor="ctr" anchorCtr="0">
            <a:noAutofit/>
          </a:bodyPr>
          <a:lstStyle/>
          <a:p>
            <a:pPr defTabSz="710899">
              <a:lnSpc>
                <a:spcPct val="90000"/>
              </a:lnSpc>
              <a:spcBef>
                <a:spcPct val="0"/>
              </a:spcBef>
              <a:spcAft>
                <a:spcPct val="35000"/>
              </a:spcAft>
            </a:pPr>
            <a:r>
              <a:rPr lang="en-US" sz="1500" dirty="0">
                <a:solidFill>
                  <a:schemeClr val="tx1"/>
                </a:solidFill>
                <a:latin typeface="Arial" panose="020B0604020202020204" pitchFamily="34" charset="0"/>
                <a:cs typeface="Arial" panose="020B0604020202020204" pitchFamily="34" charset="0"/>
              </a:rPr>
              <a:t>Governance &amp; Systems Strengthening through PHCUOR</a:t>
            </a:r>
          </a:p>
        </p:txBody>
      </p:sp>
      <p:sp>
        <p:nvSpPr>
          <p:cNvPr id="27" name="Freeform: Shape 26">
            <a:extLst>
              <a:ext uri="{FF2B5EF4-FFF2-40B4-BE49-F238E27FC236}">
                <a16:creationId xmlns:a16="http://schemas.microsoft.com/office/drawing/2014/main" id="{D281D2E2-FB2E-4B52-9B43-8288A9A7B921}"/>
              </a:ext>
            </a:extLst>
          </p:cNvPr>
          <p:cNvSpPr/>
          <p:nvPr/>
        </p:nvSpPr>
        <p:spPr>
          <a:xfrm flipH="1">
            <a:off x="3397081" y="2492458"/>
            <a:ext cx="4308839" cy="466624"/>
          </a:xfrm>
          <a:custGeom>
            <a:avLst/>
            <a:gdLst>
              <a:gd name="connsiteX0" fmla="*/ 0 w 4308838"/>
              <a:gd name="connsiteY0" fmla="*/ 0 h 466622"/>
              <a:gd name="connsiteX1" fmla="*/ 4075527 w 4308838"/>
              <a:gd name="connsiteY1" fmla="*/ 0 h 466622"/>
              <a:gd name="connsiteX2" fmla="*/ 4308838 w 4308838"/>
              <a:gd name="connsiteY2" fmla="*/ 233311 h 466622"/>
              <a:gd name="connsiteX3" fmla="*/ 4075527 w 4308838"/>
              <a:gd name="connsiteY3" fmla="*/ 466622 h 466622"/>
              <a:gd name="connsiteX4" fmla="*/ 0 w 4308838"/>
              <a:gd name="connsiteY4" fmla="*/ 466622 h 466622"/>
              <a:gd name="connsiteX5" fmla="*/ 0 w 4308838"/>
              <a:gd name="connsiteY5" fmla="*/ 0 h 46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838" h="466622">
                <a:moveTo>
                  <a:pt x="4308838" y="466621"/>
                </a:moveTo>
                <a:lnTo>
                  <a:pt x="233311" y="466621"/>
                </a:lnTo>
                <a:lnTo>
                  <a:pt x="0" y="233311"/>
                </a:lnTo>
                <a:lnTo>
                  <a:pt x="233311" y="1"/>
                </a:lnTo>
                <a:lnTo>
                  <a:pt x="4308838" y="1"/>
                </a:lnTo>
                <a:lnTo>
                  <a:pt x="4308838" y="466621"/>
                </a:lnTo>
                <a:close/>
              </a:path>
            </a:pathLst>
          </a:custGeom>
          <a:solidFill>
            <a:schemeClr val="accent5">
              <a:lumMod val="20000"/>
              <a:lumOff val="8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211912" tIns="60935" rIns="230349" bIns="60935" numCol="1" spcCol="1269" anchor="ctr" anchorCtr="0">
            <a:noAutofit/>
          </a:bodyPr>
          <a:lstStyle/>
          <a:p>
            <a:pPr defTabSz="710899">
              <a:lnSpc>
                <a:spcPct val="90000"/>
              </a:lnSpc>
              <a:spcBef>
                <a:spcPct val="0"/>
              </a:spcBef>
              <a:spcAft>
                <a:spcPct val="35000"/>
              </a:spcAft>
            </a:pPr>
            <a:r>
              <a:rPr lang="en-US" sz="1500" dirty="0">
                <a:solidFill>
                  <a:schemeClr val="tx1"/>
                </a:solidFill>
                <a:latin typeface="Arial" panose="020B0604020202020204" pitchFamily="34" charset="0"/>
                <a:cs typeface="Arial" panose="020B0604020202020204" pitchFamily="34" charset="0"/>
              </a:rPr>
              <a:t>HRH management</a:t>
            </a:r>
          </a:p>
        </p:txBody>
      </p:sp>
      <p:sp>
        <p:nvSpPr>
          <p:cNvPr id="28" name="Freeform: Shape 27">
            <a:extLst>
              <a:ext uri="{FF2B5EF4-FFF2-40B4-BE49-F238E27FC236}">
                <a16:creationId xmlns:a16="http://schemas.microsoft.com/office/drawing/2014/main" id="{1B6B1041-F207-4046-9264-1FE39FF1870C}"/>
              </a:ext>
            </a:extLst>
          </p:cNvPr>
          <p:cNvSpPr/>
          <p:nvPr/>
        </p:nvSpPr>
        <p:spPr>
          <a:xfrm flipH="1">
            <a:off x="3397081" y="3109683"/>
            <a:ext cx="4308839" cy="480763"/>
          </a:xfrm>
          <a:custGeom>
            <a:avLst/>
            <a:gdLst>
              <a:gd name="connsiteX0" fmla="*/ 0 w 4308838"/>
              <a:gd name="connsiteY0" fmla="*/ 0 h 480761"/>
              <a:gd name="connsiteX1" fmla="*/ 4068458 w 4308838"/>
              <a:gd name="connsiteY1" fmla="*/ 0 h 480761"/>
              <a:gd name="connsiteX2" fmla="*/ 4308838 w 4308838"/>
              <a:gd name="connsiteY2" fmla="*/ 240381 h 480761"/>
              <a:gd name="connsiteX3" fmla="*/ 4068458 w 4308838"/>
              <a:gd name="connsiteY3" fmla="*/ 480761 h 480761"/>
              <a:gd name="connsiteX4" fmla="*/ 0 w 4308838"/>
              <a:gd name="connsiteY4" fmla="*/ 480761 h 480761"/>
              <a:gd name="connsiteX5" fmla="*/ 0 w 4308838"/>
              <a:gd name="connsiteY5" fmla="*/ 0 h 48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838" h="480761">
                <a:moveTo>
                  <a:pt x="4308838" y="480760"/>
                </a:moveTo>
                <a:lnTo>
                  <a:pt x="240380" y="480760"/>
                </a:lnTo>
                <a:lnTo>
                  <a:pt x="0" y="240380"/>
                </a:lnTo>
                <a:lnTo>
                  <a:pt x="240380" y="1"/>
                </a:lnTo>
                <a:lnTo>
                  <a:pt x="4308838" y="1"/>
                </a:lnTo>
                <a:lnTo>
                  <a:pt x="4308838" y="480760"/>
                </a:lnTo>
                <a:close/>
              </a:path>
            </a:pathLst>
          </a:custGeom>
          <a:solidFill>
            <a:schemeClr val="accent5">
              <a:lumMod val="20000"/>
              <a:lumOff val="8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211912" tIns="60935" rIns="233883" bIns="60935" numCol="1" spcCol="1269" anchor="ctr" anchorCtr="0">
            <a:noAutofit/>
          </a:bodyPr>
          <a:lstStyle/>
          <a:p>
            <a:pPr defTabSz="710899">
              <a:lnSpc>
                <a:spcPct val="90000"/>
              </a:lnSpc>
              <a:spcBef>
                <a:spcPct val="0"/>
              </a:spcBef>
              <a:spcAft>
                <a:spcPct val="35000"/>
              </a:spcAft>
            </a:pPr>
            <a:r>
              <a:rPr lang="en-US" sz="1500" dirty="0">
                <a:solidFill>
                  <a:schemeClr val="tx1"/>
                </a:solidFill>
                <a:latin typeface="Arial" panose="020B0604020202020204" pitchFamily="34" charset="0"/>
                <a:cs typeface="Arial" panose="020B0604020202020204" pitchFamily="34" charset="0"/>
              </a:rPr>
              <a:t>Infrastructure, Equipment, Tools  &amp; Commodities</a:t>
            </a:r>
          </a:p>
        </p:txBody>
      </p:sp>
      <p:sp>
        <p:nvSpPr>
          <p:cNvPr id="29" name="Freeform: Shape 28">
            <a:extLst>
              <a:ext uri="{FF2B5EF4-FFF2-40B4-BE49-F238E27FC236}">
                <a16:creationId xmlns:a16="http://schemas.microsoft.com/office/drawing/2014/main" id="{F8C83382-9F71-4281-B096-14D36BACDB3C}"/>
              </a:ext>
            </a:extLst>
          </p:cNvPr>
          <p:cNvSpPr/>
          <p:nvPr/>
        </p:nvSpPr>
        <p:spPr>
          <a:xfrm flipH="1">
            <a:off x="3397081" y="3733934"/>
            <a:ext cx="4308839" cy="575679"/>
          </a:xfrm>
          <a:custGeom>
            <a:avLst/>
            <a:gdLst>
              <a:gd name="connsiteX0" fmla="*/ 0 w 4308838"/>
              <a:gd name="connsiteY0" fmla="*/ 0 h 575678"/>
              <a:gd name="connsiteX1" fmla="*/ 4020999 w 4308838"/>
              <a:gd name="connsiteY1" fmla="*/ 0 h 575678"/>
              <a:gd name="connsiteX2" fmla="*/ 4308838 w 4308838"/>
              <a:gd name="connsiteY2" fmla="*/ 287839 h 575678"/>
              <a:gd name="connsiteX3" fmla="*/ 4020999 w 4308838"/>
              <a:gd name="connsiteY3" fmla="*/ 575678 h 575678"/>
              <a:gd name="connsiteX4" fmla="*/ 0 w 4308838"/>
              <a:gd name="connsiteY4" fmla="*/ 575678 h 575678"/>
              <a:gd name="connsiteX5" fmla="*/ 0 w 4308838"/>
              <a:gd name="connsiteY5" fmla="*/ 0 h 57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8838" h="575678">
                <a:moveTo>
                  <a:pt x="4308838" y="575677"/>
                </a:moveTo>
                <a:lnTo>
                  <a:pt x="287839" y="575677"/>
                </a:lnTo>
                <a:lnTo>
                  <a:pt x="0" y="287839"/>
                </a:lnTo>
                <a:lnTo>
                  <a:pt x="287839" y="1"/>
                </a:lnTo>
                <a:lnTo>
                  <a:pt x="4308838" y="1"/>
                </a:lnTo>
                <a:lnTo>
                  <a:pt x="4308838" y="575677"/>
                </a:lnTo>
                <a:close/>
              </a:path>
            </a:pathLst>
          </a:custGeom>
          <a:solidFill>
            <a:schemeClr val="accent5">
              <a:lumMod val="20000"/>
              <a:lumOff val="8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211912" tIns="60935" rIns="257601" bIns="60934" numCol="1" spcCol="1269" anchor="ctr" anchorCtr="0">
            <a:noAutofit/>
          </a:bodyPr>
          <a:lstStyle/>
          <a:p>
            <a:pPr defTabSz="710899">
              <a:lnSpc>
                <a:spcPct val="90000"/>
              </a:lnSpc>
              <a:spcBef>
                <a:spcPct val="0"/>
              </a:spcBef>
              <a:spcAft>
                <a:spcPct val="35000"/>
              </a:spcAft>
            </a:pPr>
            <a:r>
              <a:rPr lang="en-US" sz="1500" dirty="0">
                <a:solidFill>
                  <a:schemeClr val="tx1"/>
                </a:solidFill>
                <a:latin typeface="Arial" panose="020B0604020202020204" pitchFamily="34" charset="0"/>
                <a:cs typeface="Arial" panose="020B0604020202020204" pitchFamily="34" charset="0"/>
              </a:rPr>
              <a:t>Financing for PHC</a:t>
            </a:r>
          </a:p>
          <a:p>
            <a:pPr defTabSz="710899">
              <a:lnSpc>
                <a:spcPct val="90000"/>
              </a:lnSpc>
              <a:spcBef>
                <a:spcPct val="0"/>
              </a:spcBef>
              <a:spcAft>
                <a:spcPct val="35000"/>
              </a:spcAft>
            </a:pPr>
            <a:r>
              <a:rPr lang="en-US" sz="1500" dirty="0">
                <a:solidFill>
                  <a:schemeClr val="tx1"/>
                </a:solidFill>
                <a:latin typeface="Arial" panose="020B0604020202020204" pitchFamily="34" charset="0"/>
                <a:cs typeface="Arial" panose="020B0604020202020204" pitchFamily="34" charset="0"/>
              </a:rPr>
              <a:t>(Revenue collection, Pooling, Purchasing)</a:t>
            </a:r>
          </a:p>
        </p:txBody>
      </p:sp>
      <p:sp>
        <p:nvSpPr>
          <p:cNvPr id="30" name="Freeform: Shape 29">
            <a:extLst>
              <a:ext uri="{FF2B5EF4-FFF2-40B4-BE49-F238E27FC236}">
                <a16:creationId xmlns:a16="http://schemas.microsoft.com/office/drawing/2014/main" id="{2CE0237E-9B38-4D98-BBDD-B1D2A1AAFEAB}"/>
              </a:ext>
            </a:extLst>
          </p:cNvPr>
          <p:cNvSpPr/>
          <p:nvPr/>
        </p:nvSpPr>
        <p:spPr>
          <a:xfrm flipH="1">
            <a:off x="3367141" y="4488307"/>
            <a:ext cx="4348759" cy="493384"/>
          </a:xfrm>
          <a:custGeom>
            <a:avLst/>
            <a:gdLst>
              <a:gd name="connsiteX0" fmla="*/ 0 w 4348758"/>
              <a:gd name="connsiteY0" fmla="*/ 0 h 667657"/>
              <a:gd name="connsiteX1" fmla="*/ 4014930 w 4348758"/>
              <a:gd name="connsiteY1" fmla="*/ 0 h 667657"/>
              <a:gd name="connsiteX2" fmla="*/ 4348758 w 4348758"/>
              <a:gd name="connsiteY2" fmla="*/ 333829 h 667657"/>
              <a:gd name="connsiteX3" fmla="*/ 4014930 w 4348758"/>
              <a:gd name="connsiteY3" fmla="*/ 667657 h 667657"/>
              <a:gd name="connsiteX4" fmla="*/ 0 w 4348758"/>
              <a:gd name="connsiteY4" fmla="*/ 667657 h 667657"/>
              <a:gd name="connsiteX5" fmla="*/ 0 w 4348758"/>
              <a:gd name="connsiteY5" fmla="*/ 0 h 66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8758" h="667657">
                <a:moveTo>
                  <a:pt x="4348758" y="667656"/>
                </a:moveTo>
                <a:lnTo>
                  <a:pt x="333828" y="667656"/>
                </a:lnTo>
                <a:lnTo>
                  <a:pt x="0" y="333828"/>
                </a:lnTo>
                <a:lnTo>
                  <a:pt x="333828" y="1"/>
                </a:lnTo>
                <a:lnTo>
                  <a:pt x="4348758" y="1"/>
                </a:lnTo>
                <a:lnTo>
                  <a:pt x="4348758" y="667656"/>
                </a:lnTo>
                <a:close/>
              </a:path>
            </a:pathLst>
          </a:custGeom>
          <a:solidFill>
            <a:schemeClr val="accent5">
              <a:lumMod val="20000"/>
              <a:lumOff val="8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211912" tIns="60935" rIns="280586" bIns="60934" numCol="1" spcCol="1269" anchor="ctr" anchorCtr="0">
            <a:noAutofit/>
          </a:bodyPr>
          <a:lstStyle/>
          <a:p>
            <a:pPr defTabSz="710899">
              <a:lnSpc>
                <a:spcPct val="90000"/>
              </a:lnSpc>
              <a:spcBef>
                <a:spcPct val="0"/>
              </a:spcBef>
              <a:spcAft>
                <a:spcPct val="35000"/>
              </a:spcAft>
            </a:pPr>
            <a:r>
              <a:rPr lang="en-US" sz="1500" dirty="0">
                <a:solidFill>
                  <a:schemeClr val="tx1"/>
                </a:solidFill>
                <a:latin typeface="Arial" panose="020B0604020202020204" pitchFamily="34" charset="0"/>
                <a:cs typeface="Arial" panose="020B0604020202020204" pitchFamily="34" charset="0"/>
              </a:rPr>
              <a:t>Facility Services (Fixed &amp; Outreach)</a:t>
            </a:r>
          </a:p>
        </p:txBody>
      </p:sp>
      <p:sp>
        <p:nvSpPr>
          <p:cNvPr id="31" name="Freeform: Shape 30">
            <a:extLst>
              <a:ext uri="{FF2B5EF4-FFF2-40B4-BE49-F238E27FC236}">
                <a16:creationId xmlns:a16="http://schemas.microsoft.com/office/drawing/2014/main" id="{CA95A0FC-8EE3-4ADA-A47C-B1397DD11A00}"/>
              </a:ext>
            </a:extLst>
          </p:cNvPr>
          <p:cNvSpPr/>
          <p:nvPr/>
        </p:nvSpPr>
        <p:spPr>
          <a:xfrm flipH="1">
            <a:off x="3360523" y="5190616"/>
            <a:ext cx="4357583" cy="480762"/>
          </a:xfrm>
          <a:custGeom>
            <a:avLst/>
            <a:gdLst>
              <a:gd name="connsiteX0" fmla="*/ 0 w 4357583"/>
              <a:gd name="connsiteY0" fmla="*/ 0 h 480761"/>
              <a:gd name="connsiteX1" fmla="*/ 4117203 w 4357583"/>
              <a:gd name="connsiteY1" fmla="*/ 0 h 480761"/>
              <a:gd name="connsiteX2" fmla="*/ 4357583 w 4357583"/>
              <a:gd name="connsiteY2" fmla="*/ 240381 h 480761"/>
              <a:gd name="connsiteX3" fmla="*/ 4117203 w 4357583"/>
              <a:gd name="connsiteY3" fmla="*/ 480761 h 480761"/>
              <a:gd name="connsiteX4" fmla="*/ 0 w 4357583"/>
              <a:gd name="connsiteY4" fmla="*/ 480761 h 480761"/>
              <a:gd name="connsiteX5" fmla="*/ 0 w 4357583"/>
              <a:gd name="connsiteY5" fmla="*/ 0 h 48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7583" h="480761">
                <a:moveTo>
                  <a:pt x="4357583" y="480760"/>
                </a:moveTo>
                <a:lnTo>
                  <a:pt x="240380" y="480760"/>
                </a:lnTo>
                <a:lnTo>
                  <a:pt x="0" y="240380"/>
                </a:lnTo>
                <a:lnTo>
                  <a:pt x="240380" y="1"/>
                </a:lnTo>
                <a:lnTo>
                  <a:pt x="4357583" y="1"/>
                </a:lnTo>
                <a:lnTo>
                  <a:pt x="4357583" y="480760"/>
                </a:lnTo>
                <a:close/>
              </a:path>
            </a:pathLst>
          </a:custGeom>
          <a:solidFill>
            <a:schemeClr val="accent5">
              <a:lumMod val="20000"/>
              <a:lumOff val="8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211912" tIns="60935" rIns="233883" bIns="60934" numCol="1" spcCol="1269" anchor="ctr" anchorCtr="0">
            <a:noAutofit/>
          </a:bodyPr>
          <a:lstStyle/>
          <a:p>
            <a:pPr defTabSz="710899">
              <a:lnSpc>
                <a:spcPct val="90000"/>
              </a:lnSpc>
              <a:spcBef>
                <a:spcPct val="0"/>
              </a:spcBef>
              <a:spcAft>
                <a:spcPct val="35000"/>
              </a:spcAft>
            </a:pPr>
            <a:r>
              <a:rPr lang="en-US" sz="1500">
                <a:solidFill>
                  <a:schemeClr val="tx1"/>
                </a:solidFill>
                <a:latin typeface="Arial" panose="020B0604020202020204" pitchFamily="34" charset="0"/>
                <a:cs typeface="Arial" panose="020B0604020202020204" pitchFamily="34" charset="0"/>
              </a:rPr>
              <a:t>Data Management</a:t>
            </a:r>
            <a:endParaRPr lang="en-US" sz="1500" dirty="0">
              <a:solidFill>
                <a:schemeClr val="tx1"/>
              </a:solidFill>
              <a:latin typeface="Arial" panose="020B0604020202020204" pitchFamily="34" charset="0"/>
              <a:cs typeface="Arial" panose="020B0604020202020204" pitchFamily="34" charset="0"/>
            </a:endParaRPr>
          </a:p>
        </p:txBody>
      </p:sp>
      <p:sp>
        <p:nvSpPr>
          <p:cNvPr id="32" name="Freeform: Shape 31">
            <a:extLst>
              <a:ext uri="{FF2B5EF4-FFF2-40B4-BE49-F238E27FC236}">
                <a16:creationId xmlns:a16="http://schemas.microsoft.com/office/drawing/2014/main" id="{CAB803CF-8D36-4942-A4F5-BDC334638619}"/>
              </a:ext>
            </a:extLst>
          </p:cNvPr>
          <p:cNvSpPr/>
          <p:nvPr/>
        </p:nvSpPr>
        <p:spPr>
          <a:xfrm flipH="1">
            <a:off x="3360523" y="5923751"/>
            <a:ext cx="4357583" cy="480762"/>
          </a:xfrm>
          <a:custGeom>
            <a:avLst/>
            <a:gdLst>
              <a:gd name="connsiteX0" fmla="*/ 0 w 4357583"/>
              <a:gd name="connsiteY0" fmla="*/ 0 h 480761"/>
              <a:gd name="connsiteX1" fmla="*/ 4117203 w 4357583"/>
              <a:gd name="connsiteY1" fmla="*/ 0 h 480761"/>
              <a:gd name="connsiteX2" fmla="*/ 4357583 w 4357583"/>
              <a:gd name="connsiteY2" fmla="*/ 240381 h 480761"/>
              <a:gd name="connsiteX3" fmla="*/ 4117203 w 4357583"/>
              <a:gd name="connsiteY3" fmla="*/ 480761 h 480761"/>
              <a:gd name="connsiteX4" fmla="*/ 0 w 4357583"/>
              <a:gd name="connsiteY4" fmla="*/ 480761 h 480761"/>
              <a:gd name="connsiteX5" fmla="*/ 0 w 4357583"/>
              <a:gd name="connsiteY5" fmla="*/ 0 h 48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7583" h="480761">
                <a:moveTo>
                  <a:pt x="4357583" y="480760"/>
                </a:moveTo>
                <a:lnTo>
                  <a:pt x="240380" y="480760"/>
                </a:lnTo>
                <a:lnTo>
                  <a:pt x="0" y="240380"/>
                </a:lnTo>
                <a:lnTo>
                  <a:pt x="240380" y="1"/>
                </a:lnTo>
                <a:lnTo>
                  <a:pt x="4357583" y="1"/>
                </a:lnTo>
                <a:lnTo>
                  <a:pt x="4357583" y="480760"/>
                </a:lnTo>
                <a:close/>
              </a:path>
            </a:pathLst>
          </a:custGeom>
          <a:solidFill>
            <a:schemeClr val="accent4">
              <a:lumMod val="20000"/>
              <a:lumOff val="8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211912" tIns="60935" rIns="233883" bIns="60934" numCol="1" spcCol="1269" anchor="ctr" anchorCtr="0">
            <a:noAutofit/>
          </a:bodyPr>
          <a:lstStyle/>
          <a:p>
            <a:pPr defTabSz="710899">
              <a:lnSpc>
                <a:spcPct val="90000"/>
              </a:lnSpc>
              <a:spcBef>
                <a:spcPct val="0"/>
              </a:spcBef>
              <a:spcAft>
                <a:spcPct val="35000"/>
              </a:spcAft>
            </a:pPr>
            <a:r>
              <a:rPr lang="en-US" sz="1500" dirty="0">
                <a:solidFill>
                  <a:schemeClr val="tx1"/>
                </a:solidFill>
                <a:latin typeface="Arial" panose="020B0604020202020204" pitchFamily="34" charset="0"/>
                <a:cs typeface="Arial" panose="020B0604020202020204" pitchFamily="34" charset="0"/>
              </a:rPr>
              <a:t>Community Services &amp; Demand Creation</a:t>
            </a:r>
          </a:p>
        </p:txBody>
      </p:sp>
      <p:sp>
        <p:nvSpPr>
          <p:cNvPr id="35" name="Rectangle 34">
            <a:extLst>
              <a:ext uri="{FF2B5EF4-FFF2-40B4-BE49-F238E27FC236}">
                <a16:creationId xmlns:a16="http://schemas.microsoft.com/office/drawing/2014/main" id="{44A39795-BC7C-4FFF-94B3-4075607CA3BD}"/>
              </a:ext>
            </a:extLst>
          </p:cNvPr>
          <p:cNvSpPr/>
          <p:nvPr/>
        </p:nvSpPr>
        <p:spPr>
          <a:xfrm>
            <a:off x="8458212" y="1894839"/>
            <a:ext cx="3646707" cy="480763"/>
          </a:xfrm>
          <a:prstGeom prst="rect">
            <a:avLst/>
          </a:prstGeom>
          <a:solidFill>
            <a:schemeClr val="accent5">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893" tIns="45702" rIns="91401" bIns="45702" rtlCol="0" anchor="ctr"/>
          <a:lstStyle/>
          <a:p>
            <a:r>
              <a:rPr lang="en-GB" sz="1500" dirty="0">
                <a:solidFill>
                  <a:schemeClr val="tx1"/>
                </a:solidFill>
                <a:latin typeface="Arial" panose="020B0604020202020204" pitchFamily="34" charset="0"/>
                <a:cs typeface="Arial" panose="020B0604020202020204" pitchFamily="34" charset="0"/>
              </a:rPr>
              <a:t>Technical support program, Quarterly engagement with SPHCBs</a:t>
            </a:r>
            <a:r>
              <a:rPr lang="en-GB" sz="1500" baseline="30000" dirty="0">
                <a:solidFill>
                  <a:schemeClr val="tx1"/>
                </a:solidFill>
                <a:latin typeface="Arial" panose="020B0604020202020204" pitchFamily="34" charset="0"/>
                <a:cs typeface="Arial" panose="020B0604020202020204" pitchFamily="34" charset="0"/>
              </a:rPr>
              <a:t>1</a:t>
            </a:r>
            <a:endParaRPr lang="x-none" sz="1500" baseline="30000" dirty="0">
              <a:solidFill>
                <a:schemeClr val="tx1"/>
              </a:solidFill>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61F26C43-2071-4A3B-9145-2AC584DCD888}"/>
              </a:ext>
            </a:extLst>
          </p:cNvPr>
          <p:cNvSpPr/>
          <p:nvPr/>
        </p:nvSpPr>
        <p:spPr>
          <a:xfrm>
            <a:off x="8458212" y="2437488"/>
            <a:ext cx="3646707" cy="544609"/>
          </a:xfrm>
          <a:prstGeom prst="rect">
            <a:avLst/>
          </a:prstGeom>
          <a:solidFill>
            <a:schemeClr val="accent5">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893" tIns="45702" rIns="91401" bIns="45702" rtlCol="0" anchor="ctr"/>
          <a:lstStyle/>
          <a:p>
            <a:r>
              <a:rPr lang="en-GB" sz="1500" dirty="0">
                <a:solidFill>
                  <a:schemeClr val="tx1"/>
                </a:solidFill>
                <a:latin typeface="Arial" panose="020B0604020202020204" pitchFamily="34" charset="0"/>
                <a:cs typeface="Arial" panose="020B0604020202020204" pitchFamily="34" charset="0"/>
              </a:rPr>
              <a:t>Health workers audit</a:t>
            </a:r>
            <a:r>
              <a:rPr lang="en-GB" sz="1500" baseline="30000" dirty="0">
                <a:solidFill>
                  <a:schemeClr val="tx1"/>
                </a:solidFill>
                <a:latin typeface="Arial" panose="020B0604020202020204" pitchFamily="34" charset="0"/>
                <a:cs typeface="Arial" panose="020B0604020202020204" pitchFamily="34" charset="0"/>
              </a:rPr>
              <a:t>2</a:t>
            </a:r>
            <a:r>
              <a:rPr lang="en-GB" sz="1500" dirty="0">
                <a:solidFill>
                  <a:schemeClr val="tx1"/>
                </a:solidFill>
                <a:latin typeface="Arial" panose="020B0604020202020204" pitchFamily="34" charset="0"/>
                <a:cs typeface="Arial" panose="020B0604020202020204" pitchFamily="34" charset="0"/>
              </a:rPr>
              <a:t>, Expanded Midwife Service Scheme</a:t>
            </a:r>
            <a:r>
              <a:rPr lang="en-GB" sz="1500" baseline="30000" dirty="0">
                <a:solidFill>
                  <a:schemeClr val="tx1"/>
                </a:solidFill>
                <a:latin typeface="Arial" panose="020B0604020202020204" pitchFamily="34" charset="0"/>
                <a:cs typeface="Arial" panose="020B0604020202020204" pitchFamily="34" charset="0"/>
              </a:rPr>
              <a:t>2</a:t>
            </a:r>
            <a:endParaRPr lang="x-none" sz="1500" baseline="30000" dirty="0">
              <a:solidFill>
                <a:schemeClr val="tx1"/>
              </a:solidFill>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DAB6A827-CAA1-4928-BDF0-55350E8CDCD1}"/>
              </a:ext>
            </a:extLst>
          </p:cNvPr>
          <p:cNvSpPr/>
          <p:nvPr/>
        </p:nvSpPr>
        <p:spPr>
          <a:xfrm>
            <a:off x="8458212" y="3089916"/>
            <a:ext cx="3646707" cy="544609"/>
          </a:xfrm>
          <a:prstGeom prst="rect">
            <a:avLst/>
          </a:prstGeom>
          <a:solidFill>
            <a:schemeClr val="accent5">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893" tIns="45702" rIns="91401" bIns="45702" rtlCol="0" anchor="ctr"/>
          <a:lstStyle/>
          <a:p>
            <a:r>
              <a:rPr lang="en-GB" sz="1500" dirty="0">
                <a:solidFill>
                  <a:schemeClr val="tx1"/>
                </a:solidFill>
                <a:latin typeface="Arial" panose="020B0604020202020204" pitchFamily="34" charset="0"/>
                <a:cs typeface="Arial" panose="020B0604020202020204" pitchFamily="34" charset="0"/>
              </a:rPr>
              <a:t>PHC revitalization</a:t>
            </a:r>
            <a:r>
              <a:rPr lang="en-GB" sz="1500" baseline="30000" dirty="0">
                <a:solidFill>
                  <a:schemeClr val="tx1"/>
                </a:solidFill>
                <a:latin typeface="Arial" panose="020B0604020202020204" pitchFamily="34" charset="0"/>
                <a:cs typeface="Arial" panose="020B0604020202020204" pitchFamily="34" charset="0"/>
              </a:rPr>
              <a:t>3</a:t>
            </a:r>
            <a:r>
              <a:rPr lang="en-GB" sz="1500" dirty="0">
                <a:solidFill>
                  <a:schemeClr val="tx1"/>
                </a:solidFill>
                <a:latin typeface="Arial" panose="020B0604020202020204" pitchFamily="34" charset="0"/>
                <a:cs typeface="Arial" panose="020B0604020202020204" pitchFamily="34" charset="0"/>
              </a:rPr>
              <a:t>, CCEOP</a:t>
            </a:r>
            <a:r>
              <a:rPr lang="en-GB" sz="1500" baseline="30000" dirty="0">
                <a:solidFill>
                  <a:schemeClr val="tx1"/>
                </a:solidFill>
                <a:latin typeface="Arial" panose="020B0604020202020204" pitchFamily="34" charset="0"/>
                <a:cs typeface="Arial" panose="020B0604020202020204" pitchFamily="34" charset="0"/>
              </a:rPr>
              <a:t>3</a:t>
            </a:r>
            <a:endParaRPr lang="x-none" sz="1500" baseline="30000" dirty="0">
              <a:solidFill>
                <a:schemeClr val="tx1"/>
              </a:solidFill>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AC891BD2-BC5A-4472-A53F-B2557114FAC7}"/>
              </a:ext>
            </a:extLst>
          </p:cNvPr>
          <p:cNvSpPr/>
          <p:nvPr/>
        </p:nvSpPr>
        <p:spPr>
          <a:xfrm>
            <a:off x="8458212" y="3781269"/>
            <a:ext cx="3646707" cy="544609"/>
          </a:xfrm>
          <a:prstGeom prst="rect">
            <a:avLst/>
          </a:prstGeom>
          <a:solidFill>
            <a:schemeClr val="accent5">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893" tIns="45702" rIns="91401" bIns="45702" rtlCol="0" anchor="ctr"/>
          <a:lstStyle/>
          <a:p>
            <a:r>
              <a:rPr lang="en-GB" sz="1500" dirty="0">
                <a:solidFill>
                  <a:schemeClr val="tx1"/>
                </a:solidFill>
                <a:latin typeface="Arial" panose="020B0604020202020204" pitchFamily="34" charset="0"/>
                <a:cs typeface="Arial" panose="020B0604020202020204" pitchFamily="34" charset="0"/>
              </a:rPr>
              <a:t>Basic Health Care Provision Fund, NSHIP</a:t>
            </a:r>
            <a:r>
              <a:rPr lang="en-GB" sz="1500" baseline="30000" dirty="0">
                <a:solidFill>
                  <a:schemeClr val="tx1"/>
                </a:solidFill>
                <a:latin typeface="Arial" panose="020B0604020202020204" pitchFamily="34" charset="0"/>
                <a:cs typeface="Arial" panose="020B0604020202020204" pitchFamily="34" charset="0"/>
              </a:rPr>
              <a:t>4</a:t>
            </a:r>
            <a:endParaRPr lang="x-none" sz="1500" baseline="30000" dirty="0">
              <a:solidFill>
                <a:schemeClr val="tx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4A4406F7-BBEF-4731-A139-6CF7CEBC9952}"/>
              </a:ext>
            </a:extLst>
          </p:cNvPr>
          <p:cNvSpPr/>
          <p:nvPr/>
        </p:nvSpPr>
        <p:spPr>
          <a:xfrm>
            <a:off x="8458212" y="4488309"/>
            <a:ext cx="3646707" cy="508898"/>
          </a:xfrm>
          <a:prstGeom prst="rect">
            <a:avLst/>
          </a:prstGeom>
          <a:solidFill>
            <a:schemeClr val="accent5">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893" tIns="45702" rIns="91401" bIns="45702" rtlCol="0" anchor="ctr"/>
          <a:lstStyle/>
          <a:p>
            <a:r>
              <a:rPr lang="en-GB" sz="1500" dirty="0">
                <a:solidFill>
                  <a:schemeClr val="tx1"/>
                </a:solidFill>
                <a:latin typeface="Arial" panose="020B0604020202020204" pitchFamily="34" charset="0"/>
                <a:cs typeface="Arial" panose="020B0604020202020204" pitchFamily="34" charset="0"/>
              </a:rPr>
              <a:t>NERICC</a:t>
            </a:r>
            <a:r>
              <a:rPr lang="en-GB" sz="1500" baseline="30000" dirty="0">
                <a:solidFill>
                  <a:schemeClr val="tx1"/>
                </a:solidFill>
                <a:latin typeface="Arial" panose="020B0604020202020204" pitchFamily="34" charset="0"/>
                <a:cs typeface="Arial" panose="020B0604020202020204" pitchFamily="34" charset="0"/>
              </a:rPr>
              <a:t>5</a:t>
            </a:r>
            <a:r>
              <a:rPr lang="en-GB" sz="1500" dirty="0">
                <a:solidFill>
                  <a:schemeClr val="tx1"/>
                </a:solidFill>
                <a:latin typeface="Arial" panose="020B0604020202020204" pitchFamily="34" charset="0"/>
                <a:cs typeface="Arial" panose="020B0604020202020204" pitchFamily="34" charset="0"/>
              </a:rPr>
              <a:t>, NEMCHIC</a:t>
            </a:r>
            <a:r>
              <a:rPr lang="en-GB" sz="1500" baseline="30000" dirty="0">
                <a:solidFill>
                  <a:schemeClr val="tx1"/>
                </a:solidFill>
                <a:latin typeface="Arial" panose="020B0604020202020204" pitchFamily="34" charset="0"/>
                <a:cs typeface="Arial" panose="020B0604020202020204" pitchFamily="34" charset="0"/>
              </a:rPr>
              <a:t>5</a:t>
            </a:r>
            <a:endParaRPr lang="x-none" sz="1500" baseline="30000" dirty="0">
              <a:solidFill>
                <a:schemeClr val="tx1"/>
              </a:solidFill>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061308C6-9ECF-4C88-949D-1106AD61B173}"/>
              </a:ext>
            </a:extLst>
          </p:cNvPr>
          <p:cNvSpPr/>
          <p:nvPr/>
        </p:nvSpPr>
        <p:spPr>
          <a:xfrm>
            <a:off x="8458212" y="5190615"/>
            <a:ext cx="3646707" cy="480760"/>
          </a:xfrm>
          <a:prstGeom prst="rect">
            <a:avLst/>
          </a:prstGeom>
          <a:solidFill>
            <a:schemeClr val="accent5">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893" tIns="45702" rIns="91401" bIns="45702" rtlCol="0" anchor="ctr"/>
          <a:lstStyle/>
          <a:p>
            <a:r>
              <a:rPr lang="en-GB" sz="1500" dirty="0">
                <a:solidFill>
                  <a:schemeClr val="tx1"/>
                </a:solidFill>
                <a:latin typeface="Arial" panose="020B0604020202020204" pitchFamily="34" charset="0"/>
                <a:cs typeface="Arial" panose="020B0604020202020204" pitchFamily="34" charset="0"/>
              </a:rPr>
              <a:t>LQAS</a:t>
            </a:r>
            <a:r>
              <a:rPr lang="en-GB" sz="1500" baseline="30000" dirty="0">
                <a:solidFill>
                  <a:schemeClr val="tx1"/>
                </a:solidFill>
                <a:latin typeface="Arial" panose="020B0604020202020204" pitchFamily="34" charset="0"/>
                <a:cs typeface="Arial" panose="020B0604020202020204" pitchFamily="34" charset="0"/>
              </a:rPr>
              <a:t>6</a:t>
            </a:r>
            <a:endParaRPr lang="x-none" sz="1500" dirty="0">
              <a:solidFill>
                <a:schemeClr val="tx1"/>
              </a:solidFill>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FA981C6C-CF8C-4DAF-BED8-5E7DC976CFEA}"/>
              </a:ext>
            </a:extLst>
          </p:cNvPr>
          <p:cNvSpPr/>
          <p:nvPr/>
        </p:nvSpPr>
        <p:spPr>
          <a:xfrm>
            <a:off x="8458212" y="5923771"/>
            <a:ext cx="3646707" cy="480763"/>
          </a:xfrm>
          <a:prstGeom prst="rect">
            <a:avLst/>
          </a:prstGeom>
          <a:solidFill>
            <a:schemeClr val="accent4">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893" tIns="45702" rIns="91401" bIns="45702" rtlCol="0" anchor="ctr"/>
          <a:lstStyle/>
          <a:p>
            <a:r>
              <a:rPr lang="en-GB" sz="1500" dirty="0">
                <a:solidFill>
                  <a:schemeClr val="tx1"/>
                </a:solidFill>
                <a:latin typeface="Arial" panose="020B0604020202020204" pitchFamily="34" charset="0"/>
                <a:cs typeface="Arial" panose="020B0604020202020204" pitchFamily="34" charset="0"/>
              </a:rPr>
              <a:t>CHIPS</a:t>
            </a:r>
            <a:r>
              <a:rPr lang="en-GB" sz="1500" baseline="30000" dirty="0">
                <a:solidFill>
                  <a:schemeClr val="tx1"/>
                </a:solidFill>
                <a:latin typeface="Arial" panose="020B0604020202020204" pitchFamily="34" charset="0"/>
                <a:cs typeface="Arial" panose="020B0604020202020204" pitchFamily="34" charset="0"/>
              </a:rPr>
              <a:t>7</a:t>
            </a:r>
            <a:r>
              <a:rPr lang="en-GB" sz="1500" dirty="0">
                <a:solidFill>
                  <a:schemeClr val="tx1"/>
                </a:solidFill>
                <a:latin typeface="Arial" panose="020B0604020202020204" pitchFamily="34" charset="0"/>
                <a:cs typeface="Arial" panose="020B0604020202020204" pitchFamily="34" charset="0"/>
              </a:rPr>
              <a:t>, CES</a:t>
            </a:r>
            <a:r>
              <a:rPr lang="en-GB" sz="1500" baseline="30000" dirty="0">
                <a:solidFill>
                  <a:schemeClr val="tx1"/>
                </a:solidFill>
                <a:latin typeface="Arial" panose="020B0604020202020204" pitchFamily="34" charset="0"/>
                <a:cs typeface="Arial" panose="020B0604020202020204" pitchFamily="34" charset="0"/>
              </a:rPr>
              <a:t>7</a:t>
            </a:r>
            <a:endParaRPr lang="x-none" sz="1500" baseline="30000" dirty="0">
              <a:solidFill>
                <a:schemeClr val="tx1"/>
              </a:solidFill>
              <a:latin typeface="Arial" panose="020B0604020202020204" pitchFamily="34" charset="0"/>
              <a:cs typeface="Arial" panose="020B0604020202020204" pitchFamily="34" charset="0"/>
            </a:endParaRPr>
          </a:p>
        </p:txBody>
      </p:sp>
      <p:cxnSp>
        <p:nvCxnSpPr>
          <p:cNvPr id="51" name="Connector: Elbow 50">
            <a:extLst>
              <a:ext uri="{FF2B5EF4-FFF2-40B4-BE49-F238E27FC236}">
                <a16:creationId xmlns:a16="http://schemas.microsoft.com/office/drawing/2014/main" id="{2C7E5272-AACC-4B0A-800F-3DAC6FEC73A5}"/>
              </a:ext>
            </a:extLst>
          </p:cNvPr>
          <p:cNvCxnSpPr>
            <a:cxnSpLocks/>
            <a:stCxn id="2" idx="3"/>
            <a:endCxn id="27" idx="2"/>
          </p:cNvCxnSpPr>
          <p:nvPr/>
        </p:nvCxnSpPr>
        <p:spPr>
          <a:xfrm>
            <a:off x="2062022" y="2633484"/>
            <a:ext cx="1335059" cy="9228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B4329656-9C6B-4CBB-AD13-6097F50F7196}"/>
              </a:ext>
            </a:extLst>
          </p:cNvPr>
          <p:cNvCxnSpPr>
            <a:cxnSpLocks/>
            <a:stCxn id="2" idx="3"/>
            <a:endCxn id="28" idx="2"/>
          </p:cNvCxnSpPr>
          <p:nvPr/>
        </p:nvCxnSpPr>
        <p:spPr>
          <a:xfrm>
            <a:off x="2062022" y="2633484"/>
            <a:ext cx="1335059" cy="716581"/>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1F4D100B-5D4E-4B11-A62B-085F1CCAEB26}"/>
              </a:ext>
            </a:extLst>
          </p:cNvPr>
          <p:cNvCxnSpPr>
            <a:cxnSpLocks/>
            <a:stCxn id="2" idx="3"/>
            <a:endCxn id="29" idx="2"/>
          </p:cNvCxnSpPr>
          <p:nvPr/>
        </p:nvCxnSpPr>
        <p:spPr>
          <a:xfrm>
            <a:off x="2062022" y="2633484"/>
            <a:ext cx="1335059" cy="138829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75B59471-2AAD-4D0C-93D8-AA173344103B}"/>
              </a:ext>
            </a:extLst>
          </p:cNvPr>
          <p:cNvCxnSpPr>
            <a:cxnSpLocks/>
            <a:stCxn id="2" idx="3"/>
            <a:endCxn id="30" idx="2"/>
          </p:cNvCxnSpPr>
          <p:nvPr/>
        </p:nvCxnSpPr>
        <p:spPr>
          <a:xfrm>
            <a:off x="2062022" y="2633484"/>
            <a:ext cx="1305119" cy="2101515"/>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1FB6365F-77D6-40DB-8FE6-914F8F8D0C72}"/>
              </a:ext>
            </a:extLst>
          </p:cNvPr>
          <p:cNvCxnSpPr>
            <a:cxnSpLocks/>
            <a:stCxn id="2" idx="3"/>
            <a:endCxn id="31" idx="2"/>
          </p:cNvCxnSpPr>
          <p:nvPr/>
        </p:nvCxnSpPr>
        <p:spPr>
          <a:xfrm>
            <a:off x="2062022" y="2633484"/>
            <a:ext cx="1298501" cy="279751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463CBBCC-EF2B-4F82-B325-5579FBD38061}"/>
              </a:ext>
            </a:extLst>
          </p:cNvPr>
          <p:cNvCxnSpPr>
            <a:cxnSpLocks/>
            <a:stCxn id="9" idx="3"/>
            <a:endCxn id="32" idx="2"/>
          </p:cNvCxnSpPr>
          <p:nvPr/>
        </p:nvCxnSpPr>
        <p:spPr>
          <a:xfrm>
            <a:off x="2062022" y="5610633"/>
            <a:ext cx="1298501" cy="55350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4DDE0B0-3A89-4247-A56C-23D1F9E4054B}"/>
              </a:ext>
            </a:extLst>
          </p:cNvPr>
          <p:cNvCxnSpPr>
            <a:cxnSpLocks/>
          </p:cNvCxnSpPr>
          <p:nvPr/>
        </p:nvCxnSpPr>
        <p:spPr>
          <a:xfrm>
            <a:off x="8458212" y="5780321"/>
            <a:ext cx="3646707" cy="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68E56A4-FE48-42F2-B101-3369EEE2F676}"/>
              </a:ext>
            </a:extLst>
          </p:cNvPr>
          <p:cNvCxnSpPr>
            <a:cxnSpLocks/>
          </p:cNvCxnSpPr>
          <p:nvPr/>
        </p:nvCxnSpPr>
        <p:spPr>
          <a:xfrm>
            <a:off x="3418591" y="1830989"/>
            <a:ext cx="424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EC00E452-8442-48A7-89BD-1C9EE402F519}"/>
              </a:ext>
            </a:extLst>
          </p:cNvPr>
          <p:cNvSpPr txBox="1"/>
          <p:nvPr/>
        </p:nvSpPr>
        <p:spPr>
          <a:xfrm>
            <a:off x="3397066" y="1542364"/>
            <a:ext cx="3834244" cy="323129"/>
          </a:xfrm>
          <a:prstGeom prst="rect">
            <a:avLst/>
          </a:prstGeom>
          <a:noFill/>
        </p:spPr>
        <p:txBody>
          <a:bodyPr wrap="square" lIns="91401" tIns="45702" rIns="91401" bIns="45702" rtlCol="0">
            <a:spAutoFit/>
          </a:bodyPr>
          <a:lstStyle/>
          <a:p>
            <a:r>
              <a:rPr lang="en-GB" sz="1500" b="1" dirty="0">
                <a:latin typeface="Arial" panose="020B0604020202020204" pitchFamily="34" charset="0"/>
                <a:cs typeface="Arial" panose="020B0604020202020204" pitchFamily="34" charset="0"/>
              </a:rPr>
              <a:t>Domain</a:t>
            </a:r>
            <a:endParaRPr lang="x-none" sz="1500" b="1" dirty="0">
              <a:latin typeface="Arial" panose="020B0604020202020204" pitchFamily="34" charset="0"/>
              <a:cs typeface="Arial" panose="020B0604020202020204" pitchFamily="34" charset="0"/>
            </a:endParaRPr>
          </a:p>
        </p:txBody>
      </p:sp>
      <p:cxnSp>
        <p:nvCxnSpPr>
          <p:cNvPr id="84" name="Straight Connector 83">
            <a:extLst>
              <a:ext uri="{FF2B5EF4-FFF2-40B4-BE49-F238E27FC236}">
                <a16:creationId xmlns:a16="http://schemas.microsoft.com/office/drawing/2014/main" id="{F55EB8B4-1EA7-4E80-A8E8-220BA2FE2C9C}"/>
              </a:ext>
            </a:extLst>
          </p:cNvPr>
          <p:cNvCxnSpPr>
            <a:cxnSpLocks/>
          </p:cNvCxnSpPr>
          <p:nvPr/>
        </p:nvCxnSpPr>
        <p:spPr>
          <a:xfrm>
            <a:off x="8458209" y="1830989"/>
            <a:ext cx="364712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69BD0E12-E43F-4F05-A3B1-8F43EE59B327}"/>
              </a:ext>
            </a:extLst>
          </p:cNvPr>
          <p:cNvSpPr txBox="1"/>
          <p:nvPr/>
        </p:nvSpPr>
        <p:spPr>
          <a:xfrm>
            <a:off x="8458210" y="1515302"/>
            <a:ext cx="3965587" cy="323129"/>
          </a:xfrm>
          <a:prstGeom prst="rect">
            <a:avLst/>
          </a:prstGeom>
          <a:noFill/>
        </p:spPr>
        <p:txBody>
          <a:bodyPr wrap="square" lIns="91401" tIns="45702" rIns="91401" bIns="45702" rtlCol="0">
            <a:spAutoFit/>
          </a:bodyPr>
          <a:lstStyle/>
          <a:p>
            <a:r>
              <a:rPr lang="en-GB" sz="1500" b="1" dirty="0">
                <a:latin typeface="Arial" panose="020B0604020202020204" pitchFamily="34" charset="0"/>
                <a:cs typeface="Arial" panose="020B0604020202020204" pitchFamily="34" charset="0"/>
              </a:rPr>
              <a:t>Innovative strategies</a:t>
            </a:r>
            <a:endParaRPr lang="x-none" sz="1500" b="1" dirty="0">
              <a:latin typeface="Arial" panose="020B0604020202020204" pitchFamily="34" charset="0"/>
              <a:cs typeface="Arial" panose="020B0604020202020204" pitchFamily="34" charset="0"/>
            </a:endParaRPr>
          </a:p>
        </p:txBody>
      </p:sp>
      <p:cxnSp>
        <p:nvCxnSpPr>
          <p:cNvPr id="93" name="Connector: Elbow 92">
            <a:extLst>
              <a:ext uri="{FF2B5EF4-FFF2-40B4-BE49-F238E27FC236}">
                <a16:creationId xmlns:a16="http://schemas.microsoft.com/office/drawing/2014/main" id="{34DDCC12-316E-470C-A21B-F8937CD2037F}"/>
              </a:ext>
            </a:extLst>
          </p:cNvPr>
          <p:cNvCxnSpPr>
            <a:stCxn id="2" idx="3"/>
            <a:endCxn id="26" idx="2"/>
          </p:cNvCxnSpPr>
          <p:nvPr/>
        </p:nvCxnSpPr>
        <p:spPr>
          <a:xfrm flipV="1">
            <a:off x="2062022" y="2135221"/>
            <a:ext cx="1335059" cy="49826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50447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25602" y="1616"/>
          <a:ext cx="1586" cy="1587"/>
        </p:xfrm>
        <a:graphic>
          <a:graphicData uri="http://schemas.openxmlformats.org/presentationml/2006/ole">
            <mc:AlternateContent xmlns:mc="http://schemas.openxmlformats.org/markup-compatibility/2006">
              <mc:Choice xmlns:v="urn:schemas-microsoft-com:vml" Requires="v">
                <p:oleObj spid="_x0000_s63592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25602" y="1616"/>
                        <a:ext cx="158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982A428-D3A6-4E2C-9B20-81BED61CE7F4}"/>
              </a:ext>
            </a:extLst>
          </p:cNvPr>
          <p:cNvSpPr/>
          <p:nvPr>
            <p:custDataLst>
              <p:tags r:id="rId3"/>
            </p:custDataLst>
          </p:nvPr>
        </p:nvSpPr>
        <p:spPr bwMode="auto">
          <a:xfrm>
            <a:off x="1534134" y="-59111"/>
            <a:ext cx="138498" cy="276999"/>
          </a:xfrm>
          <a:prstGeom prst="rect">
            <a:avLst/>
          </a:prstGeom>
          <a:noFill/>
          <a:ln w="9525">
            <a:noFill/>
            <a:miter lim="800000"/>
            <a:headEnd/>
            <a:tailEnd/>
          </a:ln>
          <a:effectLst/>
        </p:spPr>
        <p:txBody>
          <a:bodyPr vert="horz" wrap="none" lIns="0" tIns="0" rIns="0" bIns="0" numCol="1" spcCol="0" rtlCol="0" anchor="ctr" anchorCtr="0">
            <a:noAutofit/>
          </a:bodyPr>
          <a:lstStyle/>
          <a:p>
            <a:pPr algn="ctr" defTabSz="786234">
              <a:lnSpc>
                <a:spcPct val="90000"/>
              </a:lnSpc>
              <a:spcBef>
                <a:spcPct val="0"/>
              </a:spcBef>
              <a:spcAft>
                <a:spcPct val="0"/>
              </a:spcAft>
              <a:buClr>
                <a:srgbClr val="204024"/>
              </a:buClr>
              <a:buSzPct val="125000"/>
              <a:defRPr/>
            </a:pPr>
            <a:endParaRPr lang="en-US" b="1"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094856" y="129455"/>
            <a:ext cx="10053309" cy="881643"/>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05" tIns="45652" rIns="91305" bIns="45652" rtlCol="0" anchor="ctr">
            <a:spAutoFit/>
          </a:bodyPr>
          <a:lstStyle/>
          <a:p>
            <a:r>
              <a:rPr lang="en-US" sz="2400" b="1" baseline="30000" dirty="0">
                <a:solidFill>
                  <a:schemeClr val="accent6">
                    <a:lumMod val="50000"/>
                  </a:schemeClr>
                </a:solidFill>
                <a:latin typeface="Arial" panose="020B0604020202020204" pitchFamily="34" charset="0"/>
                <a:cs typeface="Arial" panose="020B0604020202020204" pitchFamily="34" charset="0"/>
              </a:rPr>
              <a:t>1</a:t>
            </a:r>
            <a:r>
              <a:rPr lang="en-US" sz="1900" b="1" dirty="0">
                <a:solidFill>
                  <a:schemeClr val="accent6">
                    <a:lumMod val="50000"/>
                  </a:schemeClr>
                </a:solidFill>
                <a:latin typeface="Arial" panose="020B0604020202020204" pitchFamily="34" charset="0"/>
                <a:cs typeface="Arial" panose="020B0604020202020204" pitchFamily="34" charset="0"/>
              </a:rPr>
              <a:t>The Honourable Minister of Health flagged-off the Technical Support Program on Tuesday, the 17</a:t>
            </a:r>
            <a:r>
              <a:rPr lang="en-US" sz="1900" b="1" baseline="30000" dirty="0">
                <a:solidFill>
                  <a:schemeClr val="accent6">
                    <a:lumMod val="50000"/>
                  </a:schemeClr>
                </a:solidFill>
                <a:latin typeface="Arial" panose="020B0604020202020204" pitchFamily="34" charset="0"/>
                <a:cs typeface="Arial" panose="020B0604020202020204" pitchFamily="34" charset="0"/>
              </a:rPr>
              <a:t>th</a:t>
            </a:r>
            <a:r>
              <a:rPr lang="en-US" sz="1900" b="1" dirty="0">
                <a:solidFill>
                  <a:schemeClr val="accent6">
                    <a:lumMod val="50000"/>
                  </a:schemeClr>
                </a:solidFill>
                <a:latin typeface="Arial" panose="020B0604020202020204" pitchFamily="34" charset="0"/>
                <a:cs typeface="Arial" panose="020B0604020202020204" pitchFamily="34" charset="0"/>
              </a:rPr>
              <a:t> of July to provide direct and specialized technical support to SPHCDAs</a:t>
            </a:r>
          </a:p>
        </p:txBody>
      </p:sp>
      <p:sp>
        <p:nvSpPr>
          <p:cNvPr id="18" name="McK 5. Source"/>
          <p:cNvSpPr>
            <a:spLocks noChangeArrowheads="1"/>
          </p:cNvSpPr>
          <p:nvPr/>
        </p:nvSpPr>
        <p:spPr bwMode="auto">
          <a:xfrm>
            <a:off x="1828652" y="6567060"/>
            <a:ext cx="700215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19542" indent="-619542" defTabSz="909949" fontAlgn="base">
              <a:spcBef>
                <a:spcPct val="0"/>
              </a:spcBef>
              <a:spcAft>
                <a:spcPct val="0"/>
              </a:spcAft>
              <a:tabLst>
                <a:tab pos="622764" algn="l"/>
              </a:tabLst>
              <a:defRPr/>
            </a:pPr>
            <a:r>
              <a:rPr lang="en-US" sz="1000" dirty="0">
                <a:solidFill>
                  <a:srgbClr val="000000"/>
                </a:solidFill>
                <a:latin typeface="Arial"/>
              </a:rPr>
              <a:t>SOURCE: Team analysis</a:t>
            </a:r>
          </a:p>
        </p:txBody>
      </p:sp>
      <p:grpSp>
        <p:nvGrpSpPr>
          <p:cNvPr id="8" name="Group 7">
            <a:extLst>
              <a:ext uri="{FF2B5EF4-FFF2-40B4-BE49-F238E27FC236}">
                <a16:creationId xmlns:a16="http://schemas.microsoft.com/office/drawing/2014/main" id="{98ABC0CB-B03B-4D97-9858-AD4E87FDE9FB}"/>
              </a:ext>
            </a:extLst>
          </p:cNvPr>
          <p:cNvGrpSpPr/>
          <p:nvPr/>
        </p:nvGrpSpPr>
        <p:grpSpPr>
          <a:xfrm>
            <a:off x="269971" y="1260892"/>
            <a:ext cx="4714260" cy="3353513"/>
            <a:chOff x="-16212" y="1900760"/>
            <a:chExt cx="4714260" cy="3353513"/>
          </a:xfrm>
        </p:grpSpPr>
        <p:sp>
          <p:nvSpPr>
            <p:cNvPr id="28" name="Rectangle 27">
              <a:extLst>
                <a:ext uri="{FF2B5EF4-FFF2-40B4-BE49-F238E27FC236}">
                  <a16:creationId xmlns:a16="http://schemas.microsoft.com/office/drawing/2014/main" id="{F31EDC8F-4886-4911-BF24-DAD5EDF99B5A}"/>
                </a:ext>
              </a:extLst>
            </p:cNvPr>
            <p:cNvSpPr/>
            <p:nvPr/>
          </p:nvSpPr>
          <p:spPr bwMode="auto">
            <a:xfrm>
              <a:off x="808130" y="2262188"/>
              <a:ext cx="3889918" cy="1482725"/>
            </a:xfrm>
            <a:prstGeom prst="rect">
              <a:avLst/>
            </a:prstGeom>
            <a:solidFill>
              <a:schemeClr val="bg1">
                <a:lumMod val="95000"/>
              </a:schemeClr>
            </a:solidFill>
            <a:ln w="9525">
              <a:noFill/>
              <a:miter lim="800000"/>
              <a:headEnd/>
              <a:tailEnd/>
            </a:ln>
            <a:effectLst/>
          </p:spPr>
          <p:txBody>
            <a:bodyPr wrap="square" lIns="360000" tIns="0" rIns="0" bIns="0" rtlCol="0" anchor="ctr">
              <a:noAutofit/>
            </a:bodyPr>
            <a:lstStyle/>
            <a:p>
              <a:pPr defTabSz="786234">
                <a:buClr>
                  <a:srgbClr val="204024"/>
                </a:buClr>
                <a:buSzPct val="125000"/>
              </a:pPr>
              <a:r>
                <a:rPr lang="en-GB" sz="1600" dirty="0">
                  <a:solidFill>
                    <a:srgbClr val="000000"/>
                  </a:solidFill>
                  <a:latin typeface="Arial"/>
                </a:rPr>
                <a:t>Structured system for NPHCDA to deliver effective and specialized technical assistance  to State Primary Health Care Boards</a:t>
              </a:r>
              <a:endParaRPr lang="en-US" sz="1600" dirty="0">
                <a:solidFill>
                  <a:srgbClr val="000000"/>
                </a:solidFill>
                <a:latin typeface="Arial"/>
              </a:endParaRPr>
            </a:p>
          </p:txBody>
        </p:sp>
        <p:sp>
          <p:nvSpPr>
            <p:cNvPr id="7" name="Rectangle 6">
              <a:extLst>
                <a:ext uri="{FF2B5EF4-FFF2-40B4-BE49-F238E27FC236}">
                  <a16:creationId xmlns:a16="http://schemas.microsoft.com/office/drawing/2014/main" id="{8020BCBB-9588-430A-B98E-A258A535D40E}"/>
                </a:ext>
              </a:extLst>
            </p:cNvPr>
            <p:cNvSpPr/>
            <p:nvPr/>
          </p:nvSpPr>
          <p:spPr bwMode="auto">
            <a:xfrm>
              <a:off x="-16212" y="2261927"/>
              <a:ext cx="1046982" cy="1463024"/>
            </a:xfrm>
            <a:custGeom>
              <a:avLst/>
              <a:gdLst>
                <a:gd name="connsiteX0" fmla="*/ 0 w 1021282"/>
                <a:gd name="connsiteY0" fmla="*/ 0 h 984358"/>
                <a:gd name="connsiteX1" fmla="*/ 1021282 w 1021282"/>
                <a:gd name="connsiteY1" fmla="*/ 0 h 984358"/>
                <a:gd name="connsiteX2" fmla="*/ 1021282 w 1021282"/>
                <a:gd name="connsiteY2" fmla="*/ 984358 h 984358"/>
                <a:gd name="connsiteX3" fmla="*/ 0 w 1021282"/>
                <a:gd name="connsiteY3" fmla="*/ 984358 h 984358"/>
                <a:gd name="connsiteX4" fmla="*/ 0 w 1021282"/>
                <a:gd name="connsiteY4" fmla="*/ 0 h 984358"/>
                <a:gd name="connsiteX0" fmla="*/ 0 w 1021282"/>
                <a:gd name="connsiteY0" fmla="*/ 15102 h 999460"/>
                <a:gd name="connsiteX1" fmla="*/ 271557 w 1021282"/>
                <a:gd name="connsiteY1" fmla="*/ 0 h 999460"/>
                <a:gd name="connsiteX2" fmla="*/ 1021282 w 1021282"/>
                <a:gd name="connsiteY2" fmla="*/ 15102 h 999460"/>
                <a:gd name="connsiteX3" fmla="*/ 1021282 w 1021282"/>
                <a:gd name="connsiteY3" fmla="*/ 999460 h 999460"/>
                <a:gd name="connsiteX4" fmla="*/ 0 w 1021282"/>
                <a:gd name="connsiteY4" fmla="*/ 999460 h 999460"/>
                <a:gd name="connsiteX5" fmla="*/ 0 w 1021282"/>
                <a:gd name="connsiteY5"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21282 w 1021282"/>
                <a:gd name="connsiteY4" fmla="*/ 999460 h 999460"/>
                <a:gd name="connsiteX5" fmla="*/ 0 w 1021282"/>
                <a:gd name="connsiteY5" fmla="*/ 999460 h 999460"/>
                <a:gd name="connsiteX6" fmla="*/ 0 w 1021282"/>
                <a:gd name="connsiteY6"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21282 w 1021282"/>
                <a:gd name="connsiteY4" fmla="*/ 999460 h 999460"/>
                <a:gd name="connsiteX5" fmla="*/ 260540 w 1021282"/>
                <a:gd name="connsiteY5" fmla="*/ 991518 h 999460"/>
                <a:gd name="connsiteX6" fmla="*/ 0 w 1021282"/>
                <a:gd name="connsiteY6" fmla="*/ 999460 h 999460"/>
                <a:gd name="connsiteX7" fmla="*/ 0 w 1021282"/>
                <a:gd name="connsiteY7"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21282 w 1021282"/>
                <a:gd name="connsiteY4" fmla="*/ 999460 h 999460"/>
                <a:gd name="connsiteX5" fmla="*/ 712232 w 1021282"/>
                <a:gd name="connsiteY5" fmla="*/ 991518 h 999460"/>
                <a:gd name="connsiteX6" fmla="*/ 260540 w 1021282"/>
                <a:gd name="connsiteY6" fmla="*/ 991518 h 999460"/>
                <a:gd name="connsiteX7" fmla="*/ 0 w 1021282"/>
                <a:gd name="connsiteY7" fmla="*/ 999460 h 999460"/>
                <a:gd name="connsiteX8" fmla="*/ 0 w 1021282"/>
                <a:gd name="connsiteY8"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09687 w 1021282"/>
                <a:gd name="connsiteY4" fmla="*/ 275421 h 999460"/>
                <a:gd name="connsiteX5" fmla="*/ 1021282 w 1021282"/>
                <a:gd name="connsiteY5" fmla="*/ 999460 h 999460"/>
                <a:gd name="connsiteX6" fmla="*/ 712232 w 1021282"/>
                <a:gd name="connsiteY6" fmla="*/ 991518 h 999460"/>
                <a:gd name="connsiteX7" fmla="*/ 260540 w 1021282"/>
                <a:gd name="connsiteY7" fmla="*/ 991518 h 999460"/>
                <a:gd name="connsiteX8" fmla="*/ 0 w 1021282"/>
                <a:gd name="connsiteY8" fmla="*/ 999460 h 999460"/>
                <a:gd name="connsiteX9" fmla="*/ 0 w 1021282"/>
                <a:gd name="connsiteY9"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09687 w 1021282"/>
                <a:gd name="connsiteY4" fmla="*/ 275421 h 999460"/>
                <a:gd name="connsiteX5" fmla="*/ 1009687 w 1021282"/>
                <a:gd name="connsiteY5" fmla="*/ 749147 h 999460"/>
                <a:gd name="connsiteX6" fmla="*/ 1021282 w 1021282"/>
                <a:gd name="connsiteY6" fmla="*/ 999460 h 999460"/>
                <a:gd name="connsiteX7" fmla="*/ 712232 w 1021282"/>
                <a:gd name="connsiteY7" fmla="*/ 991518 h 999460"/>
                <a:gd name="connsiteX8" fmla="*/ 260540 w 1021282"/>
                <a:gd name="connsiteY8" fmla="*/ 991518 h 999460"/>
                <a:gd name="connsiteX9" fmla="*/ 0 w 1021282"/>
                <a:gd name="connsiteY9" fmla="*/ 999460 h 999460"/>
                <a:gd name="connsiteX10" fmla="*/ 0 w 1021282"/>
                <a:gd name="connsiteY10" fmla="*/ 15102 h 999460"/>
                <a:gd name="connsiteX0" fmla="*/ 14881 w 1036163"/>
                <a:gd name="connsiteY0" fmla="*/ 15102 h 999460"/>
                <a:gd name="connsiteX1" fmla="*/ 286438 w 1036163"/>
                <a:gd name="connsiteY1" fmla="*/ 0 h 999460"/>
                <a:gd name="connsiteX2" fmla="*/ 738130 w 1036163"/>
                <a:gd name="connsiteY2" fmla="*/ 0 h 999460"/>
                <a:gd name="connsiteX3" fmla="*/ 1036163 w 1036163"/>
                <a:gd name="connsiteY3" fmla="*/ 15102 h 999460"/>
                <a:gd name="connsiteX4" fmla="*/ 1024568 w 1036163"/>
                <a:gd name="connsiteY4" fmla="*/ 275421 h 999460"/>
                <a:gd name="connsiteX5" fmla="*/ 1024568 w 1036163"/>
                <a:gd name="connsiteY5" fmla="*/ 749147 h 999460"/>
                <a:gd name="connsiteX6" fmla="*/ 1036163 w 1036163"/>
                <a:gd name="connsiteY6" fmla="*/ 999460 h 999460"/>
                <a:gd name="connsiteX7" fmla="*/ 727113 w 1036163"/>
                <a:gd name="connsiteY7" fmla="*/ 991518 h 999460"/>
                <a:gd name="connsiteX8" fmla="*/ 275421 w 1036163"/>
                <a:gd name="connsiteY8" fmla="*/ 991518 h 999460"/>
                <a:gd name="connsiteX9" fmla="*/ 14881 w 1036163"/>
                <a:gd name="connsiteY9" fmla="*/ 999460 h 999460"/>
                <a:gd name="connsiteX10" fmla="*/ 0 w 1036163"/>
                <a:gd name="connsiteY10" fmla="*/ 242371 h 999460"/>
                <a:gd name="connsiteX11" fmla="*/ 14881 w 1036163"/>
                <a:gd name="connsiteY11" fmla="*/ 15102 h 999460"/>
                <a:gd name="connsiteX0" fmla="*/ 14881 w 1036163"/>
                <a:gd name="connsiteY0" fmla="*/ 15102 h 999460"/>
                <a:gd name="connsiteX1" fmla="*/ 286438 w 1036163"/>
                <a:gd name="connsiteY1" fmla="*/ 0 h 999460"/>
                <a:gd name="connsiteX2" fmla="*/ 738130 w 1036163"/>
                <a:gd name="connsiteY2" fmla="*/ 0 h 999460"/>
                <a:gd name="connsiteX3" fmla="*/ 1036163 w 1036163"/>
                <a:gd name="connsiteY3" fmla="*/ 15102 h 999460"/>
                <a:gd name="connsiteX4" fmla="*/ 1024568 w 1036163"/>
                <a:gd name="connsiteY4" fmla="*/ 275421 h 999460"/>
                <a:gd name="connsiteX5" fmla="*/ 1024568 w 1036163"/>
                <a:gd name="connsiteY5" fmla="*/ 749147 h 999460"/>
                <a:gd name="connsiteX6" fmla="*/ 1036163 w 1036163"/>
                <a:gd name="connsiteY6" fmla="*/ 999460 h 999460"/>
                <a:gd name="connsiteX7" fmla="*/ 727113 w 1036163"/>
                <a:gd name="connsiteY7" fmla="*/ 991518 h 999460"/>
                <a:gd name="connsiteX8" fmla="*/ 275421 w 1036163"/>
                <a:gd name="connsiteY8" fmla="*/ 991518 h 999460"/>
                <a:gd name="connsiteX9" fmla="*/ 14881 w 1036163"/>
                <a:gd name="connsiteY9" fmla="*/ 999460 h 999460"/>
                <a:gd name="connsiteX10" fmla="*/ 1 w 1036163"/>
                <a:gd name="connsiteY10" fmla="*/ 749147 h 999460"/>
                <a:gd name="connsiteX11" fmla="*/ 0 w 1036163"/>
                <a:gd name="connsiteY11" fmla="*/ 242371 h 999460"/>
                <a:gd name="connsiteX12" fmla="*/ 14881 w 1036163"/>
                <a:gd name="connsiteY12" fmla="*/ 15102 h 999460"/>
                <a:gd name="connsiteX0" fmla="*/ 14881 w 1036163"/>
                <a:gd name="connsiteY0" fmla="*/ 15102 h 999460"/>
                <a:gd name="connsiteX1" fmla="*/ 286438 w 1036163"/>
                <a:gd name="connsiteY1" fmla="*/ 0 h 999460"/>
                <a:gd name="connsiteX2" fmla="*/ 738130 w 1036163"/>
                <a:gd name="connsiteY2" fmla="*/ 0 h 999460"/>
                <a:gd name="connsiteX3" fmla="*/ 1024568 w 1036163"/>
                <a:gd name="connsiteY3" fmla="*/ 275421 h 999460"/>
                <a:gd name="connsiteX4" fmla="*/ 1024568 w 1036163"/>
                <a:gd name="connsiteY4" fmla="*/ 749147 h 999460"/>
                <a:gd name="connsiteX5" fmla="*/ 1036163 w 1036163"/>
                <a:gd name="connsiteY5" fmla="*/ 999460 h 999460"/>
                <a:gd name="connsiteX6" fmla="*/ 727113 w 1036163"/>
                <a:gd name="connsiteY6" fmla="*/ 991518 h 999460"/>
                <a:gd name="connsiteX7" fmla="*/ 275421 w 1036163"/>
                <a:gd name="connsiteY7" fmla="*/ 991518 h 999460"/>
                <a:gd name="connsiteX8" fmla="*/ 14881 w 1036163"/>
                <a:gd name="connsiteY8" fmla="*/ 999460 h 999460"/>
                <a:gd name="connsiteX9" fmla="*/ 1 w 1036163"/>
                <a:gd name="connsiteY9" fmla="*/ 749147 h 999460"/>
                <a:gd name="connsiteX10" fmla="*/ 0 w 1036163"/>
                <a:gd name="connsiteY10" fmla="*/ 242371 h 999460"/>
                <a:gd name="connsiteX11" fmla="*/ 14881 w 1036163"/>
                <a:gd name="connsiteY11" fmla="*/ 15102 h 999460"/>
                <a:gd name="connsiteX0" fmla="*/ 0 w 1036163"/>
                <a:gd name="connsiteY0" fmla="*/ 242371 h 999460"/>
                <a:gd name="connsiteX1" fmla="*/ 286438 w 1036163"/>
                <a:gd name="connsiteY1" fmla="*/ 0 h 999460"/>
                <a:gd name="connsiteX2" fmla="*/ 738130 w 1036163"/>
                <a:gd name="connsiteY2" fmla="*/ 0 h 999460"/>
                <a:gd name="connsiteX3" fmla="*/ 1024568 w 1036163"/>
                <a:gd name="connsiteY3" fmla="*/ 275421 h 999460"/>
                <a:gd name="connsiteX4" fmla="*/ 1024568 w 1036163"/>
                <a:gd name="connsiteY4" fmla="*/ 749147 h 999460"/>
                <a:gd name="connsiteX5" fmla="*/ 1036163 w 1036163"/>
                <a:gd name="connsiteY5" fmla="*/ 999460 h 999460"/>
                <a:gd name="connsiteX6" fmla="*/ 727113 w 1036163"/>
                <a:gd name="connsiteY6" fmla="*/ 991518 h 999460"/>
                <a:gd name="connsiteX7" fmla="*/ 275421 w 1036163"/>
                <a:gd name="connsiteY7" fmla="*/ 991518 h 999460"/>
                <a:gd name="connsiteX8" fmla="*/ 14881 w 1036163"/>
                <a:gd name="connsiteY8" fmla="*/ 999460 h 999460"/>
                <a:gd name="connsiteX9" fmla="*/ 1 w 1036163"/>
                <a:gd name="connsiteY9" fmla="*/ 749147 h 999460"/>
                <a:gd name="connsiteX10" fmla="*/ 0 w 1036163"/>
                <a:gd name="connsiteY10" fmla="*/ 242371 h 999460"/>
                <a:gd name="connsiteX0" fmla="*/ 0 w 1024568"/>
                <a:gd name="connsiteY0" fmla="*/ 242371 h 999460"/>
                <a:gd name="connsiteX1" fmla="*/ 286438 w 1024568"/>
                <a:gd name="connsiteY1" fmla="*/ 0 h 999460"/>
                <a:gd name="connsiteX2" fmla="*/ 738130 w 1024568"/>
                <a:gd name="connsiteY2" fmla="*/ 0 h 999460"/>
                <a:gd name="connsiteX3" fmla="*/ 1024568 w 1024568"/>
                <a:gd name="connsiteY3" fmla="*/ 275421 h 999460"/>
                <a:gd name="connsiteX4" fmla="*/ 1024568 w 1024568"/>
                <a:gd name="connsiteY4" fmla="*/ 749147 h 999460"/>
                <a:gd name="connsiteX5" fmla="*/ 727113 w 1024568"/>
                <a:gd name="connsiteY5" fmla="*/ 991518 h 999460"/>
                <a:gd name="connsiteX6" fmla="*/ 275421 w 1024568"/>
                <a:gd name="connsiteY6" fmla="*/ 991518 h 999460"/>
                <a:gd name="connsiteX7" fmla="*/ 14881 w 1024568"/>
                <a:gd name="connsiteY7" fmla="*/ 999460 h 999460"/>
                <a:gd name="connsiteX8" fmla="*/ 1 w 1024568"/>
                <a:gd name="connsiteY8" fmla="*/ 749147 h 999460"/>
                <a:gd name="connsiteX9" fmla="*/ 0 w 1024568"/>
                <a:gd name="connsiteY9" fmla="*/ 242371 h 999460"/>
                <a:gd name="connsiteX0" fmla="*/ 0 w 1024568"/>
                <a:gd name="connsiteY0" fmla="*/ 242371 h 991518"/>
                <a:gd name="connsiteX1" fmla="*/ 286438 w 1024568"/>
                <a:gd name="connsiteY1" fmla="*/ 0 h 991518"/>
                <a:gd name="connsiteX2" fmla="*/ 738130 w 1024568"/>
                <a:gd name="connsiteY2" fmla="*/ 0 h 991518"/>
                <a:gd name="connsiteX3" fmla="*/ 1024568 w 1024568"/>
                <a:gd name="connsiteY3" fmla="*/ 275421 h 991518"/>
                <a:gd name="connsiteX4" fmla="*/ 1024568 w 1024568"/>
                <a:gd name="connsiteY4" fmla="*/ 749147 h 991518"/>
                <a:gd name="connsiteX5" fmla="*/ 727113 w 1024568"/>
                <a:gd name="connsiteY5" fmla="*/ 991518 h 991518"/>
                <a:gd name="connsiteX6" fmla="*/ 275421 w 1024568"/>
                <a:gd name="connsiteY6" fmla="*/ 991518 h 991518"/>
                <a:gd name="connsiteX7" fmla="*/ 1 w 1024568"/>
                <a:gd name="connsiteY7" fmla="*/ 749147 h 991518"/>
                <a:gd name="connsiteX8" fmla="*/ 0 w 1024568"/>
                <a:gd name="connsiteY8" fmla="*/ 242371 h 99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568" h="991518">
                  <a:moveTo>
                    <a:pt x="0" y="242371"/>
                  </a:moveTo>
                  <a:lnTo>
                    <a:pt x="286438" y="0"/>
                  </a:lnTo>
                  <a:lnTo>
                    <a:pt x="738130" y="0"/>
                  </a:lnTo>
                  <a:lnTo>
                    <a:pt x="1024568" y="275421"/>
                  </a:lnTo>
                  <a:lnTo>
                    <a:pt x="1024568" y="749147"/>
                  </a:lnTo>
                  <a:lnTo>
                    <a:pt x="727113" y="991518"/>
                  </a:lnTo>
                  <a:lnTo>
                    <a:pt x="275421" y="991518"/>
                  </a:lnTo>
                  <a:lnTo>
                    <a:pt x="1" y="749147"/>
                  </a:lnTo>
                  <a:cubicBezTo>
                    <a:pt x="1" y="580222"/>
                    <a:pt x="0" y="411296"/>
                    <a:pt x="0" y="242371"/>
                  </a:cubicBezTo>
                  <a:close/>
                </a:path>
              </a:pathLst>
            </a:custGeom>
            <a:solidFill>
              <a:srgbClr val="008064"/>
            </a:solidFill>
            <a:ln w="44450">
              <a:solidFill>
                <a:schemeClr val="bg1"/>
              </a:solidFill>
              <a:miter lim="800000"/>
              <a:headEnd/>
              <a:tailEnd/>
            </a:ln>
            <a:effectLst/>
          </p:spPr>
          <p:txBody>
            <a:bodyPr wrap="square" lIns="0" tIns="0" rIns="0" bIns="0" rtlCol="0" anchor="ctr">
              <a:noAutofit/>
            </a:bodyPr>
            <a:lstStyle/>
            <a:p>
              <a:pPr algn="ctr" defTabSz="786234">
                <a:buClr>
                  <a:srgbClr val="204024"/>
                </a:buClr>
                <a:buSzPct val="125000"/>
                <a:defRPr/>
              </a:pPr>
              <a:r>
                <a:rPr lang="en-US" sz="4900" dirty="0">
                  <a:solidFill>
                    <a:srgbClr val="FFFFFF"/>
                  </a:solidFill>
                  <a:latin typeface="Arial"/>
                </a:rPr>
                <a:t>1</a:t>
              </a:r>
              <a:endParaRPr lang="x-none" sz="4900" dirty="0">
                <a:solidFill>
                  <a:srgbClr val="FFFFFF"/>
                </a:solidFill>
                <a:latin typeface="Arial"/>
              </a:endParaRPr>
            </a:p>
          </p:txBody>
        </p:sp>
        <p:sp>
          <p:nvSpPr>
            <p:cNvPr id="29" name="Rectangle 28">
              <a:extLst>
                <a:ext uri="{FF2B5EF4-FFF2-40B4-BE49-F238E27FC236}">
                  <a16:creationId xmlns:a16="http://schemas.microsoft.com/office/drawing/2014/main" id="{25B07CA5-7C2F-49C2-A0D7-B52616729507}"/>
                </a:ext>
              </a:extLst>
            </p:cNvPr>
            <p:cNvSpPr/>
            <p:nvPr/>
          </p:nvSpPr>
          <p:spPr bwMode="auto">
            <a:xfrm>
              <a:off x="808673" y="3791249"/>
              <a:ext cx="3889375" cy="1463024"/>
            </a:xfrm>
            <a:prstGeom prst="rect">
              <a:avLst/>
            </a:prstGeom>
            <a:solidFill>
              <a:schemeClr val="bg1">
                <a:lumMod val="95000"/>
              </a:schemeClr>
            </a:solidFill>
            <a:ln w="9525">
              <a:noFill/>
              <a:miter lim="800000"/>
              <a:headEnd/>
              <a:tailEnd/>
            </a:ln>
            <a:effectLst/>
          </p:spPr>
          <p:txBody>
            <a:bodyPr wrap="square" lIns="360000" tIns="0" rIns="0" bIns="0" rtlCol="0" anchor="ctr">
              <a:noAutofit/>
            </a:bodyPr>
            <a:lstStyle/>
            <a:p>
              <a:pPr defTabSz="786234">
                <a:buClr>
                  <a:srgbClr val="204024"/>
                </a:buClr>
                <a:buSzPct val="125000"/>
                <a:defRPr/>
              </a:pPr>
              <a:r>
                <a:rPr lang="en-GB" sz="1600" dirty="0">
                  <a:solidFill>
                    <a:srgbClr val="000000"/>
                  </a:solidFill>
                  <a:latin typeface="Arial"/>
                </a:rPr>
                <a:t>Public Health I</a:t>
              </a:r>
              <a:r>
                <a:rPr lang="en-GB" sz="1600" dirty="0" err="1">
                  <a:solidFill>
                    <a:srgbClr val="000000"/>
                  </a:solidFill>
                  <a:latin typeface="Arial"/>
                </a:rPr>
                <a:t>nstitute</a:t>
              </a:r>
              <a:r>
                <a:rPr lang="en-GB" sz="1600" dirty="0">
                  <a:solidFill>
                    <a:srgbClr val="000000"/>
                  </a:solidFill>
                  <a:latin typeface="Arial"/>
                </a:rPr>
                <a:t> starting with a Leadership Development Academy (LDA) to develop in-house capacity to lead and coordinate TA delivery to states</a:t>
              </a:r>
            </a:p>
          </p:txBody>
        </p:sp>
        <p:sp>
          <p:nvSpPr>
            <p:cNvPr id="27" name="Rectangle 6">
              <a:extLst>
                <a:ext uri="{FF2B5EF4-FFF2-40B4-BE49-F238E27FC236}">
                  <a16:creationId xmlns:a16="http://schemas.microsoft.com/office/drawing/2014/main" id="{C63EE669-B17C-419E-B660-534A9B9C7A31}"/>
                </a:ext>
              </a:extLst>
            </p:cNvPr>
            <p:cNvSpPr/>
            <p:nvPr/>
          </p:nvSpPr>
          <p:spPr bwMode="auto">
            <a:xfrm>
              <a:off x="0" y="3771407"/>
              <a:ext cx="1046982" cy="1461600"/>
            </a:xfrm>
            <a:custGeom>
              <a:avLst/>
              <a:gdLst>
                <a:gd name="connsiteX0" fmla="*/ 0 w 1021282"/>
                <a:gd name="connsiteY0" fmla="*/ 0 h 984358"/>
                <a:gd name="connsiteX1" fmla="*/ 1021282 w 1021282"/>
                <a:gd name="connsiteY1" fmla="*/ 0 h 984358"/>
                <a:gd name="connsiteX2" fmla="*/ 1021282 w 1021282"/>
                <a:gd name="connsiteY2" fmla="*/ 984358 h 984358"/>
                <a:gd name="connsiteX3" fmla="*/ 0 w 1021282"/>
                <a:gd name="connsiteY3" fmla="*/ 984358 h 984358"/>
                <a:gd name="connsiteX4" fmla="*/ 0 w 1021282"/>
                <a:gd name="connsiteY4" fmla="*/ 0 h 984358"/>
                <a:gd name="connsiteX0" fmla="*/ 0 w 1021282"/>
                <a:gd name="connsiteY0" fmla="*/ 15102 h 999460"/>
                <a:gd name="connsiteX1" fmla="*/ 271557 w 1021282"/>
                <a:gd name="connsiteY1" fmla="*/ 0 h 999460"/>
                <a:gd name="connsiteX2" fmla="*/ 1021282 w 1021282"/>
                <a:gd name="connsiteY2" fmla="*/ 15102 h 999460"/>
                <a:gd name="connsiteX3" fmla="*/ 1021282 w 1021282"/>
                <a:gd name="connsiteY3" fmla="*/ 999460 h 999460"/>
                <a:gd name="connsiteX4" fmla="*/ 0 w 1021282"/>
                <a:gd name="connsiteY4" fmla="*/ 999460 h 999460"/>
                <a:gd name="connsiteX5" fmla="*/ 0 w 1021282"/>
                <a:gd name="connsiteY5"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21282 w 1021282"/>
                <a:gd name="connsiteY4" fmla="*/ 999460 h 999460"/>
                <a:gd name="connsiteX5" fmla="*/ 0 w 1021282"/>
                <a:gd name="connsiteY5" fmla="*/ 999460 h 999460"/>
                <a:gd name="connsiteX6" fmla="*/ 0 w 1021282"/>
                <a:gd name="connsiteY6"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21282 w 1021282"/>
                <a:gd name="connsiteY4" fmla="*/ 999460 h 999460"/>
                <a:gd name="connsiteX5" fmla="*/ 260540 w 1021282"/>
                <a:gd name="connsiteY5" fmla="*/ 991518 h 999460"/>
                <a:gd name="connsiteX6" fmla="*/ 0 w 1021282"/>
                <a:gd name="connsiteY6" fmla="*/ 999460 h 999460"/>
                <a:gd name="connsiteX7" fmla="*/ 0 w 1021282"/>
                <a:gd name="connsiteY7"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21282 w 1021282"/>
                <a:gd name="connsiteY4" fmla="*/ 999460 h 999460"/>
                <a:gd name="connsiteX5" fmla="*/ 712232 w 1021282"/>
                <a:gd name="connsiteY5" fmla="*/ 991518 h 999460"/>
                <a:gd name="connsiteX6" fmla="*/ 260540 w 1021282"/>
                <a:gd name="connsiteY6" fmla="*/ 991518 h 999460"/>
                <a:gd name="connsiteX7" fmla="*/ 0 w 1021282"/>
                <a:gd name="connsiteY7" fmla="*/ 999460 h 999460"/>
                <a:gd name="connsiteX8" fmla="*/ 0 w 1021282"/>
                <a:gd name="connsiteY8"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09687 w 1021282"/>
                <a:gd name="connsiteY4" fmla="*/ 275421 h 999460"/>
                <a:gd name="connsiteX5" fmla="*/ 1021282 w 1021282"/>
                <a:gd name="connsiteY5" fmla="*/ 999460 h 999460"/>
                <a:gd name="connsiteX6" fmla="*/ 712232 w 1021282"/>
                <a:gd name="connsiteY6" fmla="*/ 991518 h 999460"/>
                <a:gd name="connsiteX7" fmla="*/ 260540 w 1021282"/>
                <a:gd name="connsiteY7" fmla="*/ 991518 h 999460"/>
                <a:gd name="connsiteX8" fmla="*/ 0 w 1021282"/>
                <a:gd name="connsiteY8" fmla="*/ 999460 h 999460"/>
                <a:gd name="connsiteX9" fmla="*/ 0 w 1021282"/>
                <a:gd name="connsiteY9" fmla="*/ 15102 h 999460"/>
                <a:gd name="connsiteX0" fmla="*/ 0 w 1021282"/>
                <a:gd name="connsiteY0" fmla="*/ 15102 h 999460"/>
                <a:gd name="connsiteX1" fmla="*/ 271557 w 1021282"/>
                <a:gd name="connsiteY1" fmla="*/ 0 h 999460"/>
                <a:gd name="connsiteX2" fmla="*/ 723249 w 1021282"/>
                <a:gd name="connsiteY2" fmla="*/ 0 h 999460"/>
                <a:gd name="connsiteX3" fmla="*/ 1021282 w 1021282"/>
                <a:gd name="connsiteY3" fmla="*/ 15102 h 999460"/>
                <a:gd name="connsiteX4" fmla="*/ 1009687 w 1021282"/>
                <a:gd name="connsiteY4" fmla="*/ 275421 h 999460"/>
                <a:gd name="connsiteX5" fmla="*/ 1009687 w 1021282"/>
                <a:gd name="connsiteY5" fmla="*/ 749147 h 999460"/>
                <a:gd name="connsiteX6" fmla="*/ 1021282 w 1021282"/>
                <a:gd name="connsiteY6" fmla="*/ 999460 h 999460"/>
                <a:gd name="connsiteX7" fmla="*/ 712232 w 1021282"/>
                <a:gd name="connsiteY7" fmla="*/ 991518 h 999460"/>
                <a:gd name="connsiteX8" fmla="*/ 260540 w 1021282"/>
                <a:gd name="connsiteY8" fmla="*/ 991518 h 999460"/>
                <a:gd name="connsiteX9" fmla="*/ 0 w 1021282"/>
                <a:gd name="connsiteY9" fmla="*/ 999460 h 999460"/>
                <a:gd name="connsiteX10" fmla="*/ 0 w 1021282"/>
                <a:gd name="connsiteY10" fmla="*/ 15102 h 999460"/>
                <a:gd name="connsiteX0" fmla="*/ 14881 w 1036163"/>
                <a:gd name="connsiteY0" fmla="*/ 15102 h 999460"/>
                <a:gd name="connsiteX1" fmla="*/ 286438 w 1036163"/>
                <a:gd name="connsiteY1" fmla="*/ 0 h 999460"/>
                <a:gd name="connsiteX2" fmla="*/ 738130 w 1036163"/>
                <a:gd name="connsiteY2" fmla="*/ 0 h 999460"/>
                <a:gd name="connsiteX3" fmla="*/ 1036163 w 1036163"/>
                <a:gd name="connsiteY3" fmla="*/ 15102 h 999460"/>
                <a:gd name="connsiteX4" fmla="*/ 1024568 w 1036163"/>
                <a:gd name="connsiteY4" fmla="*/ 275421 h 999460"/>
                <a:gd name="connsiteX5" fmla="*/ 1024568 w 1036163"/>
                <a:gd name="connsiteY5" fmla="*/ 749147 h 999460"/>
                <a:gd name="connsiteX6" fmla="*/ 1036163 w 1036163"/>
                <a:gd name="connsiteY6" fmla="*/ 999460 h 999460"/>
                <a:gd name="connsiteX7" fmla="*/ 727113 w 1036163"/>
                <a:gd name="connsiteY7" fmla="*/ 991518 h 999460"/>
                <a:gd name="connsiteX8" fmla="*/ 275421 w 1036163"/>
                <a:gd name="connsiteY8" fmla="*/ 991518 h 999460"/>
                <a:gd name="connsiteX9" fmla="*/ 14881 w 1036163"/>
                <a:gd name="connsiteY9" fmla="*/ 999460 h 999460"/>
                <a:gd name="connsiteX10" fmla="*/ 0 w 1036163"/>
                <a:gd name="connsiteY10" fmla="*/ 242371 h 999460"/>
                <a:gd name="connsiteX11" fmla="*/ 14881 w 1036163"/>
                <a:gd name="connsiteY11" fmla="*/ 15102 h 999460"/>
                <a:gd name="connsiteX0" fmla="*/ 14881 w 1036163"/>
                <a:gd name="connsiteY0" fmla="*/ 15102 h 999460"/>
                <a:gd name="connsiteX1" fmla="*/ 286438 w 1036163"/>
                <a:gd name="connsiteY1" fmla="*/ 0 h 999460"/>
                <a:gd name="connsiteX2" fmla="*/ 738130 w 1036163"/>
                <a:gd name="connsiteY2" fmla="*/ 0 h 999460"/>
                <a:gd name="connsiteX3" fmla="*/ 1036163 w 1036163"/>
                <a:gd name="connsiteY3" fmla="*/ 15102 h 999460"/>
                <a:gd name="connsiteX4" fmla="*/ 1024568 w 1036163"/>
                <a:gd name="connsiteY4" fmla="*/ 275421 h 999460"/>
                <a:gd name="connsiteX5" fmla="*/ 1024568 w 1036163"/>
                <a:gd name="connsiteY5" fmla="*/ 749147 h 999460"/>
                <a:gd name="connsiteX6" fmla="*/ 1036163 w 1036163"/>
                <a:gd name="connsiteY6" fmla="*/ 999460 h 999460"/>
                <a:gd name="connsiteX7" fmla="*/ 727113 w 1036163"/>
                <a:gd name="connsiteY7" fmla="*/ 991518 h 999460"/>
                <a:gd name="connsiteX8" fmla="*/ 275421 w 1036163"/>
                <a:gd name="connsiteY8" fmla="*/ 991518 h 999460"/>
                <a:gd name="connsiteX9" fmla="*/ 14881 w 1036163"/>
                <a:gd name="connsiteY9" fmla="*/ 999460 h 999460"/>
                <a:gd name="connsiteX10" fmla="*/ 1 w 1036163"/>
                <a:gd name="connsiteY10" fmla="*/ 749147 h 999460"/>
                <a:gd name="connsiteX11" fmla="*/ 0 w 1036163"/>
                <a:gd name="connsiteY11" fmla="*/ 242371 h 999460"/>
                <a:gd name="connsiteX12" fmla="*/ 14881 w 1036163"/>
                <a:gd name="connsiteY12" fmla="*/ 15102 h 999460"/>
                <a:gd name="connsiteX0" fmla="*/ 14881 w 1036163"/>
                <a:gd name="connsiteY0" fmla="*/ 15102 h 999460"/>
                <a:gd name="connsiteX1" fmla="*/ 286438 w 1036163"/>
                <a:gd name="connsiteY1" fmla="*/ 0 h 999460"/>
                <a:gd name="connsiteX2" fmla="*/ 738130 w 1036163"/>
                <a:gd name="connsiteY2" fmla="*/ 0 h 999460"/>
                <a:gd name="connsiteX3" fmla="*/ 1024568 w 1036163"/>
                <a:gd name="connsiteY3" fmla="*/ 275421 h 999460"/>
                <a:gd name="connsiteX4" fmla="*/ 1024568 w 1036163"/>
                <a:gd name="connsiteY4" fmla="*/ 749147 h 999460"/>
                <a:gd name="connsiteX5" fmla="*/ 1036163 w 1036163"/>
                <a:gd name="connsiteY5" fmla="*/ 999460 h 999460"/>
                <a:gd name="connsiteX6" fmla="*/ 727113 w 1036163"/>
                <a:gd name="connsiteY6" fmla="*/ 991518 h 999460"/>
                <a:gd name="connsiteX7" fmla="*/ 275421 w 1036163"/>
                <a:gd name="connsiteY7" fmla="*/ 991518 h 999460"/>
                <a:gd name="connsiteX8" fmla="*/ 14881 w 1036163"/>
                <a:gd name="connsiteY8" fmla="*/ 999460 h 999460"/>
                <a:gd name="connsiteX9" fmla="*/ 1 w 1036163"/>
                <a:gd name="connsiteY9" fmla="*/ 749147 h 999460"/>
                <a:gd name="connsiteX10" fmla="*/ 0 w 1036163"/>
                <a:gd name="connsiteY10" fmla="*/ 242371 h 999460"/>
                <a:gd name="connsiteX11" fmla="*/ 14881 w 1036163"/>
                <a:gd name="connsiteY11" fmla="*/ 15102 h 999460"/>
                <a:gd name="connsiteX0" fmla="*/ 0 w 1036163"/>
                <a:gd name="connsiteY0" fmla="*/ 242371 h 999460"/>
                <a:gd name="connsiteX1" fmla="*/ 286438 w 1036163"/>
                <a:gd name="connsiteY1" fmla="*/ 0 h 999460"/>
                <a:gd name="connsiteX2" fmla="*/ 738130 w 1036163"/>
                <a:gd name="connsiteY2" fmla="*/ 0 h 999460"/>
                <a:gd name="connsiteX3" fmla="*/ 1024568 w 1036163"/>
                <a:gd name="connsiteY3" fmla="*/ 275421 h 999460"/>
                <a:gd name="connsiteX4" fmla="*/ 1024568 w 1036163"/>
                <a:gd name="connsiteY4" fmla="*/ 749147 h 999460"/>
                <a:gd name="connsiteX5" fmla="*/ 1036163 w 1036163"/>
                <a:gd name="connsiteY5" fmla="*/ 999460 h 999460"/>
                <a:gd name="connsiteX6" fmla="*/ 727113 w 1036163"/>
                <a:gd name="connsiteY6" fmla="*/ 991518 h 999460"/>
                <a:gd name="connsiteX7" fmla="*/ 275421 w 1036163"/>
                <a:gd name="connsiteY7" fmla="*/ 991518 h 999460"/>
                <a:gd name="connsiteX8" fmla="*/ 14881 w 1036163"/>
                <a:gd name="connsiteY8" fmla="*/ 999460 h 999460"/>
                <a:gd name="connsiteX9" fmla="*/ 1 w 1036163"/>
                <a:gd name="connsiteY9" fmla="*/ 749147 h 999460"/>
                <a:gd name="connsiteX10" fmla="*/ 0 w 1036163"/>
                <a:gd name="connsiteY10" fmla="*/ 242371 h 999460"/>
                <a:gd name="connsiteX0" fmla="*/ 0 w 1024568"/>
                <a:gd name="connsiteY0" fmla="*/ 242371 h 999460"/>
                <a:gd name="connsiteX1" fmla="*/ 286438 w 1024568"/>
                <a:gd name="connsiteY1" fmla="*/ 0 h 999460"/>
                <a:gd name="connsiteX2" fmla="*/ 738130 w 1024568"/>
                <a:gd name="connsiteY2" fmla="*/ 0 h 999460"/>
                <a:gd name="connsiteX3" fmla="*/ 1024568 w 1024568"/>
                <a:gd name="connsiteY3" fmla="*/ 275421 h 999460"/>
                <a:gd name="connsiteX4" fmla="*/ 1024568 w 1024568"/>
                <a:gd name="connsiteY4" fmla="*/ 749147 h 999460"/>
                <a:gd name="connsiteX5" fmla="*/ 727113 w 1024568"/>
                <a:gd name="connsiteY5" fmla="*/ 991518 h 999460"/>
                <a:gd name="connsiteX6" fmla="*/ 275421 w 1024568"/>
                <a:gd name="connsiteY6" fmla="*/ 991518 h 999460"/>
                <a:gd name="connsiteX7" fmla="*/ 14881 w 1024568"/>
                <a:gd name="connsiteY7" fmla="*/ 999460 h 999460"/>
                <a:gd name="connsiteX8" fmla="*/ 1 w 1024568"/>
                <a:gd name="connsiteY8" fmla="*/ 749147 h 999460"/>
                <a:gd name="connsiteX9" fmla="*/ 0 w 1024568"/>
                <a:gd name="connsiteY9" fmla="*/ 242371 h 999460"/>
                <a:gd name="connsiteX0" fmla="*/ 0 w 1024568"/>
                <a:gd name="connsiteY0" fmla="*/ 242371 h 991518"/>
                <a:gd name="connsiteX1" fmla="*/ 286438 w 1024568"/>
                <a:gd name="connsiteY1" fmla="*/ 0 h 991518"/>
                <a:gd name="connsiteX2" fmla="*/ 738130 w 1024568"/>
                <a:gd name="connsiteY2" fmla="*/ 0 h 991518"/>
                <a:gd name="connsiteX3" fmla="*/ 1024568 w 1024568"/>
                <a:gd name="connsiteY3" fmla="*/ 275421 h 991518"/>
                <a:gd name="connsiteX4" fmla="*/ 1024568 w 1024568"/>
                <a:gd name="connsiteY4" fmla="*/ 749147 h 991518"/>
                <a:gd name="connsiteX5" fmla="*/ 727113 w 1024568"/>
                <a:gd name="connsiteY5" fmla="*/ 991518 h 991518"/>
                <a:gd name="connsiteX6" fmla="*/ 275421 w 1024568"/>
                <a:gd name="connsiteY6" fmla="*/ 991518 h 991518"/>
                <a:gd name="connsiteX7" fmla="*/ 1 w 1024568"/>
                <a:gd name="connsiteY7" fmla="*/ 749147 h 991518"/>
                <a:gd name="connsiteX8" fmla="*/ 0 w 1024568"/>
                <a:gd name="connsiteY8" fmla="*/ 242371 h 99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568" h="991518">
                  <a:moveTo>
                    <a:pt x="0" y="242371"/>
                  </a:moveTo>
                  <a:lnTo>
                    <a:pt x="286438" y="0"/>
                  </a:lnTo>
                  <a:lnTo>
                    <a:pt x="738130" y="0"/>
                  </a:lnTo>
                  <a:lnTo>
                    <a:pt x="1024568" y="275421"/>
                  </a:lnTo>
                  <a:lnTo>
                    <a:pt x="1024568" y="749147"/>
                  </a:lnTo>
                  <a:lnTo>
                    <a:pt x="727113" y="991518"/>
                  </a:lnTo>
                  <a:lnTo>
                    <a:pt x="275421" y="991518"/>
                  </a:lnTo>
                  <a:lnTo>
                    <a:pt x="1" y="749147"/>
                  </a:lnTo>
                  <a:cubicBezTo>
                    <a:pt x="1" y="580222"/>
                    <a:pt x="0" y="411296"/>
                    <a:pt x="0" y="242371"/>
                  </a:cubicBezTo>
                  <a:close/>
                </a:path>
              </a:pathLst>
            </a:custGeom>
            <a:solidFill>
              <a:srgbClr val="008064"/>
            </a:solidFill>
            <a:ln w="44450">
              <a:solidFill>
                <a:schemeClr val="bg1"/>
              </a:solidFill>
              <a:miter lim="800000"/>
              <a:headEnd/>
              <a:tailEnd/>
            </a:ln>
            <a:effectLst/>
          </p:spPr>
          <p:txBody>
            <a:bodyPr wrap="square" lIns="0" tIns="0" rIns="0" bIns="0" rtlCol="0" anchor="ctr">
              <a:noAutofit/>
            </a:bodyPr>
            <a:lstStyle/>
            <a:p>
              <a:pPr algn="ctr" defTabSz="786234">
                <a:buClr>
                  <a:srgbClr val="204024"/>
                </a:buClr>
                <a:buSzPct val="125000"/>
                <a:defRPr/>
              </a:pPr>
              <a:r>
                <a:rPr lang="en-US" sz="4900" dirty="0">
                  <a:solidFill>
                    <a:srgbClr val="FFFFFF"/>
                  </a:solidFill>
                  <a:latin typeface="Arial"/>
                </a:rPr>
                <a:t>2</a:t>
              </a:r>
              <a:endParaRPr lang="x-none" sz="4900" dirty="0">
                <a:solidFill>
                  <a:srgbClr val="FFFFFF"/>
                </a:solidFill>
                <a:latin typeface="Arial"/>
              </a:endParaRPr>
            </a:p>
          </p:txBody>
        </p:sp>
        <p:sp>
          <p:nvSpPr>
            <p:cNvPr id="32" name="Rectangle 31">
              <a:extLst>
                <a:ext uri="{FF2B5EF4-FFF2-40B4-BE49-F238E27FC236}">
                  <a16:creationId xmlns:a16="http://schemas.microsoft.com/office/drawing/2014/main" id="{03238779-CA77-4629-BA7F-6CFC021D40AB}"/>
                </a:ext>
              </a:extLst>
            </p:cNvPr>
            <p:cNvSpPr/>
            <p:nvPr/>
          </p:nvSpPr>
          <p:spPr bwMode="auto">
            <a:xfrm>
              <a:off x="4603785" y="3791249"/>
              <a:ext cx="88136" cy="1463024"/>
            </a:xfrm>
            <a:prstGeom prst="rect">
              <a:avLst/>
            </a:prstGeom>
            <a:solidFill>
              <a:srgbClr val="008064"/>
            </a:solidFill>
            <a:ln w="9525">
              <a:noFill/>
              <a:miter lim="800000"/>
              <a:headEnd/>
              <a:tailEnd/>
            </a:ln>
            <a:effectLst/>
          </p:spPr>
          <p:txBody>
            <a:bodyPr wrap="square" lIns="360000" tIns="0" rIns="0" bIns="0" rtlCol="0" anchor="ctr">
              <a:noAutofit/>
            </a:bodyPr>
            <a:lstStyle/>
            <a:p>
              <a:pPr defTabSz="786234">
                <a:buClr>
                  <a:srgbClr val="204024"/>
                </a:buClr>
                <a:buSzPct val="125000"/>
                <a:defRPr/>
              </a:pPr>
              <a:endParaRPr lang="en-GB" dirty="0">
                <a:solidFill>
                  <a:srgbClr val="000000"/>
                </a:solidFill>
                <a:latin typeface="Arial"/>
              </a:endParaRPr>
            </a:p>
          </p:txBody>
        </p:sp>
        <p:sp>
          <p:nvSpPr>
            <p:cNvPr id="33" name="Rectangle 32">
              <a:extLst>
                <a:ext uri="{FF2B5EF4-FFF2-40B4-BE49-F238E27FC236}">
                  <a16:creationId xmlns:a16="http://schemas.microsoft.com/office/drawing/2014/main" id="{426E35C2-89AE-4D0D-B22D-5AA4C61CE2A6}"/>
                </a:ext>
              </a:extLst>
            </p:cNvPr>
            <p:cNvSpPr/>
            <p:nvPr/>
          </p:nvSpPr>
          <p:spPr bwMode="auto">
            <a:xfrm>
              <a:off x="4603785" y="2252663"/>
              <a:ext cx="88136" cy="1463675"/>
            </a:xfrm>
            <a:prstGeom prst="rect">
              <a:avLst/>
            </a:prstGeom>
            <a:solidFill>
              <a:srgbClr val="008064"/>
            </a:solidFill>
            <a:ln w="9525">
              <a:noFill/>
              <a:miter lim="800000"/>
              <a:headEnd/>
              <a:tailEnd/>
            </a:ln>
            <a:effectLst/>
          </p:spPr>
          <p:txBody>
            <a:bodyPr wrap="square" lIns="288000" tIns="0" rIns="0" bIns="0" rtlCol="0" anchor="ctr">
              <a:noAutofit/>
            </a:bodyPr>
            <a:lstStyle/>
            <a:p>
              <a:pPr defTabSz="912076" fontAlgn="base">
                <a:spcBef>
                  <a:spcPts val="600"/>
                </a:spcBef>
                <a:spcAft>
                  <a:spcPts val="600"/>
                </a:spcAft>
                <a:defRPr/>
              </a:pPr>
              <a:endParaRPr lang="en-US" dirty="0">
                <a:solidFill>
                  <a:srgbClr val="000000"/>
                </a:solidFill>
                <a:latin typeface="Arial"/>
              </a:endParaRPr>
            </a:p>
          </p:txBody>
        </p:sp>
        <p:cxnSp>
          <p:nvCxnSpPr>
            <p:cNvPr id="38" name="Straight Connector 37">
              <a:extLst>
                <a:ext uri="{FF2B5EF4-FFF2-40B4-BE49-F238E27FC236}">
                  <a16:creationId xmlns:a16="http://schemas.microsoft.com/office/drawing/2014/main" id="{AA517308-5A92-4CBA-A9F0-D9660205FFFD}"/>
                </a:ext>
              </a:extLst>
            </p:cNvPr>
            <p:cNvCxnSpPr>
              <a:cxnSpLocks/>
            </p:cNvCxnSpPr>
            <p:nvPr/>
          </p:nvCxnSpPr>
          <p:spPr>
            <a:xfrm>
              <a:off x="478175" y="2179684"/>
              <a:ext cx="41256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B589502-3C94-459B-AC7E-495A3F36B6A1}"/>
                </a:ext>
              </a:extLst>
            </p:cNvPr>
            <p:cNvSpPr txBox="1"/>
            <p:nvPr/>
          </p:nvSpPr>
          <p:spPr>
            <a:xfrm>
              <a:off x="478176" y="1900760"/>
              <a:ext cx="4213747" cy="292388"/>
            </a:xfrm>
            <a:prstGeom prst="rect">
              <a:avLst/>
            </a:prstGeom>
            <a:noFill/>
          </p:spPr>
          <p:txBody>
            <a:bodyPr wrap="square" lIns="0" tIns="0" rIns="0" bIns="0" rtlCol="0">
              <a:spAutoFit/>
            </a:bodyPr>
            <a:lstStyle/>
            <a:p>
              <a:pPr defTabSz="912076" fontAlgn="base">
                <a:spcBef>
                  <a:spcPts val="600"/>
                </a:spcBef>
                <a:spcAft>
                  <a:spcPts val="600"/>
                </a:spcAft>
                <a:defRPr/>
              </a:pPr>
              <a:r>
                <a:rPr lang="en-US" b="1" dirty="0">
                  <a:solidFill>
                    <a:srgbClr val="000000"/>
                  </a:solidFill>
                  <a:latin typeface="Arial"/>
                </a:rPr>
                <a:t>Key objectives of the TSP</a:t>
              </a:r>
              <a:endParaRPr lang="x-none" b="1" dirty="0">
                <a:solidFill>
                  <a:srgbClr val="000000"/>
                </a:solidFill>
                <a:latin typeface="Arial"/>
              </a:endParaRPr>
            </a:p>
          </p:txBody>
        </p:sp>
      </p:grpSp>
      <p:sp>
        <p:nvSpPr>
          <p:cNvPr id="17" name="Rectangle 25">
            <a:extLst>
              <a:ext uri="{FF2B5EF4-FFF2-40B4-BE49-F238E27FC236}">
                <a16:creationId xmlns:a16="http://schemas.microsoft.com/office/drawing/2014/main" id="{9865028D-8CAF-443B-9783-51210CC4B69A}"/>
              </a:ext>
            </a:extLst>
          </p:cNvPr>
          <p:cNvSpPr>
            <a:spLocks noChangeArrowheads="1"/>
          </p:cNvSpPr>
          <p:nvPr/>
        </p:nvSpPr>
        <p:spPr bwMode="auto">
          <a:xfrm>
            <a:off x="347664" y="4898048"/>
            <a:ext cx="4586381" cy="830997"/>
          </a:xfrm>
          <a:prstGeom prst="rect">
            <a:avLst/>
          </a:prstGeom>
          <a:solidFill>
            <a:srgbClr val="008064"/>
          </a:solidFill>
          <a:ln>
            <a:noFill/>
          </a:ln>
          <a:effectLst>
            <a:outerShdw blurRad="50800" dist="38100" dir="2700000" algn="tl" rotWithShape="0">
              <a:prstClr val="black">
                <a:alpha val="40000"/>
              </a:prstClr>
            </a:outerShdw>
          </a:effectLst>
          <a:extLst/>
        </p:spPr>
        <p:txBody>
          <a:bodyPr wrap="square" lIns="36523" tIns="0" rIns="0" bIns="0" anchor="ctr" anchorCtr="0">
            <a:spAutoFit/>
          </a:bodyPr>
          <a:lstStyle>
            <a:lvl1pPr marL="342900" indent="-342900" defTabSz="895350" eaLnBrk="0" hangingPunct="0">
              <a:defRPr sz="1600">
                <a:solidFill>
                  <a:schemeClr val="tx1"/>
                </a:solidFill>
                <a:latin typeface="Arial" panose="020B0604020202020204" pitchFamily="34" charset="0"/>
                <a:ea typeface="-윤고딕130" pitchFamily="18" charset="-127"/>
              </a:defRPr>
            </a:lvl1pPr>
            <a:lvl2pPr marL="144463" indent="-142875" defTabSz="895350" eaLnBrk="0" hangingPunct="0">
              <a:defRPr sz="1600">
                <a:solidFill>
                  <a:schemeClr val="tx1"/>
                </a:solidFill>
                <a:latin typeface="Arial" panose="020B0604020202020204" pitchFamily="34" charset="0"/>
                <a:ea typeface="-윤고딕130" pitchFamily="18" charset="-127"/>
              </a:defRPr>
            </a:lvl2pPr>
            <a:lvl3pPr marL="1143000" indent="-228600" defTabSz="895350" eaLnBrk="0" hangingPunct="0">
              <a:defRPr sz="1600">
                <a:solidFill>
                  <a:schemeClr val="tx1"/>
                </a:solidFill>
                <a:latin typeface="Arial" panose="020B0604020202020204" pitchFamily="34" charset="0"/>
                <a:ea typeface="-윤고딕130" pitchFamily="18" charset="-127"/>
              </a:defRPr>
            </a:lvl3pPr>
            <a:lvl4pPr marL="1600200" indent="-228600" defTabSz="895350" eaLnBrk="0" hangingPunct="0">
              <a:defRPr sz="1600">
                <a:solidFill>
                  <a:schemeClr val="tx1"/>
                </a:solidFill>
                <a:latin typeface="Arial" panose="020B0604020202020204" pitchFamily="34" charset="0"/>
                <a:ea typeface="-윤고딕130" pitchFamily="18" charset="-127"/>
              </a:defRPr>
            </a:lvl4pPr>
            <a:lvl5pPr marL="2057400" indent="-228600" defTabSz="895350" eaLnBrk="0" hangingPunct="0">
              <a:defRPr sz="1600">
                <a:solidFill>
                  <a:schemeClr val="tx1"/>
                </a:solidFill>
                <a:latin typeface="Arial" panose="020B0604020202020204" pitchFamily="34" charset="0"/>
                <a:ea typeface="-윤고딕130" pitchFamily="18" charset="-127"/>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윤고딕130" pitchFamily="18" charset="-127"/>
              </a:defRPr>
            </a:lvl9pPr>
          </a:lstStyle>
          <a:p>
            <a:pPr marL="1586" lvl="1" indent="0" eaLnBrk="1" hangingPunct="1">
              <a:spcBef>
                <a:spcPts val="400"/>
              </a:spcBef>
              <a:spcAft>
                <a:spcPts val="400"/>
              </a:spcAft>
              <a:buSzPct val="100000"/>
              <a:defRPr/>
            </a:pPr>
            <a:r>
              <a:rPr lang="en-US" sz="1800" dirty="0">
                <a:solidFill>
                  <a:prstClr val="white"/>
                </a:solidFill>
                <a:latin typeface="Arial (Body)"/>
                <a:cs typeface="Arial" panose="020B0604020202020204" pitchFamily="34" charset="0"/>
              </a:rPr>
              <a:t>NPHCDA will work with all resource persons within and outside the Agency to ensure successful implementation of both initiatives</a:t>
            </a:r>
          </a:p>
        </p:txBody>
      </p:sp>
      <p:pic>
        <p:nvPicPr>
          <p:cNvPr id="10" name="Picture 9" descr="A group of people posing for the camera&#10;&#10;Description generated with very high confidence">
            <a:extLst>
              <a:ext uri="{FF2B5EF4-FFF2-40B4-BE49-F238E27FC236}">
                <a16:creationId xmlns:a16="http://schemas.microsoft.com/office/drawing/2014/main" id="{FA5771EE-90A0-4958-8333-47BF4022F95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58401" y="1205292"/>
            <a:ext cx="3881367" cy="2429457"/>
          </a:xfrm>
          <a:prstGeom prst="rect">
            <a:avLst/>
          </a:prstGeom>
        </p:spPr>
      </p:pic>
      <p:pic>
        <p:nvPicPr>
          <p:cNvPr id="12" name="Picture 11" descr="A group of people standing in front of a crowd&#10;&#10;Description generated with very high confidence">
            <a:extLst>
              <a:ext uri="{FF2B5EF4-FFF2-40B4-BE49-F238E27FC236}">
                <a16:creationId xmlns:a16="http://schemas.microsoft.com/office/drawing/2014/main" id="{10EC107C-DFC7-4EBD-A24B-09265234212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58445" y="3778559"/>
            <a:ext cx="3889375" cy="2429459"/>
          </a:xfrm>
          <a:prstGeom prst="rect">
            <a:avLst/>
          </a:prstGeom>
        </p:spPr>
      </p:pic>
      <p:sp>
        <p:nvSpPr>
          <p:cNvPr id="4"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12</a:t>
            </a:fld>
            <a:endParaRPr lang="en-US" sz="1400" b="1" dirty="0">
              <a:solidFill>
                <a:schemeClr val="bg1"/>
              </a:solidFill>
            </a:endParaRPr>
          </a:p>
        </p:txBody>
      </p:sp>
      <p:sp>
        <p:nvSpPr>
          <p:cNvPr id="19" name="Star: 16 Points 18">
            <a:extLst>
              <a:ext uri="{FF2B5EF4-FFF2-40B4-BE49-F238E27FC236}">
                <a16:creationId xmlns:a16="http://schemas.microsoft.com/office/drawing/2014/main" id="{7BED8659-52F5-4429-8426-E242144796A5}"/>
              </a:ext>
            </a:extLst>
          </p:cNvPr>
          <p:cNvSpPr/>
          <p:nvPr/>
        </p:nvSpPr>
        <p:spPr>
          <a:xfrm>
            <a:off x="8893629" y="1766523"/>
            <a:ext cx="3418115" cy="3306220"/>
          </a:xfrm>
          <a:prstGeom prst="star16">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a:endParaRPr lang="x-none">
              <a:solidFill>
                <a:prstClr val="white"/>
              </a:solidFill>
            </a:endParaRPr>
          </a:p>
        </p:txBody>
      </p:sp>
      <p:sp>
        <p:nvSpPr>
          <p:cNvPr id="20" name="TextBox 19">
            <a:extLst>
              <a:ext uri="{FF2B5EF4-FFF2-40B4-BE49-F238E27FC236}">
                <a16:creationId xmlns:a16="http://schemas.microsoft.com/office/drawing/2014/main" id="{32D493A1-B6F8-4931-BA9E-A42D96690E98}"/>
              </a:ext>
            </a:extLst>
          </p:cNvPr>
          <p:cNvSpPr txBox="1"/>
          <p:nvPr/>
        </p:nvSpPr>
        <p:spPr>
          <a:xfrm>
            <a:off x="9495358" y="2834527"/>
            <a:ext cx="2426687" cy="1708124"/>
          </a:xfrm>
          <a:prstGeom prst="rect">
            <a:avLst/>
          </a:prstGeom>
          <a:noFill/>
        </p:spPr>
        <p:txBody>
          <a:bodyPr wrap="square" lIns="91401" tIns="45702" rIns="91401" bIns="45702" rtlCol="0">
            <a:spAutoFit/>
          </a:bodyPr>
          <a:lstStyle/>
          <a:p>
            <a:r>
              <a:rPr lang="en-GB" sz="1500" b="1" dirty="0">
                <a:solidFill>
                  <a:prstClr val="black"/>
                </a:solidFill>
                <a:latin typeface="Arial" panose="020B0604020202020204" pitchFamily="34" charset="0"/>
                <a:cs typeface="Arial" panose="020B0604020202020204" pitchFamily="34" charset="0"/>
              </a:rPr>
              <a:t>States are required to:</a:t>
            </a:r>
          </a:p>
          <a:p>
            <a:pPr marL="174551" indent="-174551">
              <a:buFont typeface="Arial" panose="020B0604020202020204" pitchFamily="34" charset="0"/>
              <a:buChar char="•"/>
            </a:pPr>
            <a:r>
              <a:rPr lang="en-GB" sz="1500" dirty="0">
                <a:solidFill>
                  <a:prstClr val="black"/>
                </a:solidFill>
                <a:latin typeface="Arial" panose="020B0604020202020204" pitchFamily="34" charset="0"/>
                <a:cs typeface="Arial" panose="020B0604020202020204" pitchFamily="34" charset="0"/>
              </a:rPr>
              <a:t>Set-up Technical Support Program desks within the SPHCBs to enable cascade of technical support to LGA and PHC levels</a:t>
            </a:r>
            <a:endParaRPr lang="x-none" sz="15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9482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2529" y="1628"/>
          <a:ext cx="2159" cy="1619"/>
        </p:xfrm>
        <a:graphic>
          <a:graphicData uri="http://schemas.openxmlformats.org/presentationml/2006/ole">
            <mc:AlternateContent xmlns:mc="http://schemas.openxmlformats.org/markup-compatibility/2006">
              <mc:Choice xmlns:v="urn:schemas-microsoft-com:vml" Requires="v">
                <p:oleObj spid="_x0000_s6441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529" y="1628"/>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1F0F99-F241-4C00-8490-F0B873ACE046}"/>
              </a:ext>
            </a:extLst>
          </p:cNvPr>
          <p:cNvSpPr/>
          <p:nvPr>
            <p:custDataLst>
              <p:tags r:id="rId3"/>
            </p:custDataLst>
          </p:nvPr>
        </p:nvSpPr>
        <p:spPr>
          <a:xfrm>
            <a:off x="4" y="0"/>
            <a:ext cx="211667"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013">
              <a:spcBef>
                <a:spcPct val="0"/>
              </a:spcBef>
              <a:spcAft>
                <a:spcPct val="0"/>
              </a:spcAft>
              <a:defRPr/>
            </a:pPr>
            <a:endParaRPr lang="en-US" b="1" dirty="0" err="1">
              <a:solidFill>
                <a:srgbClr val="1F1F1F"/>
              </a:solidFill>
              <a:sym typeface="Arial" panose="020B0604020202020204" pitchFamily="34" charset="0"/>
            </a:endParaRPr>
          </a:p>
        </p:txBody>
      </p:sp>
      <p:cxnSp>
        <p:nvCxnSpPr>
          <p:cNvPr id="50" name="Straight Connector 49"/>
          <p:cNvCxnSpPr/>
          <p:nvPr/>
        </p:nvCxnSpPr>
        <p:spPr>
          <a:xfrm>
            <a:off x="4240372" y="1678957"/>
            <a:ext cx="0" cy="292608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216187" y="1678954"/>
            <a:ext cx="0" cy="274320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McK 5. Source"/>
          <p:cNvSpPr>
            <a:spLocks noChangeArrowheads="1"/>
          </p:cNvSpPr>
          <p:nvPr/>
        </p:nvSpPr>
        <p:spPr bwMode="auto">
          <a:xfrm>
            <a:off x="233289" y="6565608"/>
            <a:ext cx="1123521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0526" indent="-620526" defTabSz="911398" fontAlgn="base">
              <a:spcBef>
                <a:spcPct val="0"/>
              </a:spcBef>
              <a:spcAft>
                <a:spcPct val="0"/>
              </a:spcAft>
              <a:tabLst>
                <a:tab pos="623757" algn="l"/>
              </a:tabLst>
              <a:defRPr/>
            </a:pPr>
            <a:r>
              <a:rPr lang="en-US" sz="1000" dirty="0">
                <a:solidFill>
                  <a:srgbClr val="1F1F1F"/>
                </a:solidFill>
              </a:rPr>
              <a:t>SOURCE: Team analysis</a:t>
            </a:r>
          </a:p>
        </p:txBody>
      </p:sp>
      <p:sp>
        <p:nvSpPr>
          <p:cNvPr id="18" name="Title 17"/>
          <p:cNvSpPr>
            <a:spLocks noGrp="1"/>
          </p:cNvSpPr>
          <p:nvPr>
            <p:ph type="title"/>
          </p:nvPr>
        </p:nvSpPr>
        <p:spPr>
          <a:xfrm>
            <a:off x="10" y="3"/>
            <a:ext cx="12152337" cy="73012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3939" tIns="143939" rIns="143939" bIns="0" numCol="1" anchor="t" anchorCtr="0" compatLnSpc="1">
            <a:prstTxWarp prst="textNoShape">
              <a:avLst/>
            </a:prstTxWarp>
            <a:spAutoFit/>
          </a:bodyPr>
          <a:lstStyle/>
          <a:p>
            <a:r>
              <a:rPr lang="en-US" baseline="30000" dirty="0">
                <a:solidFill>
                  <a:schemeClr val="accent6">
                    <a:lumMod val="50000"/>
                  </a:schemeClr>
                </a:solidFill>
                <a:latin typeface="Arial" panose="020B0604020202020204" pitchFamily="34" charset="0"/>
                <a:cs typeface="Arial" panose="020B0604020202020204" pitchFamily="34" charset="0"/>
              </a:rPr>
              <a:t>1</a:t>
            </a:r>
            <a:r>
              <a:rPr lang="en-US" kern="1200" dirty="0">
                <a:solidFill>
                  <a:srgbClr val="204024"/>
                </a:solidFill>
                <a:latin typeface="Arial"/>
              </a:rPr>
              <a:t>The Agency developed a 3-year road map to design and independently run the technical support program</a:t>
            </a:r>
          </a:p>
        </p:txBody>
      </p:sp>
      <p:sp>
        <p:nvSpPr>
          <p:cNvPr id="20" name="TextBox 5"/>
          <p:cNvSpPr txBox="1"/>
          <p:nvPr>
            <p:custDataLst>
              <p:tags r:id="rId4"/>
            </p:custDataLst>
          </p:nvPr>
        </p:nvSpPr>
        <p:spPr>
          <a:xfrm>
            <a:off x="10952856" y="542433"/>
            <a:ext cx="219456" cy="164592"/>
          </a:xfrm>
          <a:prstGeom prst="rect">
            <a:avLst/>
          </a:prstGeom>
          <a:gradFill>
            <a:gsLst>
              <a:gs pos="0">
                <a:schemeClr val="accent3"/>
              </a:gs>
              <a:gs pos="100000">
                <a:schemeClr val="accent4">
                  <a:lumMod val="75000"/>
                </a:schemeClr>
              </a:gs>
            </a:gsLst>
            <a:lin ang="5400000" scaled="1"/>
          </a:gradFill>
          <a:ln w="9525">
            <a:noFill/>
          </a:ln>
          <a:effectLst/>
          <a:extLst/>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noAutofit/>
          </a:bodyPr>
          <a:lstStyle>
            <a:defPPr>
              <a:defRPr lang="en-US"/>
            </a:defPPr>
            <a:lvl1pPr marL="846138" marR="0" lvl="0" indent="0" defTabSz="913626" fontAlgn="auto">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LnTx/>
                <a:uFillTx/>
                <a:latin typeface="Arial"/>
              </a:defRPr>
            </a:lvl1pPr>
          </a:lstStyle>
          <a:p>
            <a:pPr>
              <a:defRPr/>
            </a:pPr>
            <a:endParaRPr lang="en-US" dirty="0"/>
          </a:p>
        </p:txBody>
      </p:sp>
      <p:sp>
        <p:nvSpPr>
          <p:cNvPr id="21" name="Rectangle 8"/>
          <p:cNvSpPr txBox="1"/>
          <p:nvPr/>
        </p:nvSpPr>
        <p:spPr>
          <a:xfrm>
            <a:off x="11242710" y="542433"/>
            <a:ext cx="716009"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339966"/>
              </a:buClr>
              <a:defRPr/>
            </a:pPr>
            <a:r>
              <a:rPr lang="en-US" sz="1000" dirty="0">
                <a:solidFill>
                  <a:srgbClr val="1F1F1F"/>
                </a:solidFill>
              </a:rPr>
              <a:t>This year</a:t>
            </a:r>
          </a:p>
        </p:txBody>
      </p:sp>
      <p:sp>
        <p:nvSpPr>
          <p:cNvPr id="39" name="TextBox 38"/>
          <p:cNvSpPr txBox="1">
            <a:spLocks/>
          </p:cNvSpPr>
          <p:nvPr/>
        </p:nvSpPr>
        <p:spPr>
          <a:xfrm>
            <a:off x="1" y="1322914"/>
            <a:ext cx="4240372" cy="452296"/>
          </a:xfrm>
          <a:prstGeom prst="rect">
            <a:avLst/>
          </a:prstGeom>
          <a:gradFill>
            <a:gsLst>
              <a:gs pos="0">
                <a:schemeClr val="accent1"/>
              </a:gs>
              <a:gs pos="100000">
                <a:schemeClr val="accent2"/>
              </a:gs>
            </a:gsLst>
            <a:lin ang="5400000" scaled="1"/>
          </a:gradFill>
          <a:ln w="19050">
            <a:noFill/>
          </a:ln>
          <a:effectLst/>
        </p:spPr>
        <p:txBody>
          <a:bodyPr vert="horz" wrap="square" lIns="73120" tIns="71978" rIns="365607" bIns="71978" numCol="1" anchor="ctr" anchorCtr="0" compatLnSpc="1">
            <a:prstTxWarp prst="textNoShape">
              <a:avLst/>
            </a:prstTxWarp>
            <a:noAutofit/>
          </a:bodyPr>
          <a:lstStyle>
            <a:defPPr>
              <a:defRPr lang="en-US"/>
            </a:defPPr>
            <a:lvl1pPr lvl="0" indent="0" defTabSz="895350">
              <a:buClr>
                <a:schemeClr val="tx2"/>
              </a:buClr>
              <a:defRPr sz="1200" b="1">
                <a:solidFill>
                  <a:schemeClr val="tx2"/>
                </a:solidFill>
              </a:defRPr>
            </a:lvl1pPr>
            <a:lvl2pPr marL="193675" lvl="1" indent="-192088" defTabSz="895350">
              <a:buClr>
                <a:schemeClr val="tx2"/>
              </a:buClr>
              <a:buSzPct val="125000"/>
              <a:buFont typeface="Arial" charset="0"/>
              <a:buChar char="▪"/>
            </a:lvl2pPr>
            <a:lvl3pPr marL="457200" lvl="2" indent="-261938" defTabSz="895350">
              <a:buClr>
                <a:schemeClr val="tx2"/>
              </a:buClr>
              <a:buSzPct val="120000"/>
              <a:buFont typeface="Arial" charset="0"/>
              <a:buChar char="–"/>
            </a:lvl3pPr>
            <a:lvl4pPr marL="614363" lvl="3" indent="-155575" defTabSz="895350">
              <a:buClr>
                <a:schemeClr val="tx2"/>
              </a:buClr>
              <a:buSzPct val="120000"/>
              <a:buFont typeface="Arial" charset="0"/>
              <a:buChar char="▫"/>
            </a:lvl4pPr>
            <a:lvl5pPr marL="746125" lvl="4" indent="-130175" defTabSz="895350">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pPr marL="647427">
              <a:buClr>
                <a:srgbClr val="339966"/>
              </a:buClr>
              <a:defRPr/>
            </a:pPr>
            <a:endParaRPr lang="en-US" dirty="0">
              <a:solidFill>
                <a:srgbClr val="339966"/>
              </a:solidFill>
            </a:endParaRPr>
          </a:p>
        </p:txBody>
      </p:sp>
      <p:sp>
        <p:nvSpPr>
          <p:cNvPr id="40" name="TextBox 39"/>
          <p:cNvSpPr txBox="1">
            <a:spLocks/>
          </p:cNvSpPr>
          <p:nvPr/>
        </p:nvSpPr>
        <p:spPr>
          <a:xfrm>
            <a:off x="3975815" y="1096766"/>
            <a:ext cx="4240372" cy="452296"/>
          </a:xfrm>
          <a:prstGeom prst="rect">
            <a:avLst/>
          </a:prstGeom>
          <a:gradFill>
            <a:gsLst>
              <a:gs pos="0">
                <a:schemeClr val="accent3"/>
              </a:gs>
              <a:gs pos="100000">
                <a:schemeClr val="accent4">
                  <a:lumMod val="75000"/>
                </a:schemeClr>
              </a:gs>
            </a:gsLst>
            <a:lin ang="540000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noAutofit/>
          </a:bodyP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845781" algn="l" defTabSz="913240">
              <a:defRPr/>
            </a:pPr>
            <a:endParaRPr lang="en-US" sz="1500" b="1" dirty="0">
              <a:solidFill>
                <a:srgbClr val="FFFFFF"/>
              </a:solidFill>
            </a:endParaRPr>
          </a:p>
        </p:txBody>
      </p:sp>
      <p:sp>
        <p:nvSpPr>
          <p:cNvPr id="43" name="TextBox 42"/>
          <p:cNvSpPr txBox="1">
            <a:spLocks/>
          </p:cNvSpPr>
          <p:nvPr/>
        </p:nvSpPr>
        <p:spPr>
          <a:xfrm>
            <a:off x="7951631" y="870618"/>
            <a:ext cx="4240372" cy="452296"/>
          </a:xfrm>
          <a:prstGeom prst="rect">
            <a:avLst/>
          </a:prstGeom>
          <a:gradFill>
            <a:gsLst>
              <a:gs pos="0">
                <a:schemeClr val="accent5"/>
              </a:gs>
              <a:gs pos="100000">
                <a:schemeClr val="accent5">
                  <a:lumMod val="75000"/>
                </a:schemeClr>
              </a:gs>
            </a:gsLst>
            <a:lin ang="540000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noAutofit/>
          </a:bodyP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845781" algn="l" defTabSz="913240">
              <a:defRPr/>
            </a:pPr>
            <a:endParaRPr lang="en-US" sz="1500" b="1" dirty="0">
              <a:solidFill>
                <a:srgbClr val="FFFFFF"/>
              </a:solidFill>
            </a:endParaRPr>
          </a:p>
        </p:txBody>
      </p:sp>
      <p:sp>
        <p:nvSpPr>
          <p:cNvPr id="44" name="Right Triangle 43"/>
          <p:cNvSpPr>
            <a:spLocks/>
          </p:cNvSpPr>
          <p:nvPr/>
        </p:nvSpPr>
        <p:spPr>
          <a:xfrm flipH="1" flipV="1">
            <a:off x="7951556" y="1323373"/>
            <a:ext cx="264785" cy="226149"/>
          </a:xfrm>
          <a:prstGeom prst="rtTriangle">
            <a:avLst/>
          </a:prstGeom>
          <a:solidFill>
            <a:schemeClr val="accent1">
              <a:lumMod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3240">
              <a:defRPr/>
            </a:pPr>
            <a:endParaRPr lang="en-US" sz="1500" dirty="0" err="1">
              <a:solidFill>
                <a:srgbClr val="1F1F1F"/>
              </a:solidFill>
            </a:endParaRPr>
          </a:p>
        </p:txBody>
      </p:sp>
      <p:sp>
        <p:nvSpPr>
          <p:cNvPr id="41" name="Right Triangle 40"/>
          <p:cNvSpPr>
            <a:spLocks/>
          </p:cNvSpPr>
          <p:nvPr/>
        </p:nvSpPr>
        <p:spPr>
          <a:xfrm flipH="1" flipV="1">
            <a:off x="3975621" y="1549524"/>
            <a:ext cx="264785" cy="226149"/>
          </a:xfrm>
          <a:prstGeom prst="rtTriangle">
            <a:avLst/>
          </a:prstGeom>
          <a:solidFill>
            <a:schemeClr val="accent1">
              <a:lumMod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3240">
              <a:defRPr/>
            </a:pPr>
            <a:endParaRPr lang="en-US" sz="1500" dirty="0" err="1">
              <a:solidFill>
                <a:srgbClr val="1F1F1F"/>
              </a:solidFill>
            </a:endParaRPr>
          </a:p>
        </p:txBody>
      </p:sp>
      <p:sp>
        <p:nvSpPr>
          <p:cNvPr id="29" name="Rectangle 286"/>
          <p:cNvSpPr txBox="1">
            <a:spLocks noChangeArrowheads="1"/>
          </p:cNvSpPr>
          <p:nvPr/>
        </p:nvSpPr>
        <p:spPr bwMode="auto">
          <a:xfrm>
            <a:off x="1612158" y="1358986"/>
            <a:ext cx="816000" cy="391583"/>
          </a:xfrm>
          <a:prstGeom prst="rect">
            <a:avLst/>
          </a:prstGeom>
          <a:noFill/>
          <a:ln w="9525">
            <a:noFill/>
            <a:miter lim="800000"/>
            <a:headEnd/>
            <a:tailEnd/>
          </a:ln>
          <a:effectLst/>
          <a:extLst/>
        </p:spPr>
        <p:txBody>
          <a:bodyPr vert="horz" wrap="square" lIns="71978" tIns="71978" rIns="71978" bIns="71978"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691331">
              <a:buClr>
                <a:srgbClr val="339966"/>
              </a:buClr>
              <a:defRPr/>
            </a:pPr>
            <a:r>
              <a:rPr lang="en-US" b="1" i="1" dirty="0">
                <a:solidFill>
                  <a:srgbClr val="1F1F1F"/>
                </a:solidFill>
              </a:rPr>
              <a:t>2018</a:t>
            </a:r>
          </a:p>
        </p:txBody>
      </p:sp>
      <p:sp>
        <p:nvSpPr>
          <p:cNvPr id="32" name="Rectangle 286"/>
          <p:cNvSpPr txBox="1">
            <a:spLocks noChangeArrowheads="1"/>
          </p:cNvSpPr>
          <p:nvPr/>
        </p:nvSpPr>
        <p:spPr bwMode="auto">
          <a:xfrm>
            <a:off x="9681024" y="893270"/>
            <a:ext cx="816000" cy="391583"/>
          </a:xfrm>
          <a:prstGeom prst="rect">
            <a:avLst/>
          </a:prstGeom>
          <a:noFill/>
          <a:ln w="9525">
            <a:noFill/>
            <a:miter lim="800000"/>
            <a:headEnd/>
            <a:tailEnd/>
          </a:ln>
          <a:effectLst/>
          <a:extLst/>
        </p:spPr>
        <p:txBody>
          <a:bodyPr vert="horz" wrap="square" lIns="71978" tIns="71978" rIns="71978" bIns="71978"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691331">
              <a:buClr>
                <a:srgbClr val="339966"/>
              </a:buClr>
              <a:defRPr/>
            </a:pPr>
            <a:r>
              <a:rPr lang="en-US" b="1" i="1" dirty="0">
                <a:solidFill>
                  <a:srgbClr val="FFFFFF"/>
                </a:solidFill>
              </a:rPr>
              <a:t>2020</a:t>
            </a:r>
          </a:p>
        </p:txBody>
      </p:sp>
      <p:sp>
        <p:nvSpPr>
          <p:cNvPr id="35" name="Rectangle 286"/>
          <p:cNvSpPr txBox="1">
            <a:spLocks noChangeArrowheads="1"/>
          </p:cNvSpPr>
          <p:nvPr/>
        </p:nvSpPr>
        <p:spPr bwMode="auto">
          <a:xfrm>
            <a:off x="5521977" y="1119543"/>
            <a:ext cx="816000" cy="391583"/>
          </a:xfrm>
          <a:prstGeom prst="rect">
            <a:avLst/>
          </a:prstGeom>
          <a:noFill/>
          <a:ln w="9525">
            <a:noFill/>
            <a:miter lim="800000"/>
            <a:headEnd/>
            <a:tailEnd/>
          </a:ln>
          <a:effectLst/>
          <a:extLst/>
        </p:spPr>
        <p:txBody>
          <a:bodyPr vert="horz" wrap="square" lIns="71978" tIns="71978" rIns="71978" bIns="71978"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691331">
              <a:buClr>
                <a:srgbClr val="339966"/>
              </a:buClr>
              <a:defRPr/>
            </a:pPr>
            <a:r>
              <a:rPr lang="en-US" b="1" i="1" dirty="0">
                <a:solidFill>
                  <a:srgbClr val="FFFFFF"/>
                </a:solidFill>
              </a:rPr>
              <a:t>2019</a:t>
            </a:r>
          </a:p>
        </p:txBody>
      </p:sp>
      <p:grpSp>
        <p:nvGrpSpPr>
          <p:cNvPr id="4" name="Group 3">
            <a:extLst>
              <a:ext uri="{FF2B5EF4-FFF2-40B4-BE49-F238E27FC236}">
                <a16:creationId xmlns:a16="http://schemas.microsoft.com/office/drawing/2014/main" id="{25558FE7-97A4-49BD-AA76-D979BC176362}"/>
              </a:ext>
            </a:extLst>
          </p:cNvPr>
          <p:cNvGrpSpPr/>
          <p:nvPr/>
        </p:nvGrpSpPr>
        <p:grpSpPr>
          <a:xfrm>
            <a:off x="204044" y="1884429"/>
            <a:ext cx="3487161" cy="230832"/>
            <a:chOff x="181170" y="2274626"/>
            <a:chExt cx="2615370" cy="230832"/>
          </a:xfrm>
        </p:grpSpPr>
        <p:sp>
          <p:nvSpPr>
            <p:cNvPr id="55" name="Cube 54"/>
            <p:cNvSpPr/>
            <p:nvPr/>
          </p:nvSpPr>
          <p:spPr>
            <a:xfrm>
              <a:off x="181170" y="2274626"/>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sp>
          <p:nvSpPr>
            <p:cNvPr id="59" name="Rectangle 13"/>
            <p:cNvSpPr txBox="1">
              <a:spLocks/>
            </p:cNvSpPr>
            <p:nvPr/>
          </p:nvSpPr>
          <p:spPr>
            <a:xfrm>
              <a:off x="478986" y="2274626"/>
              <a:ext cx="2317554"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Develop </a:t>
              </a:r>
              <a:r>
                <a:rPr lang="en-US" sz="1500" b="1" dirty="0">
                  <a:solidFill>
                    <a:srgbClr val="339966"/>
                  </a:solidFill>
                </a:rPr>
                <a:t>program workplan</a:t>
              </a:r>
            </a:p>
          </p:txBody>
        </p:sp>
      </p:grpSp>
      <p:grpSp>
        <p:nvGrpSpPr>
          <p:cNvPr id="6" name="Group 5">
            <a:extLst>
              <a:ext uri="{FF2B5EF4-FFF2-40B4-BE49-F238E27FC236}">
                <a16:creationId xmlns:a16="http://schemas.microsoft.com/office/drawing/2014/main" id="{C019EBBF-D6C5-46D3-8A3C-C354306B6A94}"/>
              </a:ext>
            </a:extLst>
          </p:cNvPr>
          <p:cNvGrpSpPr/>
          <p:nvPr/>
        </p:nvGrpSpPr>
        <p:grpSpPr>
          <a:xfrm>
            <a:off x="204047" y="2275194"/>
            <a:ext cx="3524675" cy="230832"/>
            <a:chOff x="153034" y="2857098"/>
            <a:chExt cx="2643506" cy="230832"/>
          </a:xfrm>
        </p:grpSpPr>
        <p:sp>
          <p:nvSpPr>
            <p:cNvPr id="58" name="Cube 57"/>
            <p:cNvSpPr/>
            <p:nvPr/>
          </p:nvSpPr>
          <p:spPr>
            <a:xfrm>
              <a:off x="153034" y="2857098"/>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sp>
          <p:nvSpPr>
            <p:cNvPr id="60" name="Rectangle 13"/>
            <p:cNvSpPr txBox="1">
              <a:spLocks/>
            </p:cNvSpPr>
            <p:nvPr/>
          </p:nvSpPr>
          <p:spPr>
            <a:xfrm>
              <a:off x="478986" y="2857098"/>
              <a:ext cx="2317554"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Set up </a:t>
              </a:r>
              <a:r>
                <a:rPr lang="en-US" sz="1500" b="1" dirty="0">
                  <a:solidFill>
                    <a:srgbClr val="339966"/>
                  </a:solidFill>
                </a:rPr>
                <a:t>office</a:t>
              </a:r>
            </a:p>
          </p:txBody>
        </p:sp>
      </p:grpSp>
      <p:sp>
        <p:nvSpPr>
          <p:cNvPr id="57" name="Cube 56"/>
          <p:cNvSpPr/>
          <p:nvPr/>
        </p:nvSpPr>
        <p:spPr>
          <a:xfrm>
            <a:off x="8420622" y="1454328"/>
            <a:ext cx="241300"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3240">
              <a:defRPr/>
            </a:pPr>
            <a:endParaRPr lang="en-US" sz="1800" dirty="0" err="1">
              <a:solidFill>
                <a:srgbClr val="1F1F1F"/>
              </a:solidFill>
            </a:endParaRPr>
          </a:p>
        </p:txBody>
      </p:sp>
      <p:sp>
        <p:nvSpPr>
          <p:cNvPr id="69" name="Rectangle 18"/>
          <p:cNvSpPr txBox="1">
            <a:spLocks/>
          </p:cNvSpPr>
          <p:nvPr/>
        </p:nvSpPr>
        <p:spPr>
          <a:xfrm>
            <a:off x="8818882" y="1454253"/>
            <a:ext cx="3168001"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Ensure NPHCDA TSP is independently run by NPHCDA staff (TSU)</a:t>
            </a:r>
          </a:p>
        </p:txBody>
      </p:sp>
      <p:grpSp>
        <p:nvGrpSpPr>
          <p:cNvPr id="14" name="Group 13">
            <a:extLst>
              <a:ext uri="{FF2B5EF4-FFF2-40B4-BE49-F238E27FC236}">
                <a16:creationId xmlns:a16="http://schemas.microsoft.com/office/drawing/2014/main" id="{2C12FFF3-B1D3-4E20-9CBB-2E3AB993E14F}"/>
              </a:ext>
            </a:extLst>
          </p:cNvPr>
          <p:cNvGrpSpPr/>
          <p:nvPr/>
        </p:nvGrpSpPr>
        <p:grpSpPr>
          <a:xfrm>
            <a:off x="4361199" y="1704310"/>
            <a:ext cx="3629844" cy="461665"/>
            <a:chOff x="3270899" y="2145295"/>
            <a:chExt cx="2722383" cy="461665"/>
          </a:xfrm>
        </p:grpSpPr>
        <p:sp>
          <p:nvSpPr>
            <p:cNvPr id="65" name="Rectangle 3"/>
            <p:cNvSpPr txBox="1">
              <a:spLocks/>
            </p:cNvSpPr>
            <p:nvPr/>
          </p:nvSpPr>
          <p:spPr>
            <a:xfrm>
              <a:off x="3552111" y="2145295"/>
              <a:ext cx="2441171"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Establish</a:t>
              </a:r>
              <a:r>
                <a:rPr lang="en-US" sz="1500" b="1" dirty="0">
                  <a:solidFill>
                    <a:srgbClr val="339966"/>
                  </a:solidFill>
                </a:rPr>
                <a:t> SPHCB peer learning network</a:t>
              </a:r>
              <a:r>
                <a:rPr lang="en-US" sz="1500" dirty="0">
                  <a:solidFill>
                    <a:srgbClr val="1F1F1F"/>
                  </a:solidFill>
                </a:rPr>
                <a:t>   </a:t>
              </a:r>
            </a:p>
          </p:txBody>
        </p:sp>
        <p:sp>
          <p:nvSpPr>
            <p:cNvPr id="75" name="Cube 74"/>
            <p:cNvSpPr/>
            <p:nvPr/>
          </p:nvSpPr>
          <p:spPr>
            <a:xfrm>
              <a:off x="3270899" y="2145295"/>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grpSp>
        <p:nvGrpSpPr>
          <p:cNvPr id="13" name="Group 12">
            <a:extLst>
              <a:ext uri="{FF2B5EF4-FFF2-40B4-BE49-F238E27FC236}">
                <a16:creationId xmlns:a16="http://schemas.microsoft.com/office/drawing/2014/main" id="{71425133-FF25-4177-9AEB-2DD388514170}"/>
              </a:ext>
            </a:extLst>
          </p:cNvPr>
          <p:cNvGrpSpPr/>
          <p:nvPr/>
        </p:nvGrpSpPr>
        <p:grpSpPr>
          <a:xfrm>
            <a:off x="4344869" y="2289275"/>
            <a:ext cx="3716581" cy="692497"/>
            <a:chOff x="3258650" y="2920537"/>
            <a:chExt cx="2787436" cy="692497"/>
          </a:xfrm>
        </p:grpSpPr>
        <p:sp>
          <p:nvSpPr>
            <p:cNvPr id="66" name="Rectangle 3"/>
            <p:cNvSpPr txBox="1">
              <a:spLocks/>
            </p:cNvSpPr>
            <p:nvPr/>
          </p:nvSpPr>
          <p:spPr>
            <a:xfrm>
              <a:off x="3604915" y="2920537"/>
              <a:ext cx="2441171"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Set up </a:t>
              </a:r>
              <a:r>
                <a:rPr lang="en-US" sz="1500" b="1" dirty="0">
                  <a:solidFill>
                    <a:srgbClr val="339966"/>
                  </a:solidFill>
                </a:rPr>
                <a:t>online portal </a:t>
              </a:r>
              <a:r>
                <a:rPr lang="en-US" sz="1500" dirty="0">
                  <a:solidFill>
                    <a:srgbClr val="1F1F1F"/>
                  </a:solidFill>
                </a:rPr>
                <a:t>on NPHCDA website for TA request transmission and categorization</a:t>
              </a:r>
            </a:p>
          </p:txBody>
        </p:sp>
        <p:sp>
          <p:nvSpPr>
            <p:cNvPr id="76" name="Cube 75"/>
            <p:cNvSpPr/>
            <p:nvPr/>
          </p:nvSpPr>
          <p:spPr>
            <a:xfrm>
              <a:off x="3258650" y="2920537"/>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sp>
        <p:nvSpPr>
          <p:cNvPr id="70" name="Rectangle 18"/>
          <p:cNvSpPr txBox="1">
            <a:spLocks/>
          </p:cNvSpPr>
          <p:nvPr/>
        </p:nvSpPr>
        <p:spPr>
          <a:xfrm>
            <a:off x="8818882" y="2317425"/>
            <a:ext cx="3168001"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C</a:t>
            </a:r>
            <a:r>
              <a:rPr lang="en-US" sz="1500" dirty="0" err="1">
                <a:solidFill>
                  <a:srgbClr val="1F1F1F"/>
                </a:solidFill>
              </a:rPr>
              <a:t>onduct</a:t>
            </a:r>
            <a:r>
              <a:rPr lang="en-US" sz="1500" dirty="0">
                <a:solidFill>
                  <a:srgbClr val="1F1F1F"/>
                </a:solidFill>
              </a:rPr>
              <a:t> </a:t>
            </a:r>
            <a:r>
              <a:rPr lang="en-US" sz="1500" b="1" dirty="0">
                <a:solidFill>
                  <a:srgbClr val="339966"/>
                </a:solidFill>
              </a:rPr>
              <a:t>end of program Evaluation</a:t>
            </a:r>
          </a:p>
        </p:txBody>
      </p:sp>
      <p:sp>
        <p:nvSpPr>
          <p:cNvPr id="80" name="Cube 79"/>
          <p:cNvSpPr/>
          <p:nvPr/>
        </p:nvSpPr>
        <p:spPr>
          <a:xfrm>
            <a:off x="8420622" y="2317652"/>
            <a:ext cx="241300"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3240">
              <a:defRPr/>
            </a:pPr>
            <a:endParaRPr lang="en-US" sz="1800" dirty="0" err="1">
              <a:solidFill>
                <a:srgbClr val="1F1F1F"/>
              </a:solidFill>
            </a:endParaRPr>
          </a:p>
        </p:txBody>
      </p:sp>
      <p:grpSp>
        <p:nvGrpSpPr>
          <p:cNvPr id="7" name="Group 6">
            <a:extLst>
              <a:ext uri="{FF2B5EF4-FFF2-40B4-BE49-F238E27FC236}">
                <a16:creationId xmlns:a16="http://schemas.microsoft.com/office/drawing/2014/main" id="{16E9423D-3687-4DB7-900E-CE09352F62B1}"/>
              </a:ext>
            </a:extLst>
          </p:cNvPr>
          <p:cNvGrpSpPr/>
          <p:nvPr/>
        </p:nvGrpSpPr>
        <p:grpSpPr>
          <a:xfrm>
            <a:off x="204046" y="2666437"/>
            <a:ext cx="3512147" cy="461665"/>
            <a:chOff x="162430" y="3218070"/>
            <a:chExt cx="2634110" cy="461665"/>
          </a:xfrm>
        </p:grpSpPr>
        <p:sp>
          <p:nvSpPr>
            <p:cNvPr id="61" name="Rectangle 13"/>
            <p:cNvSpPr txBox="1">
              <a:spLocks/>
            </p:cNvSpPr>
            <p:nvPr/>
          </p:nvSpPr>
          <p:spPr>
            <a:xfrm>
              <a:off x="478986" y="3218070"/>
              <a:ext cx="2317554"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Set up</a:t>
              </a:r>
              <a:r>
                <a:rPr lang="en-US" sz="1500" b="1" dirty="0">
                  <a:solidFill>
                    <a:srgbClr val="1F1F1F"/>
                  </a:solidFill>
                </a:rPr>
                <a:t> </a:t>
              </a:r>
              <a:r>
                <a:rPr lang="en-US" sz="1500" b="1" dirty="0">
                  <a:solidFill>
                    <a:srgbClr val="339966"/>
                  </a:solidFill>
                </a:rPr>
                <a:t>TA system implementation team (TSU)</a:t>
              </a:r>
            </a:p>
          </p:txBody>
        </p:sp>
        <p:sp>
          <p:nvSpPr>
            <p:cNvPr id="84" name="Cube 83"/>
            <p:cNvSpPr/>
            <p:nvPr/>
          </p:nvSpPr>
          <p:spPr>
            <a:xfrm>
              <a:off x="162430" y="3218070"/>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grpSp>
        <p:nvGrpSpPr>
          <p:cNvPr id="8" name="Group 7">
            <a:extLst>
              <a:ext uri="{FF2B5EF4-FFF2-40B4-BE49-F238E27FC236}">
                <a16:creationId xmlns:a16="http://schemas.microsoft.com/office/drawing/2014/main" id="{09E15FAB-1BD1-45EF-A4B5-3B16A481393D}"/>
              </a:ext>
            </a:extLst>
          </p:cNvPr>
          <p:cNvGrpSpPr/>
          <p:nvPr/>
        </p:nvGrpSpPr>
        <p:grpSpPr>
          <a:xfrm>
            <a:off x="204047" y="3272178"/>
            <a:ext cx="3524675" cy="230832"/>
            <a:chOff x="153034" y="3827928"/>
            <a:chExt cx="2643506" cy="230832"/>
          </a:xfrm>
        </p:grpSpPr>
        <p:sp>
          <p:nvSpPr>
            <p:cNvPr id="62" name="Rectangle 13"/>
            <p:cNvSpPr txBox="1">
              <a:spLocks/>
            </p:cNvSpPr>
            <p:nvPr/>
          </p:nvSpPr>
          <p:spPr>
            <a:xfrm>
              <a:off x="478986" y="3827928"/>
              <a:ext cx="2317554"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Design the </a:t>
              </a:r>
              <a:r>
                <a:rPr lang="en-US" sz="1500" b="1" dirty="0">
                  <a:solidFill>
                    <a:srgbClr val="339966"/>
                  </a:solidFill>
                </a:rPr>
                <a:t>TA delivery system</a:t>
              </a:r>
            </a:p>
          </p:txBody>
        </p:sp>
        <p:sp>
          <p:nvSpPr>
            <p:cNvPr id="85" name="Cube 84"/>
            <p:cNvSpPr/>
            <p:nvPr/>
          </p:nvSpPr>
          <p:spPr>
            <a:xfrm>
              <a:off x="153034" y="3827928"/>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grpSp>
        <p:nvGrpSpPr>
          <p:cNvPr id="9" name="Group 8">
            <a:extLst>
              <a:ext uri="{FF2B5EF4-FFF2-40B4-BE49-F238E27FC236}">
                <a16:creationId xmlns:a16="http://schemas.microsoft.com/office/drawing/2014/main" id="{6ADCAB9C-DB87-443A-84CB-E901C2DECCB0}"/>
              </a:ext>
            </a:extLst>
          </p:cNvPr>
          <p:cNvGrpSpPr/>
          <p:nvPr/>
        </p:nvGrpSpPr>
        <p:grpSpPr>
          <a:xfrm>
            <a:off x="204047" y="3807947"/>
            <a:ext cx="3524675" cy="251801"/>
            <a:chOff x="153034" y="4392511"/>
            <a:chExt cx="2643506" cy="251801"/>
          </a:xfrm>
        </p:grpSpPr>
        <p:sp>
          <p:nvSpPr>
            <p:cNvPr id="87" name="Rectangle 13">
              <a:extLst>
                <a:ext uri="{FF2B5EF4-FFF2-40B4-BE49-F238E27FC236}">
                  <a16:creationId xmlns:a16="http://schemas.microsoft.com/office/drawing/2014/main" id="{9D397D49-CE47-4542-A0B9-C4FA55DE1D93}"/>
                </a:ext>
              </a:extLst>
            </p:cNvPr>
            <p:cNvSpPr txBox="1">
              <a:spLocks/>
            </p:cNvSpPr>
            <p:nvPr/>
          </p:nvSpPr>
          <p:spPr>
            <a:xfrm>
              <a:off x="478986" y="4392511"/>
              <a:ext cx="2317554"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Determine the</a:t>
              </a:r>
              <a:r>
                <a:rPr lang="en-US" sz="1500" b="1" dirty="0">
                  <a:solidFill>
                    <a:srgbClr val="339966"/>
                  </a:solidFill>
                </a:rPr>
                <a:t> TA needs landscape</a:t>
              </a:r>
            </a:p>
          </p:txBody>
        </p:sp>
        <p:sp>
          <p:nvSpPr>
            <p:cNvPr id="88" name="Cube 87">
              <a:extLst>
                <a:ext uri="{FF2B5EF4-FFF2-40B4-BE49-F238E27FC236}">
                  <a16:creationId xmlns:a16="http://schemas.microsoft.com/office/drawing/2014/main" id="{8E9BAD19-EA69-4673-8777-B61D13DB11C2}"/>
                </a:ext>
              </a:extLst>
            </p:cNvPr>
            <p:cNvSpPr/>
            <p:nvPr/>
          </p:nvSpPr>
          <p:spPr>
            <a:xfrm>
              <a:off x="153034" y="4463337"/>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grpSp>
        <p:nvGrpSpPr>
          <p:cNvPr id="22" name="Group 21">
            <a:extLst>
              <a:ext uri="{FF2B5EF4-FFF2-40B4-BE49-F238E27FC236}">
                <a16:creationId xmlns:a16="http://schemas.microsoft.com/office/drawing/2014/main" id="{C2751EEC-4B0E-4EF2-B614-206A8FEF1BD5}"/>
              </a:ext>
            </a:extLst>
          </p:cNvPr>
          <p:cNvGrpSpPr/>
          <p:nvPr/>
        </p:nvGrpSpPr>
        <p:grpSpPr>
          <a:xfrm>
            <a:off x="4285067" y="4143062"/>
            <a:ext cx="7891666" cy="376065"/>
            <a:chOff x="3225251" y="3983005"/>
            <a:chExt cx="5918749" cy="360000"/>
          </a:xfrm>
        </p:grpSpPr>
        <p:sp>
          <p:nvSpPr>
            <p:cNvPr id="96" name="Freeform 5">
              <a:extLst>
                <a:ext uri="{FF2B5EF4-FFF2-40B4-BE49-F238E27FC236}">
                  <a16:creationId xmlns:a16="http://schemas.microsoft.com/office/drawing/2014/main" id="{1D5B7053-DFA2-4F98-A353-1C4CAF92A649}"/>
                </a:ext>
              </a:extLst>
            </p:cNvPr>
            <p:cNvSpPr>
              <a:spLocks/>
            </p:cNvSpPr>
            <p:nvPr/>
          </p:nvSpPr>
          <p:spPr bwMode="blackWhite">
            <a:xfrm>
              <a:off x="3225251" y="3983005"/>
              <a:ext cx="5918749" cy="360000"/>
            </a:xfrm>
            <a:custGeom>
              <a:avLst/>
              <a:gdLst>
                <a:gd name="T0" fmla="*/ 0 w 1017"/>
                <a:gd name="T1" fmla="*/ 0 h 576"/>
                <a:gd name="T2" fmla="*/ 913 w 1017"/>
                <a:gd name="T3" fmla="*/ 0 h 576"/>
                <a:gd name="T4" fmla="*/ 1017 w 1017"/>
                <a:gd name="T5" fmla="*/ 288 h 576"/>
                <a:gd name="T6" fmla="*/ 913 w 1017"/>
                <a:gd name="T7" fmla="*/ 576 h 576"/>
                <a:gd name="T8" fmla="*/ 0 w 1017"/>
                <a:gd name="T9" fmla="*/ 576 h 576"/>
                <a:gd name="T10" fmla="*/ 0 w 1017"/>
                <a:gd name="T11" fmla="*/ 288 h 576"/>
                <a:gd name="T12" fmla="*/ 0 w 1017"/>
                <a:gd name="T13" fmla="*/ 0 h 576"/>
                <a:gd name="T14" fmla="*/ 0 60000 65536"/>
                <a:gd name="T15" fmla="*/ 0 60000 65536"/>
                <a:gd name="T16" fmla="*/ 0 60000 65536"/>
                <a:gd name="T17" fmla="*/ 0 60000 65536"/>
                <a:gd name="T18" fmla="*/ 0 60000 65536"/>
                <a:gd name="T19" fmla="*/ 0 60000 65536"/>
                <a:gd name="T20" fmla="*/ 0 60000 65536"/>
                <a:gd name="T21" fmla="*/ 0 w 1017"/>
                <a:gd name="T22" fmla="*/ 0 h 576"/>
                <a:gd name="T23" fmla="*/ 1017 w 1017"/>
                <a:gd name="T24" fmla="*/ 576 h 576"/>
                <a:gd name="connsiteX0" fmla="*/ 0 w 9199"/>
                <a:gd name="connsiteY0" fmla="*/ 0 h 10000"/>
                <a:gd name="connsiteX1" fmla="*/ 8977 w 9199"/>
                <a:gd name="connsiteY1" fmla="*/ 0 h 10000"/>
                <a:gd name="connsiteX2" fmla="*/ 9199 w 9199"/>
                <a:gd name="connsiteY2" fmla="*/ 4759 h 10000"/>
                <a:gd name="connsiteX3" fmla="*/ 8977 w 9199"/>
                <a:gd name="connsiteY3" fmla="*/ 10000 h 10000"/>
                <a:gd name="connsiteX4" fmla="*/ 0 w 9199"/>
                <a:gd name="connsiteY4" fmla="*/ 10000 h 10000"/>
                <a:gd name="connsiteX5" fmla="*/ 0 w 9199"/>
                <a:gd name="connsiteY5" fmla="*/ 5000 h 10000"/>
                <a:gd name="connsiteX6" fmla="*/ 0 w 9199"/>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9" h="10000">
                  <a:moveTo>
                    <a:pt x="0" y="0"/>
                  </a:moveTo>
                  <a:lnTo>
                    <a:pt x="8977" y="0"/>
                  </a:lnTo>
                  <a:lnTo>
                    <a:pt x="9199" y="4759"/>
                  </a:lnTo>
                  <a:lnTo>
                    <a:pt x="8977" y="10000"/>
                  </a:lnTo>
                  <a:lnTo>
                    <a:pt x="0" y="10000"/>
                  </a:lnTo>
                  <a:lnTo>
                    <a:pt x="0" y="5000"/>
                  </a:lnTo>
                  <a:lnTo>
                    <a:pt x="0" y="0"/>
                  </a:lnTo>
                  <a:close/>
                </a:path>
              </a:pathLst>
            </a:custGeom>
            <a:solidFill>
              <a:schemeClr val="accent3"/>
            </a:solidFill>
            <a:ln w="9525">
              <a:solidFill>
                <a:srgbClr val="018064"/>
              </a:solidFill>
              <a:round/>
              <a:headEnd/>
              <a:tailEnd/>
            </a:ln>
          </p:spPr>
          <p:txBody>
            <a:bodyPr wrap="square" lIns="216000" tIns="0" rIns="108000" bIns="0" anchor="ctr">
              <a:noAutofit/>
            </a:bodyPr>
            <a:lstStyle>
              <a:defPPr>
                <a:defRPr lang="en-US"/>
              </a:defPPr>
              <a:lvl1pPr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5pPr>
              <a:lvl6pPr marL="2286000" algn="l" defTabSz="914400" rtl="0" eaLnBrk="1" latinLnBrk="0" hangingPunct="1">
                <a:defRPr sz="1600" kern="1200">
                  <a:solidFill>
                    <a:schemeClr val="tx1"/>
                  </a:solidFill>
                  <a:latin typeface="Arial" panose="020B0604020202020204" pitchFamily="34" charset="0"/>
                  <a:ea typeface="-윤고딕130" pitchFamily="18" charset="-127"/>
                  <a:cs typeface="+mn-cs"/>
                </a:defRPr>
              </a:lvl6pPr>
              <a:lvl7pPr marL="2743200" algn="l" defTabSz="914400" rtl="0" eaLnBrk="1" latinLnBrk="0" hangingPunct="1">
                <a:defRPr sz="1600" kern="1200">
                  <a:solidFill>
                    <a:schemeClr val="tx1"/>
                  </a:solidFill>
                  <a:latin typeface="Arial" panose="020B0604020202020204" pitchFamily="34" charset="0"/>
                  <a:ea typeface="-윤고딕130" pitchFamily="18" charset="-127"/>
                  <a:cs typeface="+mn-cs"/>
                </a:defRPr>
              </a:lvl7pPr>
              <a:lvl8pPr marL="3200400" algn="l" defTabSz="914400" rtl="0" eaLnBrk="1" latinLnBrk="0" hangingPunct="1">
                <a:defRPr sz="1600" kern="1200">
                  <a:solidFill>
                    <a:schemeClr val="tx1"/>
                  </a:solidFill>
                  <a:latin typeface="Arial" panose="020B0604020202020204" pitchFamily="34" charset="0"/>
                  <a:ea typeface="-윤고딕130" pitchFamily="18" charset="-127"/>
                  <a:cs typeface="+mn-cs"/>
                </a:defRPr>
              </a:lvl8pPr>
              <a:lvl9pPr marL="3657600" algn="l" defTabSz="914400" rtl="0" eaLnBrk="1" latinLnBrk="0" hangingPunct="1">
                <a:defRPr sz="1600" kern="1200">
                  <a:solidFill>
                    <a:schemeClr val="tx1"/>
                  </a:solidFill>
                  <a:latin typeface="Arial" panose="020B0604020202020204" pitchFamily="34" charset="0"/>
                  <a:ea typeface="-윤고딕130" pitchFamily="18" charset="-127"/>
                  <a:cs typeface="+mn-cs"/>
                </a:defRPr>
              </a:lvl9pPr>
            </a:lstStyle>
            <a:p>
              <a:pPr defTabSz="914013">
                <a:buSzPct val="120000"/>
                <a:defRPr/>
              </a:pPr>
              <a:r>
                <a:rPr lang="en-US" altLang="x-none" sz="1500" b="1" dirty="0">
                  <a:solidFill>
                    <a:srgbClr val="000000"/>
                  </a:solidFill>
                </a:rPr>
                <a:t>    Ensure government funding for TA delivery</a:t>
              </a:r>
            </a:p>
          </p:txBody>
        </p:sp>
        <p:sp>
          <p:nvSpPr>
            <p:cNvPr id="101" name="Cube 100">
              <a:extLst>
                <a:ext uri="{FF2B5EF4-FFF2-40B4-BE49-F238E27FC236}">
                  <a16:creationId xmlns:a16="http://schemas.microsoft.com/office/drawing/2014/main" id="{95782699-9C25-4BCE-9F53-FC8C02E9A76A}"/>
                </a:ext>
              </a:extLst>
            </p:cNvPr>
            <p:cNvSpPr/>
            <p:nvPr/>
          </p:nvSpPr>
          <p:spPr>
            <a:xfrm>
              <a:off x="3255372" y="4070727"/>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grpSp>
        <p:nvGrpSpPr>
          <p:cNvPr id="11" name="Group 10">
            <a:extLst>
              <a:ext uri="{FF2B5EF4-FFF2-40B4-BE49-F238E27FC236}">
                <a16:creationId xmlns:a16="http://schemas.microsoft.com/office/drawing/2014/main" id="{CA9A064B-16DC-40F7-B115-9A55D2A4C6FE}"/>
              </a:ext>
            </a:extLst>
          </p:cNvPr>
          <p:cNvGrpSpPr/>
          <p:nvPr/>
        </p:nvGrpSpPr>
        <p:grpSpPr>
          <a:xfrm>
            <a:off x="200337" y="4552240"/>
            <a:ext cx="11952000" cy="360000"/>
            <a:chOff x="150253" y="5053279"/>
            <a:chExt cx="8964000" cy="360000"/>
          </a:xfrm>
        </p:grpSpPr>
        <p:sp>
          <p:nvSpPr>
            <p:cNvPr id="67" name="Freeform 5">
              <a:extLst>
                <a:ext uri="{FF2B5EF4-FFF2-40B4-BE49-F238E27FC236}">
                  <a16:creationId xmlns:a16="http://schemas.microsoft.com/office/drawing/2014/main" id="{B2A32679-2A45-4668-A813-B307DA7D5A1E}"/>
                </a:ext>
              </a:extLst>
            </p:cNvPr>
            <p:cNvSpPr>
              <a:spLocks/>
            </p:cNvSpPr>
            <p:nvPr/>
          </p:nvSpPr>
          <p:spPr bwMode="blackWhite">
            <a:xfrm>
              <a:off x="150253" y="5053279"/>
              <a:ext cx="8964000" cy="360000"/>
            </a:xfrm>
            <a:custGeom>
              <a:avLst/>
              <a:gdLst>
                <a:gd name="T0" fmla="*/ 0 w 1017"/>
                <a:gd name="T1" fmla="*/ 0 h 576"/>
                <a:gd name="T2" fmla="*/ 913 w 1017"/>
                <a:gd name="T3" fmla="*/ 0 h 576"/>
                <a:gd name="T4" fmla="*/ 1017 w 1017"/>
                <a:gd name="T5" fmla="*/ 288 h 576"/>
                <a:gd name="T6" fmla="*/ 913 w 1017"/>
                <a:gd name="T7" fmla="*/ 576 h 576"/>
                <a:gd name="T8" fmla="*/ 0 w 1017"/>
                <a:gd name="T9" fmla="*/ 576 h 576"/>
                <a:gd name="T10" fmla="*/ 0 w 1017"/>
                <a:gd name="T11" fmla="*/ 288 h 576"/>
                <a:gd name="T12" fmla="*/ 0 w 1017"/>
                <a:gd name="T13" fmla="*/ 0 h 576"/>
                <a:gd name="T14" fmla="*/ 0 60000 65536"/>
                <a:gd name="T15" fmla="*/ 0 60000 65536"/>
                <a:gd name="T16" fmla="*/ 0 60000 65536"/>
                <a:gd name="T17" fmla="*/ 0 60000 65536"/>
                <a:gd name="T18" fmla="*/ 0 60000 65536"/>
                <a:gd name="T19" fmla="*/ 0 60000 65536"/>
                <a:gd name="T20" fmla="*/ 0 60000 65536"/>
                <a:gd name="T21" fmla="*/ 0 w 1017"/>
                <a:gd name="T22" fmla="*/ 0 h 576"/>
                <a:gd name="T23" fmla="*/ 1017 w 1017"/>
                <a:gd name="T24" fmla="*/ 576 h 576"/>
                <a:gd name="connsiteX0" fmla="*/ 0 w 9199"/>
                <a:gd name="connsiteY0" fmla="*/ 0 h 10000"/>
                <a:gd name="connsiteX1" fmla="*/ 8977 w 9199"/>
                <a:gd name="connsiteY1" fmla="*/ 0 h 10000"/>
                <a:gd name="connsiteX2" fmla="*/ 9199 w 9199"/>
                <a:gd name="connsiteY2" fmla="*/ 4759 h 10000"/>
                <a:gd name="connsiteX3" fmla="*/ 8977 w 9199"/>
                <a:gd name="connsiteY3" fmla="*/ 10000 h 10000"/>
                <a:gd name="connsiteX4" fmla="*/ 0 w 9199"/>
                <a:gd name="connsiteY4" fmla="*/ 10000 h 10000"/>
                <a:gd name="connsiteX5" fmla="*/ 0 w 9199"/>
                <a:gd name="connsiteY5" fmla="*/ 5000 h 10000"/>
                <a:gd name="connsiteX6" fmla="*/ 0 w 9199"/>
                <a:gd name="connsiteY6" fmla="*/ 0 h 10000"/>
                <a:gd name="connsiteX0" fmla="*/ 0 w 10086"/>
                <a:gd name="connsiteY0" fmla="*/ 0 h 10000"/>
                <a:gd name="connsiteX1" fmla="*/ 9845 w 10086"/>
                <a:gd name="connsiteY1" fmla="*/ 0 h 10000"/>
                <a:gd name="connsiteX2" fmla="*/ 10086 w 10086"/>
                <a:gd name="connsiteY2" fmla="*/ 4759 h 10000"/>
                <a:gd name="connsiteX3" fmla="*/ 9845 w 10086"/>
                <a:gd name="connsiteY3" fmla="*/ 10000 h 10000"/>
                <a:gd name="connsiteX4" fmla="*/ 86 w 10086"/>
                <a:gd name="connsiteY4" fmla="*/ 10000 h 10000"/>
                <a:gd name="connsiteX5" fmla="*/ 86 w 10086"/>
                <a:gd name="connsiteY5" fmla="*/ 5000 h 10000"/>
                <a:gd name="connsiteX6" fmla="*/ 0 w 10086"/>
                <a:gd name="connsiteY6" fmla="*/ 0 h 10000"/>
                <a:gd name="connsiteX0" fmla="*/ 27 w 10113"/>
                <a:gd name="connsiteY0" fmla="*/ 0 h 10000"/>
                <a:gd name="connsiteX1" fmla="*/ 9872 w 10113"/>
                <a:gd name="connsiteY1" fmla="*/ 0 h 10000"/>
                <a:gd name="connsiteX2" fmla="*/ 10113 w 10113"/>
                <a:gd name="connsiteY2" fmla="*/ 4759 h 10000"/>
                <a:gd name="connsiteX3" fmla="*/ 9872 w 10113"/>
                <a:gd name="connsiteY3" fmla="*/ 10000 h 10000"/>
                <a:gd name="connsiteX4" fmla="*/ 113 w 10113"/>
                <a:gd name="connsiteY4" fmla="*/ 10000 h 10000"/>
                <a:gd name="connsiteX5" fmla="*/ 6 w 10113"/>
                <a:gd name="connsiteY5" fmla="*/ 5287 h 10000"/>
                <a:gd name="connsiteX6" fmla="*/ 27 w 10113"/>
                <a:gd name="connsiteY6" fmla="*/ 0 h 10000"/>
                <a:gd name="connsiteX0" fmla="*/ 27 w 10113"/>
                <a:gd name="connsiteY0" fmla="*/ 0 h 10000"/>
                <a:gd name="connsiteX1" fmla="*/ 9872 w 10113"/>
                <a:gd name="connsiteY1" fmla="*/ 0 h 10000"/>
                <a:gd name="connsiteX2" fmla="*/ 10113 w 10113"/>
                <a:gd name="connsiteY2" fmla="*/ 4759 h 10000"/>
                <a:gd name="connsiteX3" fmla="*/ 9872 w 10113"/>
                <a:gd name="connsiteY3" fmla="*/ 10000 h 10000"/>
                <a:gd name="connsiteX4" fmla="*/ 27 w 10113"/>
                <a:gd name="connsiteY4" fmla="*/ 10000 h 10000"/>
                <a:gd name="connsiteX5" fmla="*/ 6 w 10113"/>
                <a:gd name="connsiteY5" fmla="*/ 5287 h 10000"/>
                <a:gd name="connsiteX6" fmla="*/ 27 w 10113"/>
                <a:gd name="connsiteY6" fmla="*/ 0 h 10000"/>
                <a:gd name="connsiteX0" fmla="*/ 1230 w 11316"/>
                <a:gd name="connsiteY0" fmla="*/ 0 h 10000"/>
                <a:gd name="connsiteX1" fmla="*/ 11075 w 11316"/>
                <a:gd name="connsiteY1" fmla="*/ 0 h 10000"/>
                <a:gd name="connsiteX2" fmla="*/ 11316 w 11316"/>
                <a:gd name="connsiteY2" fmla="*/ 4759 h 10000"/>
                <a:gd name="connsiteX3" fmla="*/ 11075 w 11316"/>
                <a:gd name="connsiteY3" fmla="*/ 10000 h 10000"/>
                <a:gd name="connsiteX4" fmla="*/ 1230 w 11316"/>
                <a:gd name="connsiteY4" fmla="*/ 10000 h 10000"/>
                <a:gd name="connsiteX5" fmla="*/ 1230 w 11316"/>
                <a:gd name="connsiteY5" fmla="*/ 0 h 10000"/>
                <a:gd name="connsiteX0" fmla="*/ 727 w 10813"/>
                <a:gd name="connsiteY0" fmla="*/ 0 h 10000"/>
                <a:gd name="connsiteX1" fmla="*/ 10572 w 10813"/>
                <a:gd name="connsiteY1" fmla="*/ 0 h 10000"/>
                <a:gd name="connsiteX2" fmla="*/ 10813 w 10813"/>
                <a:gd name="connsiteY2" fmla="*/ 4759 h 10000"/>
                <a:gd name="connsiteX3" fmla="*/ 10572 w 10813"/>
                <a:gd name="connsiteY3" fmla="*/ 10000 h 10000"/>
                <a:gd name="connsiteX4" fmla="*/ 727 w 10813"/>
                <a:gd name="connsiteY4" fmla="*/ 10000 h 10000"/>
                <a:gd name="connsiteX5" fmla="*/ 727 w 10813"/>
                <a:gd name="connsiteY5" fmla="*/ 0 h 10000"/>
                <a:gd name="connsiteX0" fmla="*/ 0 w 10086"/>
                <a:gd name="connsiteY0" fmla="*/ 0 h 10000"/>
                <a:gd name="connsiteX1" fmla="*/ 9845 w 10086"/>
                <a:gd name="connsiteY1" fmla="*/ 0 h 10000"/>
                <a:gd name="connsiteX2" fmla="*/ 10086 w 10086"/>
                <a:gd name="connsiteY2" fmla="*/ 4759 h 10000"/>
                <a:gd name="connsiteX3" fmla="*/ 9845 w 10086"/>
                <a:gd name="connsiteY3" fmla="*/ 10000 h 10000"/>
                <a:gd name="connsiteX4" fmla="*/ 0 w 10086"/>
                <a:gd name="connsiteY4" fmla="*/ 10000 h 10000"/>
                <a:gd name="connsiteX5" fmla="*/ 0 w 10086"/>
                <a:gd name="connsiteY5" fmla="*/ 0 h 10000"/>
                <a:gd name="connsiteX0" fmla="*/ 0 w 11075"/>
                <a:gd name="connsiteY0" fmla="*/ 0 h 10000"/>
                <a:gd name="connsiteX1" fmla="*/ 9845 w 11075"/>
                <a:gd name="connsiteY1" fmla="*/ 0 h 10000"/>
                <a:gd name="connsiteX2" fmla="*/ 9845 w 11075"/>
                <a:gd name="connsiteY2" fmla="*/ 10000 h 10000"/>
                <a:gd name="connsiteX3" fmla="*/ 0 w 11075"/>
                <a:gd name="connsiteY3" fmla="*/ 10000 h 10000"/>
                <a:gd name="connsiteX4" fmla="*/ 0 w 11075"/>
                <a:gd name="connsiteY4" fmla="*/ 0 h 10000"/>
                <a:gd name="connsiteX0" fmla="*/ 0 w 10576"/>
                <a:gd name="connsiteY0" fmla="*/ 0 h 10000"/>
                <a:gd name="connsiteX1" fmla="*/ 9845 w 10576"/>
                <a:gd name="connsiteY1" fmla="*/ 0 h 10000"/>
                <a:gd name="connsiteX2" fmla="*/ 9845 w 10576"/>
                <a:gd name="connsiteY2" fmla="*/ 10000 h 10000"/>
                <a:gd name="connsiteX3" fmla="*/ 0 w 10576"/>
                <a:gd name="connsiteY3" fmla="*/ 10000 h 10000"/>
                <a:gd name="connsiteX4" fmla="*/ 0 w 10576"/>
                <a:gd name="connsiteY4" fmla="*/ 0 h 10000"/>
                <a:gd name="connsiteX0" fmla="*/ 0 w 9852"/>
                <a:gd name="connsiteY0" fmla="*/ 0 h 10000"/>
                <a:gd name="connsiteX1" fmla="*/ 9845 w 9852"/>
                <a:gd name="connsiteY1" fmla="*/ 0 h 10000"/>
                <a:gd name="connsiteX2" fmla="*/ 9845 w 9852"/>
                <a:gd name="connsiteY2" fmla="*/ 10000 h 10000"/>
                <a:gd name="connsiteX3" fmla="*/ 0 w 9852"/>
                <a:gd name="connsiteY3" fmla="*/ 10000 h 10000"/>
                <a:gd name="connsiteX4" fmla="*/ 0 w 9852"/>
                <a:gd name="connsiteY4" fmla="*/ 0 h 10000"/>
                <a:gd name="connsiteX0" fmla="*/ 0 w 10000"/>
                <a:gd name="connsiteY0" fmla="*/ 0 h 10000"/>
                <a:gd name="connsiteX1" fmla="*/ 9993 w 10000"/>
                <a:gd name="connsiteY1" fmla="*/ 0 h 10000"/>
                <a:gd name="connsiteX2" fmla="*/ 9993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9993" y="0"/>
                  </a:lnTo>
                  <a:cubicBezTo>
                    <a:pt x="10003" y="10486"/>
                    <a:pt x="10003" y="-5778"/>
                    <a:pt x="9993" y="10000"/>
                  </a:cubicBezTo>
                  <a:lnTo>
                    <a:pt x="0" y="10000"/>
                  </a:lnTo>
                  <a:cubicBezTo>
                    <a:pt x="11" y="2011"/>
                    <a:pt x="11" y="9139"/>
                    <a:pt x="0" y="0"/>
                  </a:cubicBezTo>
                  <a:close/>
                </a:path>
              </a:pathLst>
            </a:custGeom>
            <a:solidFill>
              <a:srgbClr val="D1F0E0"/>
            </a:solidFill>
            <a:ln w="9525">
              <a:solidFill>
                <a:srgbClr val="018064"/>
              </a:solidFill>
              <a:round/>
              <a:headEnd/>
              <a:tailEnd/>
            </a:ln>
          </p:spPr>
          <p:txBody>
            <a:bodyPr wrap="square" lIns="216000" tIns="0" rIns="108000" bIns="0" anchor="ctr">
              <a:noAutofit/>
            </a:bodyPr>
            <a:lstStyle>
              <a:defPPr>
                <a:defRPr lang="en-US"/>
              </a:defPPr>
              <a:lvl1pPr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5pPr>
              <a:lvl6pPr marL="2286000" algn="l" defTabSz="914400" rtl="0" eaLnBrk="1" latinLnBrk="0" hangingPunct="1">
                <a:defRPr sz="1600" kern="1200">
                  <a:solidFill>
                    <a:schemeClr val="tx1"/>
                  </a:solidFill>
                  <a:latin typeface="Arial" panose="020B0604020202020204" pitchFamily="34" charset="0"/>
                  <a:ea typeface="-윤고딕130" pitchFamily="18" charset="-127"/>
                  <a:cs typeface="+mn-cs"/>
                </a:defRPr>
              </a:lvl6pPr>
              <a:lvl7pPr marL="2743200" algn="l" defTabSz="914400" rtl="0" eaLnBrk="1" latinLnBrk="0" hangingPunct="1">
                <a:defRPr sz="1600" kern="1200">
                  <a:solidFill>
                    <a:schemeClr val="tx1"/>
                  </a:solidFill>
                  <a:latin typeface="Arial" panose="020B0604020202020204" pitchFamily="34" charset="0"/>
                  <a:ea typeface="-윤고딕130" pitchFamily="18" charset="-127"/>
                  <a:cs typeface="+mn-cs"/>
                </a:defRPr>
              </a:lvl7pPr>
              <a:lvl8pPr marL="3200400" algn="l" defTabSz="914400" rtl="0" eaLnBrk="1" latinLnBrk="0" hangingPunct="1">
                <a:defRPr sz="1600" kern="1200">
                  <a:solidFill>
                    <a:schemeClr val="tx1"/>
                  </a:solidFill>
                  <a:latin typeface="Arial" panose="020B0604020202020204" pitchFamily="34" charset="0"/>
                  <a:ea typeface="-윤고딕130" pitchFamily="18" charset="-127"/>
                  <a:cs typeface="+mn-cs"/>
                </a:defRPr>
              </a:lvl8pPr>
              <a:lvl9pPr marL="3657600" algn="l" defTabSz="914400" rtl="0" eaLnBrk="1" latinLnBrk="0" hangingPunct="1">
                <a:defRPr sz="1600" kern="1200">
                  <a:solidFill>
                    <a:schemeClr val="tx1"/>
                  </a:solidFill>
                  <a:latin typeface="Arial" panose="020B0604020202020204" pitchFamily="34" charset="0"/>
                  <a:ea typeface="-윤고딕130" pitchFamily="18" charset="-127"/>
                  <a:cs typeface="+mn-cs"/>
                </a:defRPr>
              </a:lvl9pPr>
            </a:lstStyle>
            <a:p>
              <a:pPr defTabSz="914013">
                <a:buSzPct val="120000"/>
                <a:defRPr/>
              </a:pPr>
              <a:endParaRPr lang="en-US" altLang="x-none" sz="1500" b="1" dirty="0">
                <a:solidFill>
                  <a:srgbClr val="000000"/>
                </a:solidFill>
              </a:endParaRPr>
            </a:p>
          </p:txBody>
        </p:sp>
        <p:sp>
          <p:nvSpPr>
            <p:cNvPr id="74" name="Rectangle 3">
              <a:extLst>
                <a:ext uri="{FF2B5EF4-FFF2-40B4-BE49-F238E27FC236}">
                  <a16:creationId xmlns:a16="http://schemas.microsoft.com/office/drawing/2014/main" id="{21E477BF-25C8-413D-8231-457021B4AB44}"/>
                </a:ext>
              </a:extLst>
            </p:cNvPr>
            <p:cNvSpPr txBox="1">
              <a:spLocks/>
            </p:cNvSpPr>
            <p:nvPr/>
          </p:nvSpPr>
          <p:spPr>
            <a:xfrm>
              <a:off x="485185" y="5136164"/>
              <a:ext cx="5472000"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defTabSz="914013">
                <a:buClrTx/>
                <a:buSzPct val="120000"/>
                <a:defRPr/>
              </a:pPr>
              <a:r>
                <a:rPr lang="en-US" altLang="x-none" sz="1500" b="1" dirty="0">
                  <a:solidFill>
                    <a:srgbClr val="000000"/>
                  </a:solidFill>
                  <a:ea typeface="-윤고딕130" pitchFamily="18" charset="-127"/>
                </a:rPr>
                <a:t>Build NPHCDA staff capacity to independently run the TSP</a:t>
              </a:r>
            </a:p>
          </p:txBody>
        </p:sp>
        <p:sp>
          <p:nvSpPr>
            <p:cNvPr id="77" name="Cube 76">
              <a:extLst>
                <a:ext uri="{FF2B5EF4-FFF2-40B4-BE49-F238E27FC236}">
                  <a16:creationId xmlns:a16="http://schemas.microsoft.com/office/drawing/2014/main" id="{2CB657F7-7F51-42A0-A9C4-5A8C21CBF94F}"/>
                </a:ext>
              </a:extLst>
            </p:cNvPr>
            <p:cNvSpPr/>
            <p:nvPr/>
          </p:nvSpPr>
          <p:spPr>
            <a:xfrm>
              <a:off x="164166" y="5136164"/>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grpSp>
        <p:nvGrpSpPr>
          <p:cNvPr id="12" name="Group 11">
            <a:extLst>
              <a:ext uri="{FF2B5EF4-FFF2-40B4-BE49-F238E27FC236}">
                <a16:creationId xmlns:a16="http://schemas.microsoft.com/office/drawing/2014/main" id="{70EC7144-65A3-457A-988C-6C407D0BF79E}"/>
              </a:ext>
            </a:extLst>
          </p:cNvPr>
          <p:cNvGrpSpPr/>
          <p:nvPr/>
        </p:nvGrpSpPr>
        <p:grpSpPr>
          <a:xfrm>
            <a:off x="200337" y="5052471"/>
            <a:ext cx="11955875" cy="360000"/>
            <a:chOff x="150253" y="4649364"/>
            <a:chExt cx="8966906" cy="360000"/>
          </a:xfrm>
        </p:grpSpPr>
        <p:sp>
          <p:nvSpPr>
            <p:cNvPr id="94" name="Freeform 5">
              <a:extLst>
                <a:ext uri="{FF2B5EF4-FFF2-40B4-BE49-F238E27FC236}">
                  <a16:creationId xmlns:a16="http://schemas.microsoft.com/office/drawing/2014/main" id="{599F8447-1230-4C78-8F13-73B344D0EC4C}"/>
                </a:ext>
              </a:extLst>
            </p:cNvPr>
            <p:cNvSpPr>
              <a:spLocks/>
            </p:cNvSpPr>
            <p:nvPr/>
          </p:nvSpPr>
          <p:spPr bwMode="blackWhite">
            <a:xfrm>
              <a:off x="150253" y="4649364"/>
              <a:ext cx="8966906" cy="360000"/>
            </a:xfrm>
            <a:custGeom>
              <a:avLst/>
              <a:gdLst>
                <a:gd name="T0" fmla="*/ 0 w 1017"/>
                <a:gd name="T1" fmla="*/ 0 h 576"/>
                <a:gd name="T2" fmla="*/ 913 w 1017"/>
                <a:gd name="T3" fmla="*/ 0 h 576"/>
                <a:gd name="T4" fmla="*/ 1017 w 1017"/>
                <a:gd name="T5" fmla="*/ 288 h 576"/>
                <a:gd name="T6" fmla="*/ 913 w 1017"/>
                <a:gd name="T7" fmla="*/ 576 h 576"/>
                <a:gd name="T8" fmla="*/ 0 w 1017"/>
                <a:gd name="T9" fmla="*/ 576 h 576"/>
                <a:gd name="T10" fmla="*/ 0 w 1017"/>
                <a:gd name="T11" fmla="*/ 288 h 576"/>
                <a:gd name="T12" fmla="*/ 0 w 1017"/>
                <a:gd name="T13" fmla="*/ 0 h 576"/>
                <a:gd name="T14" fmla="*/ 0 60000 65536"/>
                <a:gd name="T15" fmla="*/ 0 60000 65536"/>
                <a:gd name="T16" fmla="*/ 0 60000 65536"/>
                <a:gd name="T17" fmla="*/ 0 60000 65536"/>
                <a:gd name="T18" fmla="*/ 0 60000 65536"/>
                <a:gd name="T19" fmla="*/ 0 60000 65536"/>
                <a:gd name="T20" fmla="*/ 0 60000 65536"/>
                <a:gd name="T21" fmla="*/ 0 w 1017"/>
                <a:gd name="T22" fmla="*/ 0 h 576"/>
                <a:gd name="T23" fmla="*/ 1017 w 1017"/>
                <a:gd name="T24" fmla="*/ 576 h 576"/>
                <a:gd name="connsiteX0" fmla="*/ 0 w 9199"/>
                <a:gd name="connsiteY0" fmla="*/ 0 h 10000"/>
                <a:gd name="connsiteX1" fmla="*/ 8977 w 9199"/>
                <a:gd name="connsiteY1" fmla="*/ 0 h 10000"/>
                <a:gd name="connsiteX2" fmla="*/ 9199 w 9199"/>
                <a:gd name="connsiteY2" fmla="*/ 4759 h 10000"/>
                <a:gd name="connsiteX3" fmla="*/ 8977 w 9199"/>
                <a:gd name="connsiteY3" fmla="*/ 10000 h 10000"/>
                <a:gd name="connsiteX4" fmla="*/ 0 w 9199"/>
                <a:gd name="connsiteY4" fmla="*/ 10000 h 10000"/>
                <a:gd name="connsiteX5" fmla="*/ 0 w 9199"/>
                <a:gd name="connsiteY5" fmla="*/ 5000 h 10000"/>
                <a:gd name="connsiteX6" fmla="*/ 0 w 9199"/>
                <a:gd name="connsiteY6" fmla="*/ 0 h 10000"/>
                <a:gd name="connsiteX0" fmla="*/ 0 w 10086"/>
                <a:gd name="connsiteY0" fmla="*/ 0 h 10000"/>
                <a:gd name="connsiteX1" fmla="*/ 9845 w 10086"/>
                <a:gd name="connsiteY1" fmla="*/ 0 h 10000"/>
                <a:gd name="connsiteX2" fmla="*/ 10086 w 10086"/>
                <a:gd name="connsiteY2" fmla="*/ 4759 h 10000"/>
                <a:gd name="connsiteX3" fmla="*/ 9845 w 10086"/>
                <a:gd name="connsiteY3" fmla="*/ 10000 h 10000"/>
                <a:gd name="connsiteX4" fmla="*/ 86 w 10086"/>
                <a:gd name="connsiteY4" fmla="*/ 10000 h 10000"/>
                <a:gd name="connsiteX5" fmla="*/ 86 w 10086"/>
                <a:gd name="connsiteY5" fmla="*/ 5000 h 10000"/>
                <a:gd name="connsiteX6" fmla="*/ 0 w 10086"/>
                <a:gd name="connsiteY6" fmla="*/ 0 h 10000"/>
                <a:gd name="connsiteX0" fmla="*/ 27 w 10113"/>
                <a:gd name="connsiteY0" fmla="*/ 0 h 10000"/>
                <a:gd name="connsiteX1" fmla="*/ 9872 w 10113"/>
                <a:gd name="connsiteY1" fmla="*/ 0 h 10000"/>
                <a:gd name="connsiteX2" fmla="*/ 10113 w 10113"/>
                <a:gd name="connsiteY2" fmla="*/ 4759 h 10000"/>
                <a:gd name="connsiteX3" fmla="*/ 9872 w 10113"/>
                <a:gd name="connsiteY3" fmla="*/ 10000 h 10000"/>
                <a:gd name="connsiteX4" fmla="*/ 113 w 10113"/>
                <a:gd name="connsiteY4" fmla="*/ 10000 h 10000"/>
                <a:gd name="connsiteX5" fmla="*/ 6 w 10113"/>
                <a:gd name="connsiteY5" fmla="*/ 5287 h 10000"/>
                <a:gd name="connsiteX6" fmla="*/ 27 w 10113"/>
                <a:gd name="connsiteY6" fmla="*/ 0 h 10000"/>
                <a:gd name="connsiteX0" fmla="*/ 27 w 10113"/>
                <a:gd name="connsiteY0" fmla="*/ 0 h 10000"/>
                <a:gd name="connsiteX1" fmla="*/ 9872 w 10113"/>
                <a:gd name="connsiteY1" fmla="*/ 0 h 10000"/>
                <a:gd name="connsiteX2" fmla="*/ 10113 w 10113"/>
                <a:gd name="connsiteY2" fmla="*/ 4759 h 10000"/>
                <a:gd name="connsiteX3" fmla="*/ 9872 w 10113"/>
                <a:gd name="connsiteY3" fmla="*/ 10000 h 10000"/>
                <a:gd name="connsiteX4" fmla="*/ 27 w 10113"/>
                <a:gd name="connsiteY4" fmla="*/ 10000 h 10000"/>
                <a:gd name="connsiteX5" fmla="*/ 6 w 10113"/>
                <a:gd name="connsiteY5" fmla="*/ 5287 h 10000"/>
                <a:gd name="connsiteX6" fmla="*/ 27 w 10113"/>
                <a:gd name="connsiteY6" fmla="*/ 0 h 10000"/>
                <a:gd name="connsiteX0" fmla="*/ 1230 w 11316"/>
                <a:gd name="connsiteY0" fmla="*/ 0 h 10000"/>
                <a:gd name="connsiteX1" fmla="*/ 11075 w 11316"/>
                <a:gd name="connsiteY1" fmla="*/ 0 h 10000"/>
                <a:gd name="connsiteX2" fmla="*/ 11316 w 11316"/>
                <a:gd name="connsiteY2" fmla="*/ 4759 h 10000"/>
                <a:gd name="connsiteX3" fmla="*/ 11075 w 11316"/>
                <a:gd name="connsiteY3" fmla="*/ 10000 h 10000"/>
                <a:gd name="connsiteX4" fmla="*/ 1230 w 11316"/>
                <a:gd name="connsiteY4" fmla="*/ 10000 h 10000"/>
                <a:gd name="connsiteX5" fmla="*/ 1230 w 11316"/>
                <a:gd name="connsiteY5" fmla="*/ 0 h 10000"/>
                <a:gd name="connsiteX0" fmla="*/ 727 w 10813"/>
                <a:gd name="connsiteY0" fmla="*/ 0 h 10000"/>
                <a:gd name="connsiteX1" fmla="*/ 10572 w 10813"/>
                <a:gd name="connsiteY1" fmla="*/ 0 h 10000"/>
                <a:gd name="connsiteX2" fmla="*/ 10813 w 10813"/>
                <a:gd name="connsiteY2" fmla="*/ 4759 h 10000"/>
                <a:gd name="connsiteX3" fmla="*/ 10572 w 10813"/>
                <a:gd name="connsiteY3" fmla="*/ 10000 h 10000"/>
                <a:gd name="connsiteX4" fmla="*/ 727 w 10813"/>
                <a:gd name="connsiteY4" fmla="*/ 10000 h 10000"/>
                <a:gd name="connsiteX5" fmla="*/ 727 w 10813"/>
                <a:gd name="connsiteY5" fmla="*/ 0 h 10000"/>
                <a:gd name="connsiteX0" fmla="*/ 0 w 10086"/>
                <a:gd name="connsiteY0" fmla="*/ 0 h 10000"/>
                <a:gd name="connsiteX1" fmla="*/ 9845 w 10086"/>
                <a:gd name="connsiteY1" fmla="*/ 0 h 10000"/>
                <a:gd name="connsiteX2" fmla="*/ 10086 w 10086"/>
                <a:gd name="connsiteY2" fmla="*/ 4759 h 10000"/>
                <a:gd name="connsiteX3" fmla="*/ 9845 w 10086"/>
                <a:gd name="connsiteY3" fmla="*/ 10000 h 10000"/>
                <a:gd name="connsiteX4" fmla="*/ 0 w 10086"/>
                <a:gd name="connsiteY4" fmla="*/ 10000 h 10000"/>
                <a:gd name="connsiteX5" fmla="*/ 0 w 10086"/>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5064 w 15150"/>
                <a:gd name="connsiteY4" fmla="*/ 10000 h 10000"/>
                <a:gd name="connsiteX5" fmla="*/ 0 w 15150"/>
                <a:gd name="connsiteY5" fmla="*/ 0 h 10000"/>
                <a:gd name="connsiteX0" fmla="*/ 64 w 15214"/>
                <a:gd name="connsiteY0" fmla="*/ 0 h 10000"/>
                <a:gd name="connsiteX1" fmla="*/ 14973 w 15214"/>
                <a:gd name="connsiteY1" fmla="*/ 0 h 10000"/>
                <a:gd name="connsiteX2" fmla="*/ 15214 w 15214"/>
                <a:gd name="connsiteY2" fmla="*/ 4759 h 10000"/>
                <a:gd name="connsiteX3" fmla="*/ 14973 w 15214"/>
                <a:gd name="connsiteY3" fmla="*/ 10000 h 10000"/>
                <a:gd name="connsiteX4" fmla="*/ 0 w 15214"/>
                <a:gd name="connsiteY4" fmla="*/ 10000 h 10000"/>
                <a:gd name="connsiteX5" fmla="*/ 64 w 15214"/>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22 w 15150"/>
                <a:gd name="connsiteY4" fmla="*/ 9138 h 10000"/>
                <a:gd name="connsiteX5" fmla="*/ 0 w 15150"/>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22 w 15150"/>
                <a:gd name="connsiteY4" fmla="*/ 10000 h 10000"/>
                <a:gd name="connsiteX5" fmla="*/ 0 w 15150"/>
                <a:gd name="connsiteY5" fmla="*/ 0 h 10000"/>
                <a:gd name="connsiteX0" fmla="*/ 42 w 15192"/>
                <a:gd name="connsiteY0" fmla="*/ 0 h 10000"/>
                <a:gd name="connsiteX1" fmla="*/ 14951 w 15192"/>
                <a:gd name="connsiteY1" fmla="*/ 0 h 10000"/>
                <a:gd name="connsiteX2" fmla="*/ 15192 w 15192"/>
                <a:gd name="connsiteY2" fmla="*/ 4759 h 10000"/>
                <a:gd name="connsiteX3" fmla="*/ 14951 w 15192"/>
                <a:gd name="connsiteY3" fmla="*/ 10000 h 10000"/>
                <a:gd name="connsiteX4" fmla="*/ 0 w 15192"/>
                <a:gd name="connsiteY4" fmla="*/ 10000 h 10000"/>
                <a:gd name="connsiteX5" fmla="*/ 42 w 15192"/>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1 w 15150"/>
                <a:gd name="connsiteY4" fmla="*/ 9713 h 10000"/>
                <a:gd name="connsiteX5" fmla="*/ 0 w 15150"/>
                <a:gd name="connsiteY5" fmla="*/ 0 h 10000"/>
                <a:gd name="connsiteX0" fmla="*/ 0 w 15150"/>
                <a:gd name="connsiteY0" fmla="*/ 0 h 10288"/>
                <a:gd name="connsiteX1" fmla="*/ 14909 w 15150"/>
                <a:gd name="connsiteY1" fmla="*/ 0 h 10288"/>
                <a:gd name="connsiteX2" fmla="*/ 15150 w 15150"/>
                <a:gd name="connsiteY2" fmla="*/ 4759 h 10288"/>
                <a:gd name="connsiteX3" fmla="*/ 14909 w 15150"/>
                <a:gd name="connsiteY3" fmla="*/ 10000 h 10288"/>
                <a:gd name="connsiteX4" fmla="*/ 1 w 15150"/>
                <a:gd name="connsiteY4" fmla="*/ 10288 h 10288"/>
                <a:gd name="connsiteX5" fmla="*/ 0 w 15150"/>
                <a:gd name="connsiteY5" fmla="*/ 0 h 10288"/>
                <a:gd name="connsiteX0" fmla="*/ 0 w 15150"/>
                <a:gd name="connsiteY0" fmla="*/ 0 h 10863"/>
                <a:gd name="connsiteX1" fmla="*/ 14909 w 15150"/>
                <a:gd name="connsiteY1" fmla="*/ 0 h 10863"/>
                <a:gd name="connsiteX2" fmla="*/ 15150 w 15150"/>
                <a:gd name="connsiteY2" fmla="*/ 4759 h 10863"/>
                <a:gd name="connsiteX3" fmla="*/ 14909 w 15150"/>
                <a:gd name="connsiteY3" fmla="*/ 10000 h 10863"/>
                <a:gd name="connsiteX4" fmla="*/ 22 w 15150"/>
                <a:gd name="connsiteY4" fmla="*/ 10863 h 10863"/>
                <a:gd name="connsiteX5" fmla="*/ 0 w 15150"/>
                <a:gd name="connsiteY5" fmla="*/ 0 h 10863"/>
                <a:gd name="connsiteX0" fmla="*/ 0 w 15150"/>
                <a:gd name="connsiteY0" fmla="*/ 0 h 10288"/>
                <a:gd name="connsiteX1" fmla="*/ 14909 w 15150"/>
                <a:gd name="connsiteY1" fmla="*/ 0 h 10288"/>
                <a:gd name="connsiteX2" fmla="*/ 15150 w 15150"/>
                <a:gd name="connsiteY2" fmla="*/ 4759 h 10288"/>
                <a:gd name="connsiteX3" fmla="*/ 14909 w 15150"/>
                <a:gd name="connsiteY3" fmla="*/ 10000 h 10288"/>
                <a:gd name="connsiteX4" fmla="*/ 22 w 15150"/>
                <a:gd name="connsiteY4" fmla="*/ 10288 h 10288"/>
                <a:gd name="connsiteX5" fmla="*/ 0 w 15150"/>
                <a:gd name="connsiteY5" fmla="*/ 0 h 10288"/>
                <a:gd name="connsiteX0" fmla="*/ 0 w 15150"/>
                <a:gd name="connsiteY0" fmla="*/ 0 h 11150"/>
                <a:gd name="connsiteX1" fmla="*/ 14909 w 15150"/>
                <a:gd name="connsiteY1" fmla="*/ 0 h 11150"/>
                <a:gd name="connsiteX2" fmla="*/ 15150 w 15150"/>
                <a:gd name="connsiteY2" fmla="*/ 4759 h 11150"/>
                <a:gd name="connsiteX3" fmla="*/ 14909 w 15150"/>
                <a:gd name="connsiteY3" fmla="*/ 10000 h 11150"/>
                <a:gd name="connsiteX4" fmla="*/ 22 w 15150"/>
                <a:gd name="connsiteY4" fmla="*/ 11150 h 11150"/>
                <a:gd name="connsiteX5" fmla="*/ 0 w 15150"/>
                <a:gd name="connsiteY5" fmla="*/ 0 h 11150"/>
                <a:gd name="connsiteX0" fmla="*/ 0 w 15150"/>
                <a:gd name="connsiteY0" fmla="*/ 0 h 11150"/>
                <a:gd name="connsiteX1" fmla="*/ 14909 w 15150"/>
                <a:gd name="connsiteY1" fmla="*/ 0 h 11150"/>
                <a:gd name="connsiteX2" fmla="*/ 15150 w 15150"/>
                <a:gd name="connsiteY2" fmla="*/ 4759 h 11150"/>
                <a:gd name="connsiteX3" fmla="*/ 14909 w 15150"/>
                <a:gd name="connsiteY3" fmla="*/ 10000 h 11150"/>
                <a:gd name="connsiteX4" fmla="*/ 22 w 15150"/>
                <a:gd name="connsiteY4" fmla="*/ 11150 h 11150"/>
                <a:gd name="connsiteX5" fmla="*/ 0 w 15150"/>
                <a:gd name="connsiteY5" fmla="*/ 0 h 11150"/>
                <a:gd name="connsiteX0" fmla="*/ 0 w 15150"/>
                <a:gd name="connsiteY0" fmla="*/ 0 h 10575"/>
                <a:gd name="connsiteX1" fmla="*/ 14909 w 15150"/>
                <a:gd name="connsiteY1" fmla="*/ 0 h 10575"/>
                <a:gd name="connsiteX2" fmla="*/ 15150 w 15150"/>
                <a:gd name="connsiteY2" fmla="*/ 4759 h 10575"/>
                <a:gd name="connsiteX3" fmla="*/ 14909 w 15150"/>
                <a:gd name="connsiteY3" fmla="*/ 10000 h 10575"/>
                <a:gd name="connsiteX4" fmla="*/ 22 w 15150"/>
                <a:gd name="connsiteY4" fmla="*/ 10575 h 10575"/>
                <a:gd name="connsiteX5" fmla="*/ 0 w 15150"/>
                <a:gd name="connsiteY5" fmla="*/ 0 h 10575"/>
                <a:gd name="connsiteX0" fmla="*/ 0 w 15150"/>
                <a:gd name="connsiteY0" fmla="*/ 0 h 10575"/>
                <a:gd name="connsiteX1" fmla="*/ 14909 w 15150"/>
                <a:gd name="connsiteY1" fmla="*/ 0 h 10575"/>
                <a:gd name="connsiteX2" fmla="*/ 15150 w 15150"/>
                <a:gd name="connsiteY2" fmla="*/ 4759 h 10575"/>
                <a:gd name="connsiteX3" fmla="*/ 14909 w 15150"/>
                <a:gd name="connsiteY3" fmla="*/ 10000 h 10575"/>
                <a:gd name="connsiteX4" fmla="*/ 1 w 15150"/>
                <a:gd name="connsiteY4" fmla="*/ 10575 h 10575"/>
                <a:gd name="connsiteX5" fmla="*/ 0 w 15150"/>
                <a:gd name="connsiteY5" fmla="*/ 0 h 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50" h="10575">
                  <a:moveTo>
                    <a:pt x="0" y="0"/>
                  </a:moveTo>
                  <a:lnTo>
                    <a:pt x="14909" y="0"/>
                  </a:lnTo>
                  <a:cubicBezTo>
                    <a:pt x="14989" y="1586"/>
                    <a:pt x="15070" y="3173"/>
                    <a:pt x="15150" y="4759"/>
                  </a:cubicBezTo>
                  <a:cubicBezTo>
                    <a:pt x="15070" y="6506"/>
                    <a:pt x="14989" y="8253"/>
                    <a:pt x="14909" y="10000"/>
                  </a:cubicBezTo>
                  <a:lnTo>
                    <a:pt x="1" y="10575"/>
                  </a:lnTo>
                  <a:cubicBezTo>
                    <a:pt x="12" y="2586"/>
                    <a:pt x="11" y="9139"/>
                    <a:pt x="0" y="0"/>
                  </a:cubicBezTo>
                  <a:close/>
                </a:path>
              </a:pathLst>
            </a:custGeom>
            <a:solidFill>
              <a:srgbClr val="D1F0E0"/>
            </a:solidFill>
            <a:ln w="9525">
              <a:solidFill>
                <a:srgbClr val="018064"/>
              </a:solidFill>
              <a:round/>
              <a:headEnd/>
              <a:tailEnd/>
            </a:ln>
          </p:spPr>
          <p:txBody>
            <a:bodyPr wrap="square" lIns="216000" tIns="0" rIns="108000" bIns="0" anchor="ctr">
              <a:noAutofit/>
            </a:bodyPr>
            <a:lstStyle>
              <a:defPPr>
                <a:defRPr lang="en-US"/>
              </a:defPPr>
              <a:lvl1pPr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5pPr>
              <a:lvl6pPr marL="2286000" algn="l" defTabSz="914400" rtl="0" eaLnBrk="1" latinLnBrk="0" hangingPunct="1">
                <a:defRPr sz="1600" kern="1200">
                  <a:solidFill>
                    <a:schemeClr val="tx1"/>
                  </a:solidFill>
                  <a:latin typeface="Arial" panose="020B0604020202020204" pitchFamily="34" charset="0"/>
                  <a:ea typeface="-윤고딕130" pitchFamily="18" charset="-127"/>
                  <a:cs typeface="+mn-cs"/>
                </a:defRPr>
              </a:lvl6pPr>
              <a:lvl7pPr marL="2743200" algn="l" defTabSz="914400" rtl="0" eaLnBrk="1" latinLnBrk="0" hangingPunct="1">
                <a:defRPr sz="1600" kern="1200">
                  <a:solidFill>
                    <a:schemeClr val="tx1"/>
                  </a:solidFill>
                  <a:latin typeface="Arial" panose="020B0604020202020204" pitchFamily="34" charset="0"/>
                  <a:ea typeface="-윤고딕130" pitchFamily="18" charset="-127"/>
                  <a:cs typeface="+mn-cs"/>
                </a:defRPr>
              </a:lvl7pPr>
              <a:lvl8pPr marL="3200400" algn="l" defTabSz="914400" rtl="0" eaLnBrk="1" latinLnBrk="0" hangingPunct="1">
                <a:defRPr sz="1600" kern="1200">
                  <a:solidFill>
                    <a:schemeClr val="tx1"/>
                  </a:solidFill>
                  <a:latin typeface="Arial" panose="020B0604020202020204" pitchFamily="34" charset="0"/>
                  <a:ea typeface="-윤고딕130" pitchFamily="18" charset="-127"/>
                  <a:cs typeface="+mn-cs"/>
                </a:defRPr>
              </a:lvl8pPr>
              <a:lvl9pPr marL="3657600" algn="l" defTabSz="914400" rtl="0" eaLnBrk="1" latinLnBrk="0" hangingPunct="1">
                <a:defRPr sz="1600" kern="1200">
                  <a:solidFill>
                    <a:schemeClr val="tx1"/>
                  </a:solidFill>
                  <a:latin typeface="Arial" panose="020B0604020202020204" pitchFamily="34" charset="0"/>
                  <a:ea typeface="-윤고딕130" pitchFamily="18" charset="-127"/>
                  <a:cs typeface="+mn-cs"/>
                </a:defRPr>
              </a:lvl9pPr>
            </a:lstStyle>
            <a:p>
              <a:pPr defTabSz="914013">
                <a:buSzPct val="120000"/>
                <a:defRPr/>
              </a:pPr>
              <a:endParaRPr lang="en-US" altLang="x-none" sz="1500" b="1" dirty="0">
                <a:solidFill>
                  <a:srgbClr val="000000"/>
                </a:solidFill>
              </a:endParaRPr>
            </a:p>
          </p:txBody>
        </p:sp>
        <p:sp>
          <p:nvSpPr>
            <p:cNvPr id="92" name="Rectangle 3">
              <a:extLst>
                <a:ext uri="{FF2B5EF4-FFF2-40B4-BE49-F238E27FC236}">
                  <a16:creationId xmlns:a16="http://schemas.microsoft.com/office/drawing/2014/main" id="{A9220C14-1B2B-4733-A102-E05B89B37B5C}"/>
                </a:ext>
              </a:extLst>
            </p:cNvPr>
            <p:cNvSpPr txBox="1">
              <a:spLocks/>
            </p:cNvSpPr>
            <p:nvPr/>
          </p:nvSpPr>
          <p:spPr>
            <a:xfrm>
              <a:off x="444279" y="4733924"/>
              <a:ext cx="5472000"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defTabSz="914013">
                <a:buClrTx/>
                <a:buSzPct val="120000"/>
                <a:defRPr/>
              </a:pPr>
              <a:r>
                <a:rPr lang="en-US" altLang="x-none" sz="1500" b="1" dirty="0">
                  <a:solidFill>
                    <a:srgbClr val="000000"/>
                  </a:solidFill>
                  <a:ea typeface="-윤고딕130" pitchFamily="18" charset="-127"/>
                </a:rPr>
                <a:t>Commence and sustain TA delivery to SPHCBs</a:t>
              </a:r>
            </a:p>
          </p:txBody>
        </p:sp>
        <p:sp>
          <p:nvSpPr>
            <p:cNvPr id="93" name="Cube 92">
              <a:extLst>
                <a:ext uri="{FF2B5EF4-FFF2-40B4-BE49-F238E27FC236}">
                  <a16:creationId xmlns:a16="http://schemas.microsoft.com/office/drawing/2014/main" id="{C33A0187-C3D2-44C3-A947-743FAD2C69C7}"/>
                </a:ext>
              </a:extLst>
            </p:cNvPr>
            <p:cNvSpPr/>
            <p:nvPr/>
          </p:nvSpPr>
          <p:spPr>
            <a:xfrm>
              <a:off x="175791" y="4710688"/>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grpSp>
        <p:nvGrpSpPr>
          <p:cNvPr id="16" name="Group 15">
            <a:extLst>
              <a:ext uri="{FF2B5EF4-FFF2-40B4-BE49-F238E27FC236}">
                <a16:creationId xmlns:a16="http://schemas.microsoft.com/office/drawing/2014/main" id="{A2424A38-B27D-491C-9CC3-0D922ABD78CA}"/>
              </a:ext>
            </a:extLst>
          </p:cNvPr>
          <p:cNvGrpSpPr/>
          <p:nvPr/>
        </p:nvGrpSpPr>
        <p:grpSpPr>
          <a:xfrm>
            <a:off x="200337" y="5475567"/>
            <a:ext cx="11955875" cy="360000"/>
            <a:chOff x="151694" y="5505784"/>
            <a:chExt cx="8966906" cy="360000"/>
          </a:xfrm>
        </p:grpSpPr>
        <p:sp>
          <p:nvSpPr>
            <p:cNvPr id="72" name="Freeform 5">
              <a:extLst>
                <a:ext uri="{FF2B5EF4-FFF2-40B4-BE49-F238E27FC236}">
                  <a16:creationId xmlns:a16="http://schemas.microsoft.com/office/drawing/2014/main" id="{5FBDAAF8-D989-4D62-959F-178DA4AB308D}"/>
                </a:ext>
              </a:extLst>
            </p:cNvPr>
            <p:cNvSpPr>
              <a:spLocks/>
            </p:cNvSpPr>
            <p:nvPr/>
          </p:nvSpPr>
          <p:spPr bwMode="blackWhite">
            <a:xfrm>
              <a:off x="151694" y="5505784"/>
              <a:ext cx="8966906" cy="360000"/>
            </a:xfrm>
            <a:custGeom>
              <a:avLst/>
              <a:gdLst>
                <a:gd name="T0" fmla="*/ 0 w 1017"/>
                <a:gd name="T1" fmla="*/ 0 h 576"/>
                <a:gd name="T2" fmla="*/ 913 w 1017"/>
                <a:gd name="T3" fmla="*/ 0 h 576"/>
                <a:gd name="T4" fmla="*/ 1017 w 1017"/>
                <a:gd name="T5" fmla="*/ 288 h 576"/>
                <a:gd name="T6" fmla="*/ 913 w 1017"/>
                <a:gd name="T7" fmla="*/ 576 h 576"/>
                <a:gd name="T8" fmla="*/ 0 w 1017"/>
                <a:gd name="T9" fmla="*/ 576 h 576"/>
                <a:gd name="T10" fmla="*/ 0 w 1017"/>
                <a:gd name="T11" fmla="*/ 288 h 576"/>
                <a:gd name="T12" fmla="*/ 0 w 1017"/>
                <a:gd name="T13" fmla="*/ 0 h 576"/>
                <a:gd name="T14" fmla="*/ 0 60000 65536"/>
                <a:gd name="T15" fmla="*/ 0 60000 65536"/>
                <a:gd name="T16" fmla="*/ 0 60000 65536"/>
                <a:gd name="T17" fmla="*/ 0 60000 65536"/>
                <a:gd name="T18" fmla="*/ 0 60000 65536"/>
                <a:gd name="T19" fmla="*/ 0 60000 65536"/>
                <a:gd name="T20" fmla="*/ 0 60000 65536"/>
                <a:gd name="T21" fmla="*/ 0 w 1017"/>
                <a:gd name="T22" fmla="*/ 0 h 576"/>
                <a:gd name="T23" fmla="*/ 1017 w 1017"/>
                <a:gd name="T24" fmla="*/ 576 h 576"/>
                <a:gd name="connsiteX0" fmla="*/ 0 w 9199"/>
                <a:gd name="connsiteY0" fmla="*/ 0 h 10000"/>
                <a:gd name="connsiteX1" fmla="*/ 8977 w 9199"/>
                <a:gd name="connsiteY1" fmla="*/ 0 h 10000"/>
                <a:gd name="connsiteX2" fmla="*/ 9199 w 9199"/>
                <a:gd name="connsiteY2" fmla="*/ 4759 h 10000"/>
                <a:gd name="connsiteX3" fmla="*/ 8977 w 9199"/>
                <a:gd name="connsiteY3" fmla="*/ 10000 h 10000"/>
                <a:gd name="connsiteX4" fmla="*/ 0 w 9199"/>
                <a:gd name="connsiteY4" fmla="*/ 10000 h 10000"/>
                <a:gd name="connsiteX5" fmla="*/ 0 w 9199"/>
                <a:gd name="connsiteY5" fmla="*/ 5000 h 10000"/>
                <a:gd name="connsiteX6" fmla="*/ 0 w 9199"/>
                <a:gd name="connsiteY6" fmla="*/ 0 h 10000"/>
                <a:gd name="connsiteX0" fmla="*/ 0 w 10086"/>
                <a:gd name="connsiteY0" fmla="*/ 0 h 10000"/>
                <a:gd name="connsiteX1" fmla="*/ 9845 w 10086"/>
                <a:gd name="connsiteY1" fmla="*/ 0 h 10000"/>
                <a:gd name="connsiteX2" fmla="*/ 10086 w 10086"/>
                <a:gd name="connsiteY2" fmla="*/ 4759 h 10000"/>
                <a:gd name="connsiteX3" fmla="*/ 9845 w 10086"/>
                <a:gd name="connsiteY3" fmla="*/ 10000 h 10000"/>
                <a:gd name="connsiteX4" fmla="*/ 86 w 10086"/>
                <a:gd name="connsiteY4" fmla="*/ 10000 h 10000"/>
                <a:gd name="connsiteX5" fmla="*/ 86 w 10086"/>
                <a:gd name="connsiteY5" fmla="*/ 5000 h 10000"/>
                <a:gd name="connsiteX6" fmla="*/ 0 w 10086"/>
                <a:gd name="connsiteY6" fmla="*/ 0 h 10000"/>
                <a:gd name="connsiteX0" fmla="*/ 27 w 10113"/>
                <a:gd name="connsiteY0" fmla="*/ 0 h 10000"/>
                <a:gd name="connsiteX1" fmla="*/ 9872 w 10113"/>
                <a:gd name="connsiteY1" fmla="*/ 0 h 10000"/>
                <a:gd name="connsiteX2" fmla="*/ 10113 w 10113"/>
                <a:gd name="connsiteY2" fmla="*/ 4759 h 10000"/>
                <a:gd name="connsiteX3" fmla="*/ 9872 w 10113"/>
                <a:gd name="connsiteY3" fmla="*/ 10000 h 10000"/>
                <a:gd name="connsiteX4" fmla="*/ 113 w 10113"/>
                <a:gd name="connsiteY4" fmla="*/ 10000 h 10000"/>
                <a:gd name="connsiteX5" fmla="*/ 6 w 10113"/>
                <a:gd name="connsiteY5" fmla="*/ 5287 h 10000"/>
                <a:gd name="connsiteX6" fmla="*/ 27 w 10113"/>
                <a:gd name="connsiteY6" fmla="*/ 0 h 10000"/>
                <a:gd name="connsiteX0" fmla="*/ 27 w 10113"/>
                <a:gd name="connsiteY0" fmla="*/ 0 h 10000"/>
                <a:gd name="connsiteX1" fmla="*/ 9872 w 10113"/>
                <a:gd name="connsiteY1" fmla="*/ 0 h 10000"/>
                <a:gd name="connsiteX2" fmla="*/ 10113 w 10113"/>
                <a:gd name="connsiteY2" fmla="*/ 4759 h 10000"/>
                <a:gd name="connsiteX3" fmla="*/ 9872 w 10113"/>
                <a:gd name="connsiteY3" fmla="*/ 10000 h 10000"/>
                <a:gd name="connsiteX4" fmla="*/ 27 w 10113"/>
                <a:gd name="connsiteY4" fmla="*/ 10000 h 10000"/>
                <a:gd name="connsiteX5" fmla="*/ 6 w 10113"/>
                <a:gd name="connsiteY5" fmla="*/ 5287 h 10000"/>
                <a:gd name="connsiteX6" fmla="*/ 27 w 10113"/>
                <a:gd name="connsiteY6" fmla="*/ 0 h 10000"/>
                <a:gd name="connsiteX0" fmla="*/ 1230 w 11316"/>
                <a:gd name="connsiteY0" fmla="*/ 0 h 10000"/>
                <a:gd name="connsiteX1" fmla="*/ 11075 w 11316"/>
                <a:gd name="connsiteY1" fmla="*/ 0 h 10000"/>
                <a:gd name="connsiteX2" fmla="*/ 11316 w 11316"/>
                <a:gd name="connsiteY2" fmla="*/ 4759 h 10000"/>
                <a:gd name="connsiteX3" fmla="*/ 11075 w 11316"/>
                <a:gd name="connsiteY3" fmla="*/ 10000 h 10000"/>
                <a:gd name="connsiteX4" fmla="*/ 1230 w 11316"/>
                <a:gd name="connsiteY4" fmla="*/ 10000 h 10000"/>
                <a:gd name="connsiteX5" fmla="*/ 1230 w 11316"/>
                <a:gd name="connsiteY5" fmla="*/ 0 h 10000"/>
                <a:gd name="connsiteX0" fmla="*/ 727 w 10813"/>
                <a:gd name="connsiteY0" fmla="*/ 0 h 10000"/>
                <a:gd name="connsiteX1" fmla="*/ 10572 w 10813"/>
                <a:gd name="connsiteY1" fmla="*/ 0 h 10000"/>
                <a:gd name="connsiteX2" fmla="*/ 10813 w 10813"/>
                <a:gd name="connsiteY2" fmla="*/ 4759 h 10000"/>
                <a:gd name="connsiteX3" fmla="*/ 10572 w 10813"/>
                <a:gd name="connsiteY3" fmla="*/ 10000 h 10000"/>
                <a:gd name="connsiteX4" fmla="*/ 727 w 10813"/>
                <a:gd name="connsiteY4" fmla="*/ 10000 h 10000"/>
                <a:gd name="connsiteX5" fmla="*/ 727 w 10813"/>
                <a:gd name="connsiteY5" fmla="*/ 0 h 10000"/>
                <a:gd name="connsiteX0" fmla="*/ 0 w 10086"/>
                <a:gd name="connsiteY0" fmla="*/ 0 h 10000"/>
                <a:gd name="connsiteX1" fmla="*/ 9845 w 10086"/>
                <a:gd name="connsiteY1" fmla="*/ 0 h 10000"/>
                <a:gd name="connsiteX2" fmla="*/ 10086 w 10086"/>
                <a:gd name="connsiteY2" fmla="*/ 4759 h 10000"/>
                <a:gd name="connsiteX3" fmla="*/ 9845 w 10086"/>
                <a:gd name="connsiteY3" fmla="*/ 10000 h 10000"/>
                <a:gd name="connsiteX4" fmla="*/ 0 w 10086"/>
                <a:gd name="connsiteY4" fmla="*/ 10000 h 10000"/>
                <a:gd name="connsiteX5" fmla="*/ 0 w 10086"/>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5064 w 15150"/>
                <a:gd name="connsiteY4" fmla="*/ 10000 h 10000"/>
                <a:gd name="connsiteX5" fmla="*/ 0 w 15150"/>
                <a:gd name="connsiteY5" fmla="*/ 0 h 10000"/>
                <a:gd name="connsiteX0" fmla="*/ 64 w 15214"/>
                <a:gd name="connsiteY0" fmla="*/ 0 h 10000"/>
                <a:gd name="connsiteX1" fmla="*/ 14973 w 15214"/>
                <a:gd name="connsiteY1" fmla="*/ 0 h 10000"/>
                <a:gd name="connsiteX2" fmla="*/ 15214 w 15214"/>
                <a:gd name="connsiteY2" fmla="*/ 4759 h 10000"/>
                <a:gd name="connsiteX3" fmla="*/ 14973 w 15214"/>
                <a:gd name="connsiteY3" fmla="*/ 10000 h 10000"/>
                <a:gd name="connsiteX4" fmla="*/ 0 w 15214"/>
                <a:gd name="connsiteY4" fmla="*/ 10000 h 10000"/>
                <a:gd name="connsiteX5" fmla="*/ 64 w 15214"/>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22 w 15150"/>
                <a:gd name="connsiteY4" fmla="*/ 9138 h 10000"/>
                <a:gd name="connsiteX5" fmla="*/ 0 w 15150"/>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22 w 15150"/>
                <a:gd name="connsiteY4" fmla="*/ 10000 h 10000"/>
                <a:gd name="connsiteX5" fmla="*/ 0 w 15150"/>
                <a:gd name="connsiteY5" fmla="*/ 0 h 10000"/>
                <a:gd name="connsiteX0" fmla="*/ 42 w 15192"/>
                <a:gd name="connsiteY0" fmla="*/ 0 h 10000"/>
                <a:gd name="connsiteX1" fmla="*/ 14951 w 15192"/>
                <a:gd name="connsiteY1" fmla="*/ 0 h 10000"/>
                <a:gd name="connsiteX2" fmla="*/ 15192 w 15192"/>
                <a:gd name="connsiteY2" fmla="*/ 4759 h 10000"/>
                <a:gd name="connsiteX3" fmla="*/ 14951 w 15192"/>
                <a:gd name="connsiteY3" fmla="*/ 10000 h 10000"/>
                <a:gd name="connsiteX4" fmla="*/ 0 w 15192"/>
                <a:gd name="connsiteY4" fmla="*/ 10000 h 10000"/>
                <a:gd name="connsiteX5" fmla="*/ 42 w 15192"/>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1 w 15150"/>
                <a:gd name="connsiteY4" fmla="*/ 9713 h 10000"/>
                <a:gd name="connsiteX5" fmla="*/ 0 w 15150"/>
                <a:gd name="connsiteY5" fmla="*/ 0 h 10000"/>
                <a:gd name="connsiteX0" fmla="*/ 0 w 15150"/>
                <a:gd name="connsiteY0" fmla="*/ 0 h 10288"/>
                <a:gd name="connsiteX1" fmla="*/ 14909 w 15150"/>
                <a:gd name="connsiteY1" fmla="*/ 0 h 10288"/>
                <a:gd name="connsiteX2" fmla="*/ 15150 w 15150"/>
                <a:gd name="connsiteY2" fmla="*/ 4759 h 10288"/>
                <a:gd name="connsiteX3" fmla="*/ 14909 w 15150"/>
                <a:gd name="connsiteY3" fmla="*/ 10000 h 10288"/>
                <a:gd name="connsiteX4" fmla="*/ 1 w 15150"/>
                <a:gd name="connsiteY4" fmla="*/ 10288 h 10288"/>
                <a:gd name="connsiteX5" fmla="*/ 0 w 15150"/>
                <a:gd name="connsiteY5" fmla="*/ 0 h 10288"/>
                <a:gd name="connsiteX0" fmla="*/ 0 w 15150"/>
                <a:gd name="connsiteY0" fmla="*/ 0 h 10863"/>
                <a:gd name="connsiteX1" fmla="*/ 14909 w 15150"/>
                <a:gd name="connsiteY1" fmla="*/ 0 h 10863"/>
                <a:gd name="connsiteX2" fmla="*/ 15150 w 15150"/>
                <a:gd name="connsiteY2" fmla="*/ 4759 h 10863"/>
                <a:gd name="connsiteX3" fmla="*/ 14909 w 15150"/>
                <a:gd name="connsiteY3" fmla="*/ 10000 h 10863"/>
                <a:gd name="connsiteX4" fmla="*/ 22 w 15150"/>
                <a:gd name="connsiteY4" fmla="*/ 10863 h 10863"/>
                <a:gd name="connsiteX5" fmla="*/ 0 w 15150"/>
                <a:gd name="connsiteY5" fmla="*/ 0 h 10863"/>
                <a:gd name="connsiteX0" fmla="*/ 0 w 15150"/>
                <a:gd name="connsiteY0" fmla="*/ 0 h 10288"/>
                <a:gd name="connsiteX1" fmla="*/ 14909 w 15150"/>
                <a:gd name="connsiteY1" fmla="*/ 0 h 10288"/>
                <a:gd name="connsiteX2" fmla="*/ 15150 w 15150"/>
                <a:gd name="connsiteY2" fmla="*/ 4759 h 10288"/>
                <a:gd name="connsiteX3" fmla="*/ 14909 w 15150"/>
                <a:gd name="connsiteY3" fmla="*/ 10000 h 10288"/>
                <a:gd name="connsiteX4" fmla="*/ 22 w 15150"/>
                <a:gd name="connsiteY4" fmla="*/ 10288 h 10288"/>
                <a:gd name="connsiteX5" fmla="*/ 0 w 15150"/>
                <a:gd name="connsiteY5" fmla="*/ 0 h 10288"/>
                <a:gd name="connsiteX0" fmla="*/ 0 w 15150"/>
                <a:gd name="connsiteY0" fmla="*/ 0 h 11150"/>
                <a:gd name="connsiteX1" fmla="*/ 14909 w 15150"/>
                <a:gd name="connsiteY1" fmla="*/ 0 h 11150"/>
                <a:gd name="connsiteX2" fmla="*/ 15150 w 15150"/>
                <a:gd name="connsiteY2" fmla="*/ 4759 h 11150"/>
                <a:gd name="connsiteX3" fmla="*/ 14909 w 15150"/>
                <a:gd name="connsiteY3" fmla="*/ 10000 h 11150"/>
                <a:gd name="connsiteX4" fmla="*/ 22 w 15150"/>
                <a:gd name="connsiteY4" fmla="*/ 11150 h 11150"/>
                <a:gd name="connsiteX5" fmla="*/ 0 w 15150"/>
                <a:gd name="connsiteY5" fmla="*/ 0 h 11150"/>
                <a:gd name="connsiteX0" fmla="*/ 0 w 15150"/>
                <a:gd name="connsiteY0" fmla="*/ 0 h 11150"/>
                <a:gd name="connsiteX1" fmla="*/ 14909 w 15150"/>
                <a:gd name="connsiteY1" fmla="*/ 0 h 11150"/>
                <a:gd name="connsiteX2" fmla="*/ 15150 w 15150"/>
                <a:gd name="connsiteY2" fmla="*/ 4759 h 11150"/>
                <a:gd name="connsiteX3" fmla="*/ 14909 w 15150"/>
                <a:gd name="connsiteY3" fmla="*/ 10000 h 11150"/>
                <a:gd name="connsiteX4" fmla="*/ 22 w 15150"/>
                <a:gd name="connsiteY4" fmla="*/ 11150 h 11150"/>
                <a:gd name="connsiteX5" fmla="*/ 0 w 15150"/>
                <a:gd name="connsiteY5" fmla="*/ 0 h 11150"/>
                <a:gd name="connsiteX0" fmla="*/ 0 w 15150"/>
                <a:gd name="connsiteY0" fmla="*/ 0 h 10575"/>
                <a:gd name="connsiteX1" fmla="*/ 14909 w 15150"/>
                <a:gd name="connsiteY1" fmla="*/ 0 h 10575"/>
                <a:gd name="connsiteX2" fmla="*/ 15150 w 15150"/>
                <a:gd name="connsiteY2" fmla="*/ 4759 h 10575"/>
                <a:gd name="connsiteX3" fmla="*/ 14909 w 15150"/>
                <a:gd name="connsiteY3" fmla="*/ 10000 h 10575"/>
                <a:gd name="connsiteX4" fmla="*/ 22 w 15150"/>
                <a:gd name="connsiteY4" fmla="*/ 10575 h 10575"/>
                <a:gd name="connsiteX5" fmla="*/ 0 w 15150"/>
                <a:gd name="connsiteY5" fmla="*/ 0 h 10575"/>
                <a:gd name="connsiteX0" fmla="*/ 0 w 15150"/>
                <a:gd name="connsiteY0" fmla="*/ 0 h 10575"/>
                <a:gd name="connsiteX1" fmla="*/ 14909 w 15150"/>
                <a:gd name="connsiteY1" fmla="*/ 0 h 10575"/>
                <a:gd name="connsiteX2" fmla="*/ 15150 w 15150"/>
                <a:gd name="connsiteY2" fmla="*/ 4759 h 10575"/>
                <a:gd name="connsiteX3" fmla="*/ 14909 w 15150"/>
                <a:gd name="connsiteY3" fmla="*/ 10000 h 10575"/>
                <a:gd name="connsiteX4" fmla="*/ 1 w 15150"/>
                <a:gd name="connsiteY4" fmla="*/ 10575 h 10575"/>
                <a:gd name="connsiteX5" fmla="*/ 0 w 15150"/>
                <a:gd name="connsiteY5" fmla="*/ 0 h 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50" h="10575">
                  <a:moveTo>
                    <a:pt x="0" y="0"/>
                  </a:moveTo>
                  <a:lnTo>
                    <a:pt x="14909" y="0"/>
                  </a:lnTo>
                  <a:cubicBezTo>
                    <a:pt x="14989" y="1586"/>
                    <a:pt x="15070" y="3173"/>
                    <a:pt x="15150" y="4759"/>
                  </a:cubicBezTo>
                  <a:cubicBezTo>
                    <a:pt x="15070" y="6506"/>
                    <a:pt x="14989" y="8253"/>
                    <a:pt x="14909" y="10000"/>
                  </a:cubicBezTo>
                  <a:lnTo>
                    <a:pt x="1" y="10575"/>
                  </a:lnTo>
                  <a:cubicBezTo>
                    <a:pt x="12" y="2586"/>
                    <a:pt x="11" y="9139"/>
                    <a:pt x="0" y="0"/>
                  </a:cubicBezTo>
                  <a:close/>
                </a:path>
              </a:pathLst>
            </a:custGeom>
            <a:solidFill>
              <a:srgbClr val="D1F0E0"/>
            </a:solidFill>
            <a:ln w="9525">
              <a:solidFill>
                <a:srgbClr val="018064"/>
              </a:solidFill>
              <a:round/>
              <a:headEnd/>
              <a:tailEnd/>
            </a:ln>
          </p:spPr>
          <p:txBody>
            <a:bodyPr wrap="square" lIns="216000" tIns="0" rIns="108000" bIns="0" anchor="ctr">
              <a:noAutofit/>
            </a:bodyPr>
            <a:lstStyle>
              <a:defPPr>
                <a:defRPr lang="en-US"/>
              </a:defPPr>
              <a:lvl1pPr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5pPr>
              <a:lvl6pPr marL="2286000" algn="l" defTabSz="914400" rtl="0" eaLnBrk="1" latinLnBrk="0" hangingPunct="1">
                <a:defRPr sz="1600" kern="1200">
                  <a:solidFill>
                    <a:schemeClr val="tx1"/>
                  </a:solidFill>
                  <a:latin typeface="Arial" panose="020B0604020202020204" pitchFamily="34" charset="0"/>
                  <a:ea typeface="-윤고딕130" pitchFamily="18" charset="-127"/>
                  <a:cs typeface="+mn-cs"/>
                </a:defRPr>
              </a:lvl6pPr>
              <a:lvl7pPr marL="2743200" algn="l" defTabSz="914400" rtl="0" eaLnBrk="1" latinLnBrk="0" hangingPunct="1">
                <a:defRPr sz="1600" kern="1200">
                  <a:solidFill>
                    <a:schemeClr val="tx1"/>
                  </a:solidFill>
                  <a:latin typeface="Arial" panose="020B0604020202020204" pitchFamily="34" charset="0"/>
                  <a:ea typeface="-윤고딕130" pitchFamily="18" charset="-127"/>
                  <a:cs typeface="+mn-cs"/>
                </a:defRPr>
              </a:lvl7pPr>
              <a:lvl8pPr marL="3200400" algn="l" defTabSz="914400" rtl="0" eaLnBrk="1" latinLnBrk="0" hangingPunct="1">
                <a:defRPr sz="1600" kern="1200">
                  <a:solidFill>
                    <a:schemeClr val="tx1"/>
                  </a:solidFill>
                  <a:latin typeface="Arial" panose="020B0604020202020204" pitchFamily="34" charset="0"/>
                  <a:ea typeface="-윤고딕130" pitchFamily="18" charset="-127"/>
                  <a:cs typeface="+mn-cs"/>
                </a:defRPr>
              </a:lvl8pPr>
              <a:lvl9pPr marL="3657600" algn="l" defTabSz="914400" rtl="0" eaLnBrk="1" latinLnBrk="0" hangingPunct="1">
                <a:defRPr sz="1600" kern="1200">
                  <a:solidFill>
                    <a:schemeClr val="tx1"/>
                  </a:solidFill>
                  <a:latin typeface="Arial" panose="020B0604020202020204" pitchFamily="34" charset="0"/>
                  <a:ea typeface="-윤고딕130" pitchFamily="18" charset="-127"/>
                  <a:cs typeface="+mn-cs"/>
                </a:defRPr>
              </a:lvl9pPr>
            </a:lstStyle>
            <a:p>
              <a:pPr defTabSz="914013">
                <a:buSzPct val="120000"/>
                <a:defRPr/>
              </a:pPr>
              <a:endParaRPr lang="en-US" altLang="x-none" sz="1500" b="1" dirty="0">
                <a:solidFill>
                  <a:srgbClr val="000000"/>
                </a:solidFill>
              </a:endParaRPr>
            </a:p>
          </p:txBody>
        </p:sp>
        <p:sp>
          <p:nvSpPr>
            <p:cNvPr id="78" name="Rectangle 3">
              <a:extLst>
                <a:ext uri="{FF2B5EF4-FFF2-40B4-BE49-F238E27FC236}">
                  <a16:creationId xmlns:a16="http://schemas.microsoft.com/office/drawing/2014/main" id="{4F48D54A-146B-44D3-9503-BFE74DF70CBB}"/>
                </a:ext>
              </a:extLst>
            </p:cNvPr>
            <p:cNvSpPr txBox="1">
              <a:spLocks/>
            </p:cNvSpPr>
            <p:nvPr/>
          </p:nvSpPr>
          <p:spPr>
            <a:xfrm>
              <a:off x="455313" y="5587255"/>
              <a:ext cx="8496000"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defTabSz="914013">
                <a:buClrTx/>
                <a:buSzPct val="120000"/>
                <a:defRPr/>
              </a:pPr>
              <a:r>
                <a:rPr lang="en-US" altLang="x-none" sz="1500" b="1" dirty="0">
                  <a:solidFill>
                    <a:srgbClr val="000000"/>
                  </a:solidFill>
                </a:rPr>
                <a:t>Expand pool of NPHCDA staff capable of providing technical support to SPHCBs</a:t>
              </a:r>
              <a:r>
                <a:rPr lang="en-US" altLang="x-none" sz="1500" b="1" dirty="0">
                  <a:solidFill>
                    <a:srgbClr val="000000"/>
                  </a:solidFill>
                  <a:ea typeface="-윤고딕130" pitchFamily="18" charset="-127"/>
                </a:rPr>
                <a:t> (LDA)</a:t>
              </a:r>
            </a:p>
          </p:txBody>
        </p:sp>
        <p:sp>
          <p:nvSpPr>
            <p:cNvPr id="79" name="Cube 78">
              <a:extLst>
                <a:ext uri="{FF2B5EF4-FFF2-40B4-BE49-F238E27FC236}">
                  <a16:creationId xmlns:a16="http://schemas.microsoft.com/office/drawing/2014/main" id="{C75F97F4-8C9C-452C-B6DF-1C0909C51715}"/>
                </a:ext>
              </a:extLst>
            </p:cNvPr>
            <p:cNvSpPr/>
            <p:nvPr/>
          </p:nvSpPr>
          <p:spPr>
            <a:xfrm>
              <a:off x="162430" y="5587255"/>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grpSp>
        <p:nvGrpSpPr>
          <p:cNvPr id="10" name="Group 9">
            <a:extLst>
              <a:ext uri="{FF2B5EF4-FFF2-40B4-BE49-F238E27FC236}">
                <a16:creationId xmlns:a16="http://schemas.microsoft.com/office/drawing/2014/main" id="{921F03D2-194C-4AF7-8436-00818376B3B5}"/>
              </a:ext>
            </a:extLst>
          </p:cNvPr>
          <p:cNvGrpSpPr/>
          <p:nvPr/>
        </p:nvGrpSpPr>
        <p:grpSpPr>
          <a:xfrm>
            <a:off x="200337" y="5959353"/>
            <a:ext cx="11955875" cy="360000"/>
            <a:chOff x="151694" y="5899390"/>
            <a:chExt cx="8966906" cy="360000"/>
          </a:xfrm>
        </p:grpSpPr>
        <p:sp>
          <p:nvSpPr>
            <p:cNvPr id="68" name="Freeform 5">
              <a:extLst>
                <a:ext uri="{FF2B5EF4-FFF2-40B4-BE49-F238E27FC236}">
                  <a16:creationId xmlns:a16="http://schemas.microsoft.com/office/drawing/2014/main" id="{B567EBDB-4223-4640-A344-62DAB162A120}"/>
                </a:ext>
              </a:extLst>
            </p:cNvPr>
            <p:cNvSpPr>
              <a:spLocks/>
            </p:cNvSpPr>
            <p:nvPr/>
          </p:nvSpPr>
          <p:spPr bwMode="blackWhite">
            <a:xfrm>
              <a:off x="151694" y="5899390"/>
              <a:ext cx="8966906" cy="360000"/>
            </a:xfrm>
            <a:custGeom>
              <a:avLst/>
              <a:gdLst>
                <a:gd name="T0" fmla="*/ 0 w 1017"/>
                <a:gd name="T1" fmla="*/ 0 h 576"/>
                <a:gd name="T2" fmla="*/ 913 w 1017"/>
                <a:gd name="T3" fmla="*/ 0 h 576"/>
                <a:gd name="T4" fmla="*/ 1017 w 1017"/>
                <a:gd name="T5" fmla="*/ 288 h 576"/>
                <a:gd name="T6" fmla="*/ 913 w 1017"/>
                <a:gd name="T7" fmla="*/ 576 h 576"/>
                <a:gd name="T8" fmla="*/ 0 w 1017"/>
                <a:gd name="T9" fmla="*/ 576 h 576"/>
                <a:gd name="T10" fmla="*/ 0 w 1017"/>
                <a:gd name="T11" fmla="*/ 288 h 576"/>
                <a:gd name="T12" fmla="*/ 0 w 1017"/>
                <a:gd name="T13" fmla="*/ 0 h 576"/>
                <a:gd name="T14" fmla="*/ 0 60000 65536"/>
                <a:gd name="T15" fmla="*/ 0 60000 65536"/>
                <a:gd name="T16" fmla="*/ 0 60000 65536"/>
                <a:gd name="T17" fmla="*/ 0 60000 65536"/>
                <a:gd name="T18" fmla="*/ 0 60000 65536"/>
                <a:gd name="T19" fmla="*/ 0 60000 65536"/>
                <a:gd name="T20" fmla="*/ 0 60000 65536"/>
                <a:gd name="T21" fmla="*/ 0 w 1017"/>
                <a:gd name="T22" fmla="*/ 0 h 576"/>
                <a:gd name="T23" fmla="*/ 1017 w 1017"/>
                <a:gd name="T24" fmla="*/ 576 h 576"/>
                <a:gd name="connsiteX0" fmla="*/ 0 w 9199"/>
                <a:gd name="connsiteY0" fmla="*/ 0 h 10000"/>
                <a:gd name="connsiteX1" fmla="*/ 8977 w 9199"/>
                <a:gd name="connsiteY1" fmla="*/ 0 h 10000"/>
                <a:gd name="connsiteX2" fmla="*/ 9199 w 9199"/>
                <a:gd name="connsiteY2" fmla="*/ 4759 h 10000"/>
                <a:gd name="connsiteX3" fmla="*/ 8977 w 9199"/>
                <a:gd name="connsiteY3" fmla="*/ 10000 h 10000"/>
                <a:gd name="connsiteX4" fmla="*/ 0 w 9199"/>
                <a:gd name="connsiteY4" fmla="*/ 10000 h 10000"/>
                <a:gd name="connsiteX5" fmla="*/ 0 w 9199"/>
                <a:gd name="connsiteY5" fmla="*/ 5000 h 10000"/>
                <a:gd name="connsiteX6" fmla="*/ 0 w 9199"/>
                <a:gd name="connsiteY6" fmla="*/ 0 h 10000"/>
                <a:gd name="connsiteX0" fmla="*/ 0 w 10086"/>
                <a:gd name="connsiteY0" fmla="*/ 0 h 10000"/>
                <a:gd name="connsiteX1" fmla="*/ 9845 w 10086"/>
                <a:gd name="connsiteY1" fmla="*/ 0 h 10000"/>
                <a:gd name="connsiteX2" fmla="*/ 10086 w 10086"/>
                <a:gd name="connsiteY2" fmla="*/ 4759 h 10000"/>
                <a:gd name="connsiteX3" fmla="*/ 9845 w 10086"/>
                <a:gd name="connsiteY3" fmla="*/ 10000 h 10000"/>
                <a:gd name="connsiteX4" fmla="*/ 86 w 10086"/>
                <a:gd name="connsiteY4" fmla="*/ 10000 h 10000"/>
                <a:gd name="connsiteX5" fmla="*/ 86 w 10086"/>
                <a:gd name="connsiteY5" fmla="*/ 5000 h 10000"/>
                <a:gd name="connsiteX6" fmla="*/ 0 w 10086"/>
                <a:gd name="connsiteY6" fmla="*/ 0 h 10000"/>
                <a:gd name="connsiteX0" fmla="*/ 27 w 10113"/>
                <a:gd name="connsiteY0" fmla="*/ 0 h 10000"/>
                <a:gd name="connsiteX1" fmla="*/ 9872 w 10113"/>
                <a:gd name="connsiteY1" fmla="*/ 0 h 10000"/>
                <a:gd name="connsiteX2" fmla="*/ 10113 w 10113"/>
                <a:gd name="connsiteY2" fmla="*/ 4759 h 10000"/>
                <a:gd name="connsiteX3" fmla="*/ 9872 w 10113"/>
                <a:gd name="connsiteY3" fmla="*/ 10000 h 10000"/>
                <a:gd name="connsiteX4" fmla="*/ 113 w 10113"/>
                <a:gd name="connsiteY4" fmla="*/ 10000 h 10000"/>
                <a:gd name="connsiteX5" fmla="*/ 6 w 10113"/>
                <a:gd name="connsiteY5" fmla="*/ 5287 h 10000"/>
                <a:gd name="connsiteX6" fmla="*/ 27 w 10113"/>
                <a:gd name="connsiteY6" fmla="*/ 0 h 10000"/>
                <a:gd name="connsiteX0" fmla="*/ 27 w 10113"/>
                <a:gd name="connsiteY0" fmla="*/ 0 h 10000"/>
                <a:gd name="connsiteX1" fmla="*/ 9872 w 10113"/>
                <a:gd name="connsiteY1" fmla="*/ 0 h 10000"/>
                <a:gd name="connsiteX2" fmla="*/ 10113 w 10113"/>
                <a:gd name="connsiteY2" fmla="*/ 4759 h 10000"/>
                <a:gd name="connsiteX3" fmla="*/ 9872 w 10113"/>
                <a:gd name="connsiteY3" fmla="*/ 10000 h 10000"/>
                <a:gd name="connsiteX4" fmla="*/ 27 w 10113"/>
                <a:gd name="connsiteY4" fmla="*/ 10000 h 10000"/>
                <a:gd name="connsiteX5" fmla="*/ 6 w 10113"/>
                <a:gd name="connsiteY5" fmla="*/ 5287 h 10000"/>
                <a:gd name="connsiteX6" fmla="*/ 27 w 10113"/>
                <a:gd name="connsiteY6" fmla="*/ 0 h 10000"/>
                <a:gd name="connsiteX0" fmla="*/ 1230 w 11316"/>
                <a:gd name="connsiteY0" fmla="*/ 0 h 10000"/>
                <a:gd name="connsiteX1" fmla="*/ 11075 w 11316"/>
                <a:gd name="connsiteY1" fmla="*/ 0 h 10000"/>
                <a:gd name="connsiteX2" fmla="*/ 11316 w 11316"/>
                <a:gd name="connsiteY2" fmla="*/ 4759 h 10000"/>
                <a:gd name="connsiteX3" fmla="*/ 11075 w 11316"/>
                <a:gd name="connsiteY3" fmla="*/ 10000 h 10000"/>
                <a:gd name="connsiteX4" fmla="*/ 1230 w 11316"/>
                <a:gd name="connsiteY4" fmla="*/ 10000 h 10000"/>
                <a:gd name="connsiteX5" fmla="*/ 1230 w 11316"/>
                <a:gd name="connsiteY5" fmla="*/ 0 h 10000"/>
                <a:gd name="connsiteX0" fmla="*/ 727 w 10813"/>
                <a:gd name="connsiteY0" fmla="*/ 0 h 10000"/>
                <a:gd name="connsiteX1" fmla="*/ 10572 w 10813"/>
                <a:gd name="connsiteY1" fmla="*/ 0 h 10000"/>
                <a:gd name="connsiteX2" fmla="*/ 10813 w 10813"/>
                <a:gd name="connsiteY2" fmla="*/ 4759 h 10000"/>
                <a:gd name="connsiteX3" fmla="*/ 10572 w 10813"/>
                <a:gd name="connsiteY3" fmla="*/ 10000 h 10000"/>
                <a:gd name="connsiteX4" fmla="*/ 727 w 10813"/>
                <a:gd name="connsiteY4" fmla="*/ 10000 h 10000"/>
                <a:gd name="connsiteX5" fmla="*/ 727 w 10813"/>
                <a:gd name="connsiteY5" fmla="*/ 0 h 10000"/>
                <a:gd name="connsiteX0" fmla="*/ 0 w 10086"/>
                <a:gd name="connsiteY0" fmla="*/ 0 h 10000"/>
                <a:gd name="connsiteX1" fmla="*/ 9845 w 10086"/>
                <a:gd name="connsiteY1" fmla="*/ 0 h 10000"/>
                <a:gd name="connsiteX2" fmla="*/ 10086 w 10086"/>
                <a:gd name="connsiteY2" fmla="*/ 4759 h 10000"/>
                <a:gd name="connsiteX3" fmla="*/ 9845 w 10086"/>
                <a:gd name="connsiteY3" fmla="*/ 10000 h 10000"/>
                <a:gd name="connsiteX4" fmla="*/ 0 w 10086"/>
                <a:gd name="connsiteY4" fmla="*/ 10000 h 10000"/>
                <a:gd name="connsiteX5" fmla="*/ 0 w 10086"/>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5064 w 15150"/>
                <a:gd name="connsiteY4" fmla="*/ 10000 h 10000"/>
                <a:gd name="connsiteX5" fmla="*/ 0 w 15150"/>
                <a:gd name="connsiteY5" fmla="*/ 0 h 10000"/>
                <a:gd name="connsiteX0" fmla="*/ 64 w 15214"/>
                <a:gd name="connsiteY0" fmla="*/ 0 h 10000"/>
                <a:gd name="connsiteX1" fmla="*/ 14973 w 15214"/>
                <a:gd name="connsiteY1" fmla="*/ 0 h 10000"/>
                <a:gd name="connsiteX2" fmla="*/ 15214 w 15214"/>
                <a:gd name="connsiteY2" fmla="*/ 4759 h 10000"/>
                <a:gd name="connsiteX3" fmla="*/ 14973 w 15214"/>
                <a:gd name="connsiteY3" fmla="*/ 10000 h 10000"/>
                <a:gd name="connsiteX4" fmla="*/ 0 w 15214"/>
                <a:gd name="connsiteY4" fmla="*/ 10000 h 10000"/>
                <a:gd name="connsiteX5" fmla="*/ 64 w 15214"/>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22 w 15150"/>
                <a:gd name="connsiteY4" fmla="*/ 9138 h 10000"/>
                <a:gd name="connsiteX5" fmla="*/ 0 w 15150"/>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22 w 15150"/>
                <a:gd name="connsiteY4" fmla="*/ 10000 h 10000"/>
                <a:gd name="connsiteX5" fmla="*/ 0 w 15150"/>
                <a:gd name="connsiteY5" fmla="*/ 0 h 10000"/>
                <a:gd name="connsiteX0" fmla="*/ 42 w 15192"/>
                <a:gd name="connsiteY0" fmla="*/ 0 h 10000"/>
                <a:gd name="connsiteX1" fmla="*/ 14951 w 15192"/>
                <a:gd name="connsiteY1" fmla="*/ 0 h 10000"/>
                <a:gd name="connsiteX2" fmla="*/ 15192 w 15192"/>
                <a:gd name="connsiteY2" fmla="*/ 4759 h 10000"/>
                <a:gd name="connsiteX3" fmla="*/ 14951 w 15192"/>
                <a:gd name="connsiteY3" fmla="*/ 10000 h 10000"/>
                <a:gd name="connsiteX4" fmla="*/ 0 w 15192"/>
                <a:gd name="connsiteY4" fmla="*/ 10000 h 10000"/>
                <a:gd name="connsiteX5" fmla="*/ 42 w 15192"/>
                <a:gd name="connsiteY5" fmla="*/ 0 h 10000"/>
                <a:gd name="connsiteX0" fmla="*/ 0 w 15150"/>
                <a:gd name="connsiteY0" fmla="*/ 0 h 10000"/>
                <a:gd name="connsiteX1" fmla="*/ 14909 w 15150"/>
                <a:gd name="connsiteY1" fmla="*/ 0 h 10000"/>
                <a:gd name="connsiteX2" fmla="*/ 15150 w 15150"/>
                <a:gd name="connsiteY2" fmla="*/ 4759 h 10000"/>
                <a:gd name="connsiteX3" fmla="*/ 14909 w 15150"/>
                <a:gd name="connsiteY3" fmla="*/ 10000 h 10000"/>
                <a:gd name="connsiteX4" fmla="*/ 1 w 15150"/>
                <a:gd name="connsiteY4" fmla="*/ 9713 h 10000"/>
                <a:gd name="connsiteX5" fmla="*/ 0 w 15150"/>
                <a:gd name="connsiteY5" fmla="*/ 0 h 10000"/>
                <a:gd name="connsiteX0" fmla="*/ 0 w 15150"/>
                <a:gd name="connsiteY0" fmla="*/ 0 h 10288"/>
                <a:gd name="connsiteX1" fmla="*/ 14909 w 15150"/>
                <a:gd name="connsiteY1" fmla="*/ 0 h 10288"/>
                <a:gd name="connsiteX2" fmla="*/ 15150 w 15150"/>
                <a:gd name="connsiteY2" fmla="*/ 4759 h 10288"/>
                <a:gd name="connsiteX3" fmla="*/ 14909 w 15150"/>
                <a:gd name="connsiteY3" fmla="*/ 10000 h 10288"/>
                <a:gd name="connsiteX4" fmla="*/ 1 w 15150"/>
                <a:gd name="connsiteY4" fmla="*/ 10288 h 10288"/>
                <a:gd name="connsiteX5" fmla="*/ 0 w 15150"/>
                <a:gd name="connsiteY5" fmla="*/ 0 h 10288"/>
                <a:gd name="connsiteX0" fmla="*/ 0 w 15150"/>
                <a:gd name="connsiteY0" fmla="*/ 0 h 10863"/>
                <a:gd name="connsiteX1" fmla="*/ 14909 w 15150"/>
                <a:gd name="connsiteY1" fmla="*/ 0 h 10863"/>
                <a:gd name="connsiteX2" fmla="*/ 15150 w 15150"/>
                <a:gd name="connsiteY2" fmla="*/ 4759 h 10863"/>
                <a:gd name="connsiteX3" fmla="*/ 14909 w 15150"/>
                <a:gd name="connsiteY3" fmla="*/ 10000 h 10863"/>
                <a:gd name="connsiteX4" fmla="*/ 22 w 15150"/>
                <a:gd name="connsiteY4" fmla="*/ 10863 h 10863"/>
                <a:gd name="connsiteX5" fmla="*/ 0 w 15150"/>
                <a:gd name="connsiteY5" fmla="*/ 0 h 10863"/>
                <a:gd name="connsiteX0" fmla="*/ 0 w 15150"/>
                <a:gd name="connsiteY0" fmla="*/ 0 h 10288"/>
                <a:gd name="connsiteX1" fmla="*/ 14909 w 15150"/>
                <a:gd name="connsiteY1" fmla="*/ 0 h 10288"/>
                <a:gd name="connsiteX2" fmla="*/ 15150 w 15150"/>
                <a:gd name="connsiteY2" fmla="*/ 4759 h 10288"/>
                <a:gd name="connsiteX3" fmla="*/ 14909 w 15150"/>
                <a:gd name="connsiteY3" fmla="*/ 10000 h 10288"/>
                <a:gd name="connsiteX4" fmla="*/ 22 w 15150"/>
                <a:gd name="connsiteY4" fmla="*/ 10288 h 10288"/>
                <a:gd name="connsiteX5" fmla="*/ 0 w 15150"/>
                <a:gd name="connsiteY5" fmla="*/ 0 h 10288"/>
                <a:gd name="connsiteX0" fmla="*/ 0 w 15150"/>
                <a:gd name="connsiteY0" fmla="*/ 0 h 11150"/>
                <a:gd name="connsiteX1" fmla="*/ 14909 w 15150"/>
                <a:gd name="connsiteY1" fmla="*/ 0 h 11150"/>
                <a:gd name="connsiteX2" fmla="*/ 15150 w 15150"/>
                <a:gd name="connsiteY2" fmla="*/ 4759 h 11150"/>
                <a:gd name="connsiteX3" fmla="*/ 14909 w 15150"/>
                <a:gd name="connsiteY3" fmla="*/ 10000 h 11150"/>
                <a:gd name="connsiteX4" fmla="*/ 22 w 15150"/>
                <a:gd name="connsiteY4" fmla="*/ 11150 h 11150"/>
                <a:gd name="connsiteX5" fmla="*/ 0 w 15150"/>
                <a:gd name="connsiteY5" fmla="*/ 0 h 11150"/>
                <a:gd name="connsiteX0" fmla="*/ 0 w 15150"/>
                <a:gd name="connsiteY0" fmla="*/ 0 h 11150"/>
                <a:gd name="connsiteX1" fmla="*/ 14909 w 15150"/>
                <a:gd name="connsiteY1" fmla="*/ 0 h 11150"/>
                <a:gd name="connsiteX2" fmla="*/ 15150 w 15150"/>
                <a:gd name="connsiteY2" fmla="*/ 4759 h 11150"/>
                <a:gd name="connsiteX3" fmla="*/ 14909 w 15150"/>
                <a:gd name="connsiteY3" fmla="*/ 10000 h 11150"/>
                <a:gd name="connsiteX4" fmla="*/ 22 w 15150"/>
                <a:gd name="connsiteY4" fmla="*/ 11150 h 11150"/>
                <a:gd name="connsiteX5" fmla="*/ 0 w 15150"/>
                <a:gd name="connsiteY5" fmla="*/ 0 h 11150"/>
                <a:gd name="connsiteX0" fmla="*/ 0 w 15150"/>
                <a:gd name="connsiteY0" fmla="*/ 0 h 10575"/>
                <a:gd name="connsiteX1" fmla="*/ 14909 w 15150"/>
                <a:gd name="connsiteY1" fmla="*/ 0 h 10575"/>
                <a:gd name="connsiteX2" fmla="*/ 15150 w 15150"/>
                <a:gd name="connsiteY2" fmla="*/ 4759 h 10575"/>
                <a:gd name="connsiteX3" fmla="*/ 14909 w 15150"/>
                <a:gd name="connsiteY3" fmla="*/ 10000 h 10575"/>
                <a:gd name="connsiteX4" fmla="*/ 22 w 15150"/>
                <a:gd name="connsiteY4" fmla="*/ 10575 h 10575"/>
                <a:gd name="connsiteX5" fmla="*/ 0 w 15150"/>
                <a:gd name="connsiteY5" fmla="*/ 0 h 10575"/>
                <a:gd name="connsiteX0" fmla="*/ 0 w 15150"/>
                <a:gd name="connsiteY0" fmla="*/ 0 h 10575"/>
                <a:gd name="connsiteX1" fmla="*/ 14909 w 15150"/>
                <a:gd name="connsiteY1" fmla="*/ 0 h 10575"/>
                <a:gd name="connsiteX2" fmla="*/ 15150 w 15150"/>
                <a:gd name="connsiteY2" fmla="*/ 4759 h 10575"/>
                <a:gd name="connsiteX3" fmla="*/ 14909 w 15150"/>
                <a:gd name="connsiteY3" fmla="*/ 10000 h 10575"/>
                <a:gd name="connsiteX4" fmla="*/ 1 w 15150"/>
                <a:gd name="connsiteY4" fmla="*/ 10575 h 10575"/>
                <a:gd name="connsiteX5" fmla="*/ 0 w 15150"/>
                <a:gd name="connsiteY5" fmla="*/ 0 h 1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50" h="10575">
                  <a:moveTo>
                    <a:pt x="0" y="0"/>
                  </a:moveTo>
                  <a:lnTo>
                    <a:pt x="14909" y="0"/>
                  </a:lnTo>
                  <a:cubicBezTo>
                    <a:pt x="14989" y="1586"/>
                    <a:pt x="15070" y="3173"/>
                    <a:pt x="15150" y="4759"/>
                  </a:cubicBezTo>
                  <a:cubicBezTo>
                    <a:pt x="15070" y="6506"/>
                    <a:pt x="14989" y="8253"/>
                    <a:pt x="14909" y="10000"/>
                  </a:cubicBezTo>
                  <a:lnTo>
                    <a:pt x="1" y="10575"/>
                  </a:lnTo>
                  <a:cubicBezTo>
                    <a:pt x="12" y="2586"/>
                    <a:pt x="11" y="9139"/>
                    <a:pt x="0" y="0"/>
                  </a:cubicBezTo>
                  <a:close/>
                </a:path>
              </a:pathLst>
            </a:custGeom>
            <a:solidFill>
              <a:srgbClr val="D1F0E0"/>
            </a:solidFill>
            <a:ln w="9525">
              <a:solidFill>
                <a:srgbClr val="018064"/>
              </a:solidFill>
              <a:round/>
              <a:headEnd/>
              <a:tailEnd/>
            </a:ln>
          </p:spPr>
          <p:txBody>
            <a:bodyPr wrap="square" lIns="216000" tIns="0" rIns="108000" bIns="0" anchor="ctr">
              <a:noAutofit/>
            </a:bodyPr>
            <a:lstStyle>
              <a:defPPr>
                <a:defRPr lang="en-US"/>
              </a:defPPr>
              <a:lvl1pPr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윤고딕130" pitchFamily="18" charset="-127"/>
                  <a:cs typeface="+mn-cs"/>
                </a:defRPr>
              </a:lvl5pPr>
              <a:lvl6pPr marL="2286000" algn="l" defTabSz="914400" rtl="0" eaLnBrk="1" latinLnBrk="0" hangingPunct="1">
                <a:defRPr sz="1600" kern="1200">
                  <a:solidFill>
                    <a:schemeClr val="tx1"/>
                  </a:solidFill>
                  <a:latin typeface="Arial" panose="020B0604020202020204" pitchFamily="34" charset="0"/>
                  <a:ea typeface="-윤고딕130" pitchFamily="18" charset="-127"/>
                  <a:cs typeface="+mn-cs"/>
                </a:defRPr>
              </a:lvl6pPr>
              <a:lvl7pPr marL="2743200" algn="l" defTabSz="914400" rtl="0" eaLnBrk="1" latinLnBrk="0" hangingPunct="1">
                <a:defRPr sz="1600" kern="1200">
                  <a:solidFill>
                    <a:schemeClr val="tx1"/>
                  </a:solidFill>
                  <a:latin typeface="Arial" panose="020B0604020202020204" pitchFamily="34" charset="0"/>
                  <a:ea typeface="-윤고딕130" pitchFamily="18" charset="-127"/>
                  <a:cs typeface="+mn-cs"/>
                </a:defRPr>
              </a:lvl7pPr>
              <a:lvl8pPr marL="3200400" algn="l" defTabSz="914400" rtl="0" eaLnBrk="1" latinLnBrk="0" hangingPunct="1">
                <a:defRPr sz="1600" kern="1200">
                  <a:solidFill>
                    <a:schemeClr val="tx1"/>
                  </a:solidFill>
                  <a:latin typeface="Arial" panose="020B0604020202020204" pitchFamily="34" charset="0"/>
                  <a:ea typeface="-윤고딕130" pitchFamily="18" charset="-127"/>
                  <a:cs typeface="+mn-cs"/>
                </a:defRPr>
              </a:lvl8pPr>
              <a:lvl9pPr marL="3657600" algn="l" defTabSz="914400" rtl="0" eaLnBrk="1" latinLnBrk="0" hangingPunct="1">
                <a:defRPr sz="1600" kern="1200">
                  <a:solidFill>
                    <a:schemeClr val="tx1"/>
                  </a:solidFill>
                  <a:latin typeface="Arial" panose="020B0604020202020204" pitchFamily="34" charset="0"/>
                  <a:ea typeface="-윤고딕130" pitchFamily="18" charset="-127"/>
                  <a:cs typeface="+mn-cs"/>
                </a:defRPr>
              </a:lvl9pPr>
            </a:lstStyle>
            <a:p>
              <a:pPr defTabSz="914013">
                <a:buSzPct val="120000"/>
                <a:defRPr/>
              </a:pPr>
              <a:endParaRPr lang="en-US" altLang="x-none" sz="1500" b="1" dirty="0">
                <a:solidFill>
                  <a:srgbClr val="000000"/>
                </a:solidFill>
              </a:endParaRPr>
            </a:p>
          </p:txBody>
        </p:sp>
        <p:sp>
          <p:nvSpPr>
            <p:cNvPr id="81" name="Rectangle 3">
              <a:extLst>
                <a:ext uri="{FF2B5EF4-FFF2-40B4-BE49-F238E27FC236}">
                  <a16:creationId xmlns:a16="http://schemas.microsoft.com/office/drawing/2014/main" id="{FD2DC199-564D-4CE0-A4BF-BAED12D15D06}"/>
                </a:ext>
              </a:extLst>
            </p:cNvPr>
            <p:cNvSpPr txBox="1">
              <a:spLocks/>
            </p:cNvSpPr>
            <p:nvPr/>
          </p:nvSpPr>
          <p:spPr>
            <a:xfrm>
              <a:off x="455313" y="5966526"/>
              <a:ext cx="8496000"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defTabSz="914013">
                <a:buClrTx/>
                <a:buSzPct val="120000"/>
                <a:defRPr/>
              </a:pPr>
              <a:r>
                <a:rPr lang="en-US" altLang="x-none" sz="1500" b="1" dirty="0">
                  <a:solidFill>
                    <a:srgbClr val="000000"/>
                  </a:solidFill>
                  <a:ea typeface="-윤고딕130" pitchFamily="18" charset="-127"/>
                </a:rPr>
                <a:t>Monitor and improve quality of TA delivery to the states</a:t>
              </a:r>
            </a:p>
          </p:txBody>
        </p:sp>
        <p:sp>
          <p:nvSpPr>
            <p:cNvPr id="82" name="Cube 81">
              <a:extLst>
                <a:ext uri="{FF2B5EF4-FFF2-40B4-BE49-F238E27FC236}">
                  <a16:creationId xmlns:a16="http://schemas.microsoft.com/office/drawing/2014/main" id="{9F63C7A7-BD37-4876-9810-70EE2A238BFC}"/>
                </a:ext>
              </a:extLst>
            </p:cNvPr>
            <p:cNvSpPr/>
            <p:nvPr/>
          </p:nvSpPr>
          <p:spPr>
            <a:xfrm>
              <a:off x="162430" y="5966526"/>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grpSp>
        <p:nvGrpSpPr>
          <p:cNvPr id="83" name="Group 82">
            <a:extLst>
              <a:ext uri="{FF2B5EF4-FFF2-40B4-BE49-F238E27FC236}">
                <a16:creationId xmlns:a16="http://schemas.microsoft.com/office/drawing/2014/main" id="{C9A38065-BC47-491A-88F9-B932683C79FB}"/>
              </a:ext>
            </a:extLst>
          </p:cNvPr>
          <p:cNvGrpSpPr/>
          <p:nvPr/>
        </p:nvGrpSpPr>
        <p:grpSpPr>
          <a:xfrm>
            <a:off x="4344868" y="3358087"/>
            <a:ext cx="3629844" cy="461665"/>
            <a:chOff x="3270899" y="2145295"/>
            <a:chExt cx="2722383" cy="461665"/>
          </a:xfrm>
        </p:grpSpPr>
        <p:sp>
          <p:nvSpPr>
            <p:cNvPr id="89" name="Rectangle 3">
              <a:extLst>
                <a:ext uri="{FF2B5EF4-FFF2-40B4-BE49-F238E27FC236}">
                  <a16:creationId xmlns:a16="http://schemas.microsoft.com/office/drawing/2014/main" id="{0F6A01FE-6B02-4CE6-B10B-B48E87BF2D1B}"/>
                </a:ext>
              </a:extLst>
            </p:cNvPr>
            <p:cNvSpPr txBox="1">
              <a:spLocks/>
            </p:cNvSpPr>
            <p:nvPr/>
          </p:nvSpPr>
          <p:spPr>
            <a:xfrm>
              <a:off x="3552111" y="2145295"/>
              <a:ext cx="2441171"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2750" fontAlgn="base">
                <a:spcBef>
                  <a:spcPct val="0"/>
                </a:spcBef>
                <a:spcAft>
                  <a:spcPct val="0"/>
                </a:spcAft>
                <a:buClr>
                  <a:schemeClr val="tx2"/>
                </a:buClr>
                <a:defRPr sz="1600" baseline="0"/>
              </a:lvl1pPr>
              <a:lvl2pPr marL="197440" lvl="1" indent="-195822" defTabSz="912750" fontAlgn="base">
                <a:spcBef>
                  <a:spcPct val="0"/>
                </a:spcBef>
                <a:spcAft>
                  <a:spcPct val="0"/>
                </a:spcAft>
                <a:buClr>
                  <a:schemeClr val="tx2"/>
                </a:buClr>
                <a:buSzPct val="125000"/>
                <a:buFont typeface="Arial" charset="0"/>
                <a:buChar char="▪"/>
                <a:defRPr sz="1600" baseline="0"/>
              </a:lvl2pPr>
              <a:lvl3pPr marL="466081" lvl="2" indent="-267029" defTabSz="912750" fontAlgn="base">
                <a:spcBef>
                  <a:spcPct val="0"/>
                </a:spcBef>
                <a:spcAft>
                  <a:spcPct val="0"/>
                </a:spcAft>
                <a:buClr>
                  <a:schemeClr val="tx2"/>
                </a:buClr>
                <a:buSzPct val="120000"/>
                <a:buFont typeface="Arial" charset="0"/>
                <a:buChar char="–"/>
                <a:defRPr sz="1600" baseline="0"/>
              </a:lvl3pPr>
              <a:lvl4pPr marL="626304" lvl="3" indent="-158600" defTabSz="912750" fontAlgn="base">
                <a:spcBef>
                  <a:spcPct val="0"/>
                </a:spcBef>
                <a:spcAft>
                  <a:spcPct val="0"/>
                </a:spcAft>
                <a:buClr>
                  <a:schemeClr val="tx2"/>
                </a:buClr>
                <a:buSzPct val="120000"/>
                <a:buFont typeface="Arial" charset="0"/>
                <a:buChar char="▫"/>
                <a:defRPr sz="1600" baseline="0"/>
              </a:lvl4pPr>
              <a:lvl5pPr marL="764380" lvl="4" indent="-132705" defTabSz="912750" fontAlgn="base">
                <a:spcBef>
                  <a:spcPct val="0"/>
                </a:spcBef>
                <a:spcAft>
                  <a:spcPct val="0"/>
                </a:spcAft>
                <a:buClr>
                  <a:schemeClr val="tx2"/>
                </a:buClr>
                <a:buSzPct val="89000"/>
                <a:buFont typeface="Arial" charset="0"/>
                <a:buChar char="-"/>
                <a:defRPr sz="1600" baseline="0"/>
              </a:lvl5pPr>
              <a:lvl6pPr marL="764380" indent="-132705" defTabSz="912750" fontAlgn="base">
                <a:spcBef>
                  <a:spcPct val="0"/>
                </a:spcBef>
                <a:spcAft>
                  <a:spcPct val="0"/>
                </a:spcAft>
                <a:buClr>
                  <a:schemeClr val="tx2"/>
                </a:buClr>
                <a:buSzPct val="89000"/>
                <a:buFont typeface="Arial" charset="0"/>
                <a:buChar char="-"/>
                <a:defRPr sz="1600" baseline="0"/>
              </a:lvl6pPr>
              <a:lvl7pPr marL="764380" indent="-132705" defTabSz="912750" fontAlgn="base">
                <a:spcBef>
                  <a:spcPct val="0"/>
                </a:spcBef>
                <a:spcAft>
                  <a:spcPct val="0"/>
                </a:spcAft>
                <a:buClr>
                  <a:schemeClr val="tx2"/>
                </a:buClr>
                <a:buSzPct val="89000"/>
                <a:buFont typeface="Arial" charset="0"/>
                <a:buChar char="-"/>
                <a:defRPr sz="1600" baseline="0"/>
              </a:lvl7pPr>
              <a:lvl8pPr marL="764380" indent="-132705" defTabSz="912750" fontAlgn="base">
                <a:spcBef>
                  <a:spcPct val="0"/>
                </a:spcBef>
                <a:spcAft>
                  <a:spcPct val="0"/>
                </a:spcAft>
                <a:buClr>
                  <a:schemeClr val="tx2"/>
                </a:buClr>
                <a:buSzPct val="89000"/>
                <a:buFont typeface="Arial" charset="0"/>
                <a:buChar char="-"/>
                <a:defRPr sz="1600" baseline="0"/>
              </a:lvl8pPr>
              <a:lvl9pPr marL="764380" indent="-132705" defTabSz="912750" fontAlgn="base">
                <a:spcBef>
                  <a:spcPct val="0"/>
                </a:spcBef>
                <a:spcAft>
                  <a:spcPct val="0"/>
                </a:spcAft>
                <a:buClr>
                  <a:schemeClr val="tx2"/>
                </a:buClr>
                <a:buSzPct val="89000"/>
                <a:buFont typeface="Arial" charset="0"/>
                <a:buChar char="-"/>
                <a:defRPr sz="1600" baseline="0"/>
              </a:lvl9pPr>
            </a:lstStyle>
            <a:p>
              <a:pPr marL="1618" lvl="1" indent="0">
                <a:spcBef>
                  <a:spcPct val="50000"/>
                </a:spcBef>
                <a:buClr>
                  <a:srgbClr val="339966"/>
                </a:buClr>
                <a:buNone/>
                <a:defRPr/>
              </a:pPr>
              <a:r>
                <a:rPr lang="en-US" sz="1500" dirty="0">
                  <a:solidFill>
                    <a:srgbClr val="1F1F1F"/>
                  </a:solidFill>
                </a:rPr>
                <a:t>Conduct </a:t>
              </a:r>
              <a:r>
                <a:rPr lang="en-US" sz="1500" b="1" dirty="0">
                  <a:solidFill>
                    <a:srgbClr val="339966"/>
                  </a:solidFill>
                </a:rPr>
                <a:t>mid-term evaluation </a:t>
              </a:r>
              <a:r>
                <a:rPr lang="en-US" sz="1500" dirty="0">
                  <a:solidFill>
                    <a:srgbClr val="1F1F1F"/>
                  </a:solidFill>
                </a:rPr>
                <a:t>of the technical support program</a:t>
              </a:r>
            </a:p>
          </p:txBody>
        </p:sp>
        <p:sp>
          <p:nvSpPr>
            <p:cNvPr id="91" name="Cube 90">
              <a:extLst>
                <a:ext uri="{FF2B5EF4-FFF2-40B4-BE49-F238E27FC236}">
                  <a16:creationId xmlns:a16="http://schemas.microsoft.com/office/drawing/2014/main" id="{CF0E3E95-7C15-441C-B834-3FC6B90D92C1}"/>
                </a:ext>
              </a:extLst>
            </p:cNvPr>
            <p:cNvSpPr/>
            <p:nvPr/>
          </p:nvSpPr>
          <p:spPr>
            <a:xfrm>
              <a:off x="3270899" y="2145295"/>
              <a:ext cx="180975" cy="180975"/>
            </a:xfrm>
            <a:prstGeom prst="cube">
              <a:avLst/>
            </a:prstGeom>
            <a:solidFill>
              <a:schemeClr val="tx2"/>
            </a:solidFill>
            <a:ln w="9525">
              <a:solidFill>
                <a:schemeClr val="bg1"/>
              </a:solid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40">
                <a:defRPr/>
              </a:pPr>
              <a:endParaRPr lang="en-US" sz="1800" dirty="0" err="1">
                <a:solidFill>
                  <a:srgbClr val="1F1F1F"/>
                </a:solidFill>
              </a:endParaRPr>
            </a:p>
          </p:txBody>
        </p:sp>
      </p:grpSp>
      <p:cxnSp>
        <p:nvCxnSpPr>
          <p:cNvPr id="24" name="Straight Connector 23">
            <a:extLst>
              <a:ext uri="{FF2B5EF4-FFF2-40B4-BE49-F238E27FC236}">
                <a16:creationId xmlns:a16="http://schemas.microsoft.com/office/drawing/2014/main" id="{32295E51-F286-4288-A20C-DA68748E8D8B}"/>
              </a:ext>
            </a:extLst>
          </p:cNvPr>
          <p:cNvCxnSpPr/>
          <p:nvPr/>
        </p:nvCxnSpPr>
        <p:spPr>
          <a:xfrm>
            <a:off x="639632" y="2187544"/>
            <a:ext cx="336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595E559-634D-4AAD-8B28-394931D79394}"/>
              </a:ext>
            </a:extLst>
          </p:cNvPr>
          <p:cNvCxnSpPr/>
          <p:nvPr/>
        </p:nvCxnSpPr>
        <p:spPr>
          <a:xfrm>
            <a:off x="204045" y="2578311"/>
            <a:ext cx="336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3D0B284-4025-4D5E-9D39-9AC33199B80C}"/>
              </a:ext>
            </a:extLst>
          </p:cNvPr>
          <p:cNvCxnSpPr/>
          <p:nvPr/>
        </p:nvCxnSpPr>
        <p:spPr>
          <a:xfrm>
            <a:off x="639632" y="3184523"/>
            <a:ext cx="336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8F7AC79-B6E9-4542-AEC5-3306B3BD5E85}"/>
              </a:ext>
            </a:extLst>
          </p:cNvPr>
          <p:cNvCxnSpPr/>
          <p:nvPr/>
        </p:nvCxnSpPr>
        <p:spPr>
          <a:xfrm>
            <a:off x="639632" y="3790734"/>
            <a:ext cx="336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1207DCB1-F3D6-4E32-A875-CACE83D2D645}"/>
              </a:ext>
            </a:extLst>
          </p:cNvPr>
          <p:cNvCxnSpPr/>
          <p:nvPr/>
        </p:nvCxnSpPr>
        <p:spPr>
          <a:xfrm>
            <a:off x="4770616" y="2200149"/>
            <a:ext cx="321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30ED514-DEA1-4460-91E3-786B2BBA27AD}"/>
              </a:ext>
            </a:extLst>
          </p:cNvPr>
          <p:cNvCxnSpPr/>
          <p:nvPr/>
        </p:nvCxnSpPr>
        <p:spPr>
          <a:xfrm>
            <a:off x="4770616" y="3268014"/>
            <a:ext cx="321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7F33061-A6C5-4F12-B93F-C49CBBAC08D9}"/>
              </a:ext>
            </a:extLst>
          </p:cNvPr>
          <p:cNvCxnSpPr/>
          <p:nvPr/>
        </p:nvCxnSpPr>
        <p:spPr>
          <a:xfrm>
            <a:off x="8818882" y="2181166"/>
            <a:ext cx="316800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65D52B1-22C6-401B-B82F-ADB94900655B}"/>
              </a:ext>
            </a:extLst>
          </p:cNvPr>
          <p:cNvSpPr/>
          <p:nvPr/>
        </p:nvSpPr>
        <p:spPr>
          <a:xfrm>
            <a:off x="99932" y="5006990"/>
            <a:ext cx="12070081" cy="854616"/>
          </a:xfrm>
          <a:prstGeom prst="rect">
            <a:avLst/>
          </a:prstGeom>
          <a:noFill/>
          <a:ln w="9525">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457007"/>
            <a:endParaRPr lang="en-US" sz="1800" dirty="0" err="1">
              <a:ln>
                <a:solidFill>
                  <a:srgbClr val="FF0000"/>
                </a:solidFill>
              </a:ln>
              <a:noFill/>
            </a:endParaRPr>
          </a:p>
        </p:txBody>
      </p:sp>
      <p:sp>
        <p:nvSpPr>
          <p:cNvPr id="73" name="Rectangle 72">
            <a:extLst>
              <a:ext uri="{FF2B5EF4-FFF2-40B4-BE49-F238E27FC236}">
                <a16:creationId xmlns:a16="http://schemas.microsoft.com/office/drawing/2014/main" id="{5226CA50-DCBD-44CD-93C4-9EE4D975BBAE}"/>
              </a:ext>
            </a:extLst>
          </p:cNvPr>
          <p:cNvSpPr/>
          <p:nvPr/>
        </p:nvSpPr>
        <p:spPr>
          <a:xfrm>
            <a:off x="9237257" y="542433"/>
            <a:ext cx="219456" cy="164592"/>
          </a:xfrm>
          <a:prstGeom prst="rect">
            <a:avLst/>
          </a:prstGeom>
          <a:noFill/>
          <a:ln w="9525">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457007"/>
            <a:endParaRPr lang="en-US" sz="1800" dirty="0" err="1">
              <a:ln>
                <a:solidFill>
                  <a:srgbClr val="FF0000"/>
                </a:solidFill>
              </a:ln>
              <a:noFill/>
            </a:endParaRPr>
          </a:p>
        </p:txBody>
      </p:sp>
      <p:sp>
        <p:nvSpPr>
          <p:cNvPr id="86" name="Rectangle 8">
            <a:extLst>
              <a:ext uri="{FF2B5EF4-FFF2-40B4-BE49-F238E27FC236}">
                <a16:creationId xmlns:a16="http://schemas.microsoft.com/office/drawing/2014/main" id="{EF83F71A-D9F6-4042-841F-F69EA35CA52F}"/>
              </a:ext>
            </a:extLst>
          </p:cNvPr>
          <p:cNvSpPr txBox="1"/>
          <p:nvPr/>
        </p:nvSpPr>
        <p:spPr>
          <a:xfrm>
            <a:off x="9607119" y="542433"/>
            <a:ext cx="716009"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339966"/>
              </a:buClr>
              <a:defRPr/>
            </a:pPr>
            <a:r>
              <a:rPr lang="en-US" sz="1000" dirty="0">
                <a:solidFill>
                  <a:srgbClr val="1F1F1F"/>
                </a:solidFill>
              </a:rPr>
              <a:t>Focus</a:t>
            </a:r>
          </a:p>
        </p:txBody>
      </p:sp>
    </p:spTree>
    <p:extLst>
      <p:ext uri="{BB962C8B-B14F-4D97-AF65-F5344CB8AC3E}">
        <p14:creationId xmlns:p14="http://schemas.microsoft.com/office/powerpoint/2010/main" val="4267475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179" y="1628"/>
          <a:ext cx="2159" cy="1619"/>
        </p:xfrm>
        <a:graphic>
          <a:graphicData uri="http://schemas.openxmlformats.org/presentationml/2006/ole">
            <mc:AlternateContent xmlns:mc="http://schemas.openxmlformats.org/markup-compatibility/2006">
              <mc:Choice xmlns:v="urn:schemas-microsoft-com:vml" Requires="v">
                <p:oleObj spid="_x0000_s636950"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2179" y="1628"/>
                        <a:ext cx="2159" cy="1619"/>
                      </a:xfrm>
                      <a:prstGeom prst="rect">
                        <a:avLst/>
                      </a:prstGeom>
                    </p:spPr>
                  </p:pic>
                </p:oleObj>
              </mc:Fallback>
            </mc:AlternateContent>
          </a:graphicData>
        </a:graphic>
      </p:graphicFrame>
      <p:sp>
        <p:nvSpPr>
          <p:cNvPr id="5" name="Title 1"/>
          <p:cNvSpPr txBox="1">
            <a:spLocks/>
          </p:cNvSpPr>
          <p:nvPr/>
        </p:nvSpPr>
        <p:spPr bwMode="auto">
          <a:xfrm>
            <a:off x="1064713" y="99672"/>
            <a:ext cx="10329691" cy="638277"/>
          </a:xfrm>
          <a:prstGeom prst="rect">
            <a:avLst/>
          </a:prstGeom>
          <a:noFill/>
          <a:ln w="9525">
            <a:noFill/>
            <a:miter lim="800000"/>
            <a:headEnd/>
            <a:tailEnd/>
          </a:ln>
        </p:spPr>
        <p:txBody>
          <a:bodyPr vert="horz" wrap="square" lIns="110860" tIns="55432" rIns="110860" bIns="55432" numCol="1" anchor="t" anchorCtr="0" compatLnSpc="1">
            <a:prstTxWarp prst="textNoShape">
              <a:avLst/>
            </a:prstTxWarp>
            <a:spAutoFit/>
          </a:bodyPr>
          <a:lstStyle>
            <a:lvl1pPr algn="l" defTabSz="895350" rtl="0" eaLnBrk="0" fontAlgn="base" hangingPunct="0">
              <a:spcBef>
                <a:spcPct val="0"/>
              </a:spcBef>
              <a:spcAft>
                <a:spcPct val="0"/>
              </a:spcAft>
              <a:tabLst>
                <a:tab pos="361950" algn="l"/>
              </a:tabLst>
              <a:defRPr sz="1900" b="1">
                <a:solidFill>
                  <a:srgbClr val="008000"/>
                </a:solidFill>
                <a:latin typeface="+mj-lt"/>
                <a:ea typeface="MS PGothic" pitchFamily="34" charset="-128"/>
                <a:cs typeface="+mj-cs"/>
              </a:defRPr>
            </a:lvl1pPr>
            <a:lvl2pPr algn="l" defTabSz="895350" rtl="0" eaLnBrk="0" fontAlgn="base" hangingPunct="0">
              <a:spcBef>
                <a:spcPct val="0"/>
              </a:spcBef>
              <a:spcAft>
                <a:spcPct val="0"/>
              </a:spcAft>
              <a:tabLst>
                <a:tab pos="361950" algn="l"/>
              </a:tabLst>
              <a:defRPr sz="1900" b="1">
                <a:solidFill>
                  <a:schemeClr val="tx2"/>
                </a:solidFill>
                <a:latin typeface="Arial" charset="0"/>
                <a:ea typeface="MS PGothic" pitchFamily="34" charset="-128"/>
              </a:defRPr>
            </a:lvl2pPr>
            <a:lvl3pPr algn="l" defTabSz="895350" rtl="0" eaLnBrk="0" fontAlgn="base" hangingPunct="0">
              <a:spcBef>
                <a:spcPct val="0"/>
              </a:spcBef>
              <a:spcAft>
                <a:spcPct val="0"/>
              </a:spcAft>
              <a:tabLst>
                <a:tab pos="361950" algn="l"/>
              </a:tabLst>
              <a:defRPr sz="1900" b="1">
                <a:solidFill>
                  <a:schemeClr val="tx2"/>
                </a:solidFill>
                <a:latin typeface="Arial" charset="0"/>
                <a:ea typeface="MS PGothic" pitchFamily="34" charset="-128"/>
              </a:defRPr>
            </a:lvl3pPr>
            <a:lvl4pPr algn="l" defTabSz="895350" rtl="0" eaLnBrk="0" fontAlgn="base" hangingPunct="0">
              <a:spcBef>
                <a:spcPct val="0"/>
              </a:spcBef>
              <a:spcAft>
                <a:spcPct val="0"/>
              </a:spcAft>
              <a:tabLst>
                <a:tab pos="361950" algn="l"/>
              </a:tabLst>
              <a:defRPr sz="1900" b="1">
                <a:solidFill>
                  <a:schemeClr val="tx2"/>
                </a:solidFill>
                <a:latin typeface="Arial" charset="0"/>
                <a:ea typeface="MS PGothic" pitchFamily="34" charset="-128"/>
              </a:defRPr>
            </a:lvl4pPr>
            <a:lvl5pPr algn="l" defTabSz="895350" rtl="0" eaLnBrk="0" fontAlgn="base" hangingPunct="0">
              <a:spcBef>
                <a:spcPct val="0"/>
              </a:spcBef>
              <a:spcAft>
                <a:spcPct val="0"/>
              </a:spcAft>
              <a:tabLst>
                <a:tab pos="361950" algn="l"/>
              </a:tabLst>
              <a:defRPr sz="1900" b="1">
                <a:solidFill>
                  <a:schemeClr val="tx2"/>
                </a:solidFill>
                <a:latin typeface="Arial" charset="0"/>
                <a:ea typeface="MS PGothic"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defTabSz="911327">
              <a:lnSpc>
                <a:spcPct val="90000"/>
              </a:lnSpc>
              <a:defRPr/>
            </a:pPr>
            <a:r>
              <a:rPr lang="en-US" sz="2400" baseline="30000" dirty="0">
                <a:solidFill>
                  <a:schemeClr val="accent6">
                    <a:lumMod val="50000"/>
                  </a:schemeClr>
                </a:solidFill>
                <a:latin typeface="Arial" panose="020B0604020202020204" pitchFamily="34" charset="0"/>
                <a:cs typeface="Arial" panose="020B0604020202020204" pitchFamily="34" charset="0"/>
              </a:rPr>
              <a:t>1</a:t>
            </a:r>
            <a:r>
              <a:rPr lang="en-GB" dirty="0">
                <a:solidFill>
                  <a:srgbClr val="70AD47">
                    <a:lumMod val="50000"/>
                  </a:srgbClr>
                </a:solidFill>
                <a:latin typeface="Arial" panose="020B0604020202020204" pitchFamily="34" charset="0"/>
                <a:cs typeface="Arial" panose="020B0604020202020204" pitchFamily="34" charset="0"/>
              </a:rPr>
              <a:t>So far the TSU has made remarkable achievements across set targets including fulfilment of requests made by SPHCBs</a:t>
            </a:r>
            <a:endParaRPr lang="en-US" dirty="0">
              <a:solidFill>
                <a:srgbClr val="70AD47">
                  <a:lumMod val="50000"/>
                </a:srgbClr>
              </a:solidFill>
              <a:latin typeface="Arial" panose="020B0604020202020204" pitchFamily="34" charset="0"/>
              <a:cs typeface="Arial" panose="020B0604020202020204" pitchFamily="34" charset="0"/>
            </a:endParaRPr>
          </a:p>
        </p:txBody>
      </p:sp>
      <p:sp>
        <p:nvSpPr>
          <p:cNvPr id="39" name="McK 5. Source">
            <a:extLst>
              <a:ext uri="{FF2B5EF4-FFF2-40B4-BE49-F238E27FC236}">
                <a16:creationId xmlns:a16="http://schemas.microsoft.com/office/drawing/2014/main" id="{974B271C-7D3A-4700-B9EF-C1729E70C81E}"/>
              </a:ext>
            </a:extLst>
          </p:cNvPr>
          <p:cNvSpPr>
            <a:spLocks noChangeArrowheads="1"/>
          </p:cNvSpPr>
          <p:nvPr/>
        </p:nvSpPr>
        <p:spPr bwMode="auto">
          <a:xfrm>
            <a:off x="549797" y="6543346"/>
            <a:ext cx="686276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133" indent="-609133" defTabSz="894663">
              <a:tabLst>
                <a:tab pos="612307" algn="l"/>
              </a:tabLst>
              <a:defRPr/>
            </a:pPr>
            <a:r>
              <a:rPr lang="en-US" sz="1000" dirty="0">
                <a:solidFill>
                  <a:srgbClr val="000000"/>
                </a:solidFill>
                <a:latin typeface="Arial"/>
              </a:rPr>
              <a:t>Source: Team analysis</a:t>
            </a:r>
          </a:p>
        </p:txBody>
      </p:sp>
      <p:cxnSp>
        <p:nvCxnSpPr>
          <p:cNvPr id="41" name="AutoShape 249">
            <a:extLst>
              <a:ext uri="{FF2B5EF4-FFF2-40B4-BE49-F238E27FC236}">
                <a16:creationId xmlns:a16="http://schemas.microsoft.com/office/drawing/2014/main" id="{DCD824A9-006A-4A94-A4C4-68B379B47729}"/>
              </a:ext>
            </a:extLst>
          </p:cNvPr>
          <p:cNvCxnSpPr>
            <a:cxnSpLocks noChangeShapeType="1"/>
          </p:cNvCxnSpPr>
          <p:nvPr/>
        </p:nvCxnSpPr>
        <p:spPr bwMode="auto">
          <a:xfrm>
            <a:off x="607332" y="945943"/>
            <a:ext cx="10060672" cy="0"/>
          </a:xfrm>
          <a:prstGeom prst="straightConnector1">
            <a:avLst/>
          </a:prstGeom>
          <a:noFill/>
          <a:ln w="9525">
            <a:solidFill>
              <a:srgbClr val="FFFFFF">
                <a:lumMod val="75000"/>
              </a:srgb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Connector 41">
            <a:extLst>
              <a:ext uri="{FF2B5EF4-FFF2-40B4-BE49-F238E27FC236}">
                <a16:creationId xmlns:a16="http://schemas.microsoft.com/office/drawing/2014/main" id="{B1CD0801-3C09-4E65-A326-FB3FAC0DC726}"/>
              </a:ext>
            </a:extLst>
          </p:cNvPr>
          <p:cNvCxnSpPr>
            <a:cxnSpLocks/>
          </p:cNvCxnSpPr>
          <p:nvPr/>
        </p:nvCxnSpPr>
        <p:spPr>
          <a:xfrm>
            <a:off x="2498504" y="5039424"/>
            <a:ext cx="8041389" cy="0"/>
          </a:xfrm>
          <a:prstGeom prst="line">
            <a:avLst/>
          </a:prstGeom>
          <a:noFill/>
          <a:ln w="9525" cap="flat" cmpd="sng" algn="ctr">
            <a:solidFill>
              <a:srgbClr val="FFFFFF">
                <a:lumMod val="65000"/>
              </a:srgbClr>
            </a:solidFill>
            <a:prstDash val="solid"/>
          </a:ln>
          <a:effectLst/>
        </p:spPr>
      </p:cxnSp>
      <p:cxnSp>
        <p:nvCxnSpPr>
          <p:cNvPr id="43" name="Straight Connector 42">
            <a:extLst>
              <a:ext uri="{FF2B5EF4-FFF2-40B4-BE49-F238E27FC236}">
                <a16:creationId xmlns:a16="http://schemas.microsoft.com/office/drawing/2014/main" id="{F2A96D38-6528-40AB-AE94-43062BBDDAB8}"/>
              </a:ext>
            </a:extLst>
          </p:cNvPr>
          <p:cNvCxnSpPr>
            <a:cxnSpLocks/>
          </p:cNvCxnSpPr>
          <p:nvPr/>
        </p:nvCxnSpPr>
        <p:spPr>
          <a:xfrm>
            <a:off x="2449839" y="2101060"/>
            <a:ext cx="8090048" cy="0"/>
          </a:xfrm>
          <a:prstGeom prst="line">
            <a:avLst/>
          </a:prstGeom>
          <a:noFill/>
          <a:ln w="9525" cap="flat" cmpd="sng" algn="ctr">
            <a:solidFill>
              <a:srgbClr val="FFFFFF">
                <a:lumMod val="65000"/>
              </a:srgbClr>
            </a:solidFill>
            <a:prstDash val="solid"/>
          </a:ln>
          <a:effectLst/>
        </p:spPr>
      </p:cxnSp>
      <p:sp>
        <p:nvSpPr>
          <p:cNvPr id="44" name="Rectangle 43">
            <a:extLst>
              <a:ext uri="{FF2B5EF4-FFF2-40B4-BE49-F238E27FC236}">
                <a16:creationId xmlns:a16="http://schemas.microsoft.com/office/drawing/2014/main" id="{3C2A8509-AF59-48EE-BA91-8E33AFCA4B0C}"/>
              </a:ext>
            </a:extLst>
          </p:cNvPr>
          <p:cNvSpPr/>
          <p:nvPr/>
        </p:nvSpPr>
        <p:spPr>
          <a:xfrm>
            <a:off x="610485" y="680249"/>
            <a:ext cx="1224000" cy="267169"/>
          </a:xfrm>
          <a:prstGeom prst="rect">
            <a:avLst/>
          </a:prstGeom>
          <a:noFill/>
        </p:spPr>
        <p:txBody>
          <a:bodyPr wrap="square" lIns="35985" tIns="35985" rIns="35985" bIns="0" anchor="b" anchorCtr="0">
            <a:spAutoFit/>
          </a:bodyPr>
          <a:lstStyle/>
          <a:p>
            <a:pPr defTabSz="685512">
              <a:defRPr/>
            </a:pPr>
            <a:r>
              <a:rPr lang="en-US" sz="1500" b="1" dirty="0">
                <a:solidFill>
                  <a:srgbClr val="000000"/>
                </a:solidFill>
                <a:latin typeface="Arial"/>
                <a:cs typeface="Arial" panose="020B0604020202020204" pitchFamily="34" charset="0"/>
              </a:rPr>
              <a:t>Categories</a:t>
            </a:r>
          </a:p>
        </p:txBody>
      </p:sp>
      <p:sp>
        <p:nvSpPr>
          <p:cNvPr id="45" name="Rectangle 44">
            <a:extLst>
              <a:ext uri="{FF2B5EF4-FFF2-40B4-BE49-F238E27FC236}">
                <a16:creationId xmlns:a16="http://schemas.microsoft.com/office/drawing/2014/main" id="{B094F3D7-EBDF-403D-AD81-594BDCF0F1F4}"/>
              </a:ext>
            </a:extLst>
          </p:cNvPr>
          <p:cNvSpPr/>
          <p:nvPr/>
        </p:nvSpPr>
        <p:spPr>
          <a:xfrm>
            <a:off x="2498504" y="680251"/>
            <a:ext cx="5360442" cy="267169"/>
          </a:xfrm>
          <a:prstGeom prst="rect">
            <a:avLst/>
          </a:prstGeom>
          <a:noFill/>
        </p:spPr>
        <p:txBody>
          <a:bodyPr wrap="square" lIns="35985" tIns="35985" rIns="35985" bIns="0" anchor="b" anchorCtr="0">
            <a:spAutoFit/>
          </a:bodyPr>
          <a:lstStyle/>
          <a:p>
            <a:pPr defTabSz="685512">
              <a:spcBef>
                <a:spcPts val="300"/>
              </a:spcBef>
              <a:spcAft>
                <a:spcPts val="300"/>
              </a:spcAft>
              <a:buClr>
                <a:srgbClr val="204024"/>
              </a:buClr>
              <a:defRPr/>
            </a:pPr>
            <a:r>
              <a:rPr lang="en-US" sz="1500" b="1" dirty="0">
                <a:solidFill>
                  <a:srgbClr val="000000"/>
                </a:solidFill>
                <a:latin typeface="Arial"/>
                <a:ea typeface="Lato" panose="020F0502020204030203" pitchFamily="34" charset="0"/>
                <a:cs typeface="Arial" panose="020B0604020202020204" pitchFamily="34" charset="0"/>
              </a:rPr>
              <a:t>Key achievements</a:t>
            </a:r>
          </a:p>
        </p:txBody>
      </p:sp>
      <p:sp>
        <p:nvSpPr>
          <p:cNvPr id="46" name="Rectangle 45">
            <a:extLst>
              <a:ext uri="{FF2B5EF4-FFF2-40B4-BE49-F238E27FC236}">
                <a16:creationId xmlns:a16="http://schemas.microsoft.com/office/drawing/2014/main" id="{64E62CD0-D2EA-4F3A-99A5-01F3CF859DDC}"/>
              </a:ext>
            </a:extLst>
          </p:cNvPr>
          <p:cNvSpPr/>
          <p:nvPr/>
        </p:nvSpPr>
        <p:spPr>
          <a:xfrm>
            <a:off x="607334" y="2170574"/>
            <a:ext cx="1463041" cy="2807927"/>
          </a:xfrm>
          <a:prstGeom prst="rect">
            <a:avLst/>
          </a:prstGeom>
          <a:solidFill>
            <a:srgbClr val="ACE6B6">
              <a:lumMod val="60000"/>
              <a:lumOff val="40000"/>
            </a:srgbClr>
          </a:solidFill>
        </p:spPr>
        <p:txBody>
          <a:bodyPr wrap="square" lIns="179924" tIns="71967" rIns="35985" bIns="0" anchor="ctr">
            <a:noAutofit/>
          </a:bodyPr>
          <a:lstStyle/>
          <a:p>
            <a:pPr defTabSz="685512">
              <a:defRPr/>
            </a:pPr>
            <a:r>
              <a:rPr lang="en-US" sz="1500" b="1" kern="0" dirty="0">
                <a:solidFill>
                  <a:srgbClr val="000000"/>
                </a:solidFill>
                <a:latin typeface="Arial"/>
                <a:ea typeface="Lato Regular" panose="020F0502020204030203" pitchFamily="34" charset="0"/>
                <a:cs typeface="Arial" panose="020B0604020202020204" pitchFamily="34" charset="0"/>
              </a:rPr>
              <a:t>TA program roll-out</a:t>
            </a:r>
            <a:endParaRPr lang="id-ID" sz="1500" b="1" kern="0" dirty="0">
              <a:solidFill>
                <a:srgbClr val="000000"/>
              </a:solidFill>
              <a:latin typeface="Arial"/>
              <a:ea typeface="Lato Regular" panose="020F0502020204030203" pitchFamily="34" charset="0"/>
              <a:cs typeface="Arial" panose="020B0604020202020204" pitchFamily="34" charset="0"/>
            </a:endParaRPr>
          </a:p>
        </p:txBody>
      </p:sp>
      <p:sp>
        <p:nvSpPr>
          <p:cNvPr id="47" name="Rectangle 46">
            <a:extLst>
              <a:ext uri="{FF2B5EF4-FFF2-40B4-BE49-F238E27FC236}">
                <a16:creationId xmlns:a16="http://schemas.microsoft.com/office/drawing/2014/main" id="{74FDBA16-B096-4C1F-87A6-631117075A05}"/>
              </a:ext>
            </a:extLst>
          </p:cNvPr>
          <p:cNvSpPr>
            <a:spLocks noChangeArrowheads="1"/>
          </p:cNvSpPr>
          <p:nvPr/>
        </p:nvSpPr>
        <p:spPr bwMode="gray">
          <a:xfrm>
            <a:off x="549796" y="3585920"/>
            <a:ext cx="137632" cy="364757"/>
          </a:xfrm>
          <a:prstGeom prst="rect">
            <a:avLst/>
          </a:prstGeom>
          <a:solidFill>
            <a:srgbClr val="FBFBFB"/>
          </a:solidFill>
          <a:ln w="19050" algn="ctr">
            <a:no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lvl1pPr defTabSz="933450" eaLnBrk="0" hangingPunct="0">
              <a:defRPr sz="1600">
                <a:solidFill>
                  <a:schemeClr val="tx1"/>
                </a:solidFill>
                <a:latin typeface="Arial" charset="0"/>
                <a:ea typeface="MS PGothic" pitchFamily="34" charset="-128"/>
              </a:defRPr>
            </a:lvl1pPr>
            <a:lvl2pPr marL="758825" indent="-292100" defTabSz="933450" eaLnBrk="0" hangingPunct="0">
              <a:defRPr sz="1600">
                <a:solidFill>
                  <a:schemeClr val="tx1"/>
                </a:solidFill>
                <a:latin typeface="Arial" charset="0"/>
                <a:ea typeface="MS PGothic" pitchFamily="34" charset="-128"/>
              </a:defRPr>
            </a:lvl2pPr>
            <a:lvl3pPr marL="1166813" indent="-233363" defTabSz="933450" eaLnBrk="0" hangingPunct="0">
              <a:defRPr sz="1600">
                <a:solidFill>
                  <a:schemeClr val="tx1"/>
                </a:solidFill>
                <a:latin typeface="Arial" charset="0"/>
                <a:ea typeface="MS PGothic" pitchFamily="34" charset="-128"/>
              </a:defRPr>
            </a:lvl3pPr>
            <a:lvl4pPr marL="1631950" indent="-231775" defTabSz="933450" eaLnBrk="0" hangingPunct="0">
              <a:defRPr sz="1600">
                <a:solidFill>
                  <a:schemeClr val="tx1"/>
                </a:solidFill>
                <a:latin typeface="Arial" charset="0"/>
                <a:ea typeface="MS PGothic" pitchFamily="34" charset="-128"/>
              </a:defRPr>
            </a:lvl4pPr>
            <a:lvl5pPr marL="2098675" indent="-233363" defTabSz="933450" eaLnBrk="0" hangingPunct="0">
              <a:defRPr sz="1600">
                <a:solidFill>
                  <a:schemeClr val="tx1"/>
                </a:solidFill>
                <a:latin typeface="Arial" charset="0"/>
                <a:ea typeface="MS PGothic" pitchFamily="34" charset="-128"/>
              </a:defRPr>
            </a:lvl5pPr>
            <a:lvl6pPr marL="2555875" indent="-233363" defTabSz="933450" eaLnBrk="0" fontAlgn="base" hangingPunct="0">
              <a:spcBef>
                <a:spcPct val="0"/>
              </a:spcBef>
              <a:spcAft>
                <a:spcPct val="0"/>
              </a:spcAft>
              <a:defRPr sz="1600">
                <a:solidFill>
                  <a:schemeClr val="tx1"/>
                </a:solidFill>
                <a:latin typeface="Arial" charset="0"/>
                <a:ea typeface="MS PGothic" pitchFamily="34" charset="-128"/>
              </a:defRPr>
            </a:lvl6pPr>
            <a:lvl7pPr marL="3013075" indent="-233363" defTabSz="933450" eaLnBrk="0" fontAlgn="base" hangingPunct="0">
              <a:spcBef>
                <a:spcPct val="0"/>
              </a:spcBef>
              <a:spcAft>
                <a:spcPct val="0"/>
              </a:spcAft>
              <a:defRPr sz="1600">
                <a:solidFill>
                  <a:schemeClr val="tx1"/>
                </a:solidFill>
                <a:latin typeface="Arial" charset="0"/>
                <a:ea typeface="MS PGothic" pitchFamily="34" charset="-128"/>
              </a:defRPr>
            </a:lvl7pPr>
            <a:lvl8pPr marL="3470275" indent="-233363" defTabSz="933450" eaLnBrk="0" fontAlgn="base" hangingPunct="0">
              <a:spcBef>
                <a:spcPct val="0"/>
              </a:spcBef>
              <a:spcAft>
                <a:spcPct val="0"/>
              </a:spcAft>
              <a:defRPr sz="1600">
                <a:solidFill>
                  <a:schemeClr val="tx1"/>
                </a:solidFill>
                <a:latin typeface="Arial" charset="0"/>
                <a:ea typeface="MS PGothic" pitchFamily="34" charset="-128"/>
              </a:defRPr>
            </a:lvl8pPr>
            <a:lvl9pPr marL="3927475" indent="-233363" defTabSz="933450" eaLnBrk="0" fontAlgn="base" hangingPunct="0">
              <a:spcBef>
                <a:spcPct val="0"/>
              </a:spcBef>
              <a:spcAft>
                <a:spcPct val="0"/>
              </a:spcAft>
              <a:defRPr sz="1600">
                <a:solidFill>
                  <a:schemeClr val="tx1"/>
                </a:solidFill>
                <a:latin typeface="Arial" charset="0"/>
                <a:ea typeface="MS PGothic" pitchFamily="34" charset="-128"/>
              </a:defRPr>
            </a:lvl9pPr>
          </a:lstStyle>
          <a:p>
            <a:pPr algn="ctr" eaLnBrk="1" fontAlgn="base" hangingPunct="1">
              <a:spcBef>
                <a:spcPct val="0"/>
              </a:spcBef>
              <a:spcAft>
                <a:spcPct val="0"/>
              </a:spcAft>
              <a:defRPr/>
            </a:pPr>
            <a:r>
              <a:rPr lang="en-US" sz="1500" b="1" dirty="0">
                <a:solidFill>
                  <a:srgbClr val="000000"/>
                </a:solidFill>
                <a:latin typeface="Arial"/>
              </a:rPr>
              <a:t>2</a:t>
            </a:r>
          </a:p>
        </p:txBody>
      </p:sp>
      <p:sp>
        <p:nvSpPr>
          <p:cNvPr id="48" name="Rectangle 47">
            <a:extLst>
              <a:ext uri="{FF2B5EF4-FFF2-40B4-BE49-F238E27FC236}">
                <a16:creationId xmlns:a16="http://schemas.microsoft.com/office/drawing/2014/main" id="{035E7D80-5F8E-4A3C-B759-8CD41537F8BA}"/>
              </a:ext>
            </a:extLst>
          </p:cNvPr>
          <p:cNvSpPr/>
          <p:nvPr/>
        </p:nvSpPr>
        <p:spPr>
          <a:xfrm>
            <a:off x="2453024" y="992725"/>
            <a:ext cx="8470727" cy="461665"/>
          </a:xfrm>
          <a:prstGeom prst="rect">
            <a:avLst/>
          </a:prstGeom>
          <a:noFill/>
        </p:spPr>
        <p:txBody>
          <a:bodyPr wrap="square" lIns="0" tIns="0" rIns="0" bIns="0" anchor="t" anchorCtr="0">
            <a:spAutoFit/>
          </a:bodyPr>
          <a:lstStyle/>
          <a:p>
            <a:pPr marL="174551" indent="-174551" defTabSz="685512">
              <a:spcBef>
                <a:spcPts val="200"/>
              </a:spcBef>
              <a:spcAft>
                <a:spcPts val="200"/>
              </a:spcAft>
              <a:buClr>
                <a:srgbClr val="204024"/>
              </a:buClr>
              <a:buFont typeface="Wingdings" panose="05000000000000000000" pitchFamily="2" charset="2"/>
              <a:buChar char="§"/>
              <a:defRPr/>
            </a:pPr>
            <a:r>
              <a:rPr lang="en-US" sz="1500" dirty="0">
                <a:solidFill>
                  <a:srgbClr val="000000"/>
                </a:solidFill>
                <a:latin typeface="Arial"/>
                <a:cs typeface="Arial" panose="020B0604020202020204" pitchFamily="34" charset="0"/>
              </a:rPr>
              <a:t>Developed</a:t>
            </a:r>
            <a:r>
              <a:rPr lang="en-US" sz="1500" dirty="0">
                <a:solidFill>
                  <a:srgbClr val="000000"/>
                </a:solidFill>
                <a:latin typeface="Arial"/>
                <a:ea typeface="Lato" panose="020F0502020204030203" pitchFamily="34" charset="0"/>
                <a:cs typeface="Arial" panose="020B0604020202020204" pitchFamily="34" charset="0"/>
              </a:rPr>
              <a:t> and rolled-out a robust system for the determination of state TA needs, electronic transmission of TA needs from states to NPHCDA and prioritization and response to TA requests</a:t>
            </a:r>
          </a:p>
        </p:txBody>
      </p:sp>
      <p:sp>
        <p:nvSpPr>
          <p:cNvPr id="49" name="Rectangle 48">
            <a:extLst>
              <a:ext uri="{FF2B5EF4-FFF2-40B4-BE49-F238E27FC236}">
                <a16:creationId xmlns:a16="http://schemas.microsoft.com/office/drawing/2014/main" id="{851A8786-2525-40C3-A9B6-67297243BAAC}"/>
              </a:ext>
            </a:extLst>
          </p:cNvPr>
          <p:cNvSpPr/>
          <p:nvPr/>
        </p:nvSpPr>
        <p:spPr>
          <a:xfrm>
            <a:off x="610490" y="992721"/>
            <a:ext cx="1463041" cy="1051560"/>
          </a:xfrm>
          <a:prstGeom prst="rect">
            <a:avLst/>
          </a:prstGeom>
          <a:solidFill>
            <a:srgbClr val="ACE6B6">
              <a:lumMod val="60000"/>
              <a:lumOff val="40000"/>
            </a:srgbClr>
          </a:solidFill>
        </p:spPr>
        <p:txBody>
          <a:bodyPr wrap="square" lIns="179924" tIns="71967" rIns="35985" bIns="0" anchor="ctr">
            <a:noAutofit/>
          </a:bodyPr>
          <a:lstStyle/>
          <a:p>
            <a:pPr defTabSz="685512">
              <a:defRPr/>
            </a:pPr>
            <a:r>
              <a:rPr lang="en-US" sz="1500" b="1" kern="0" dirty="0">
                <a:solidFill>
                  <a:srgbClr val="000000"/>
                </a:solidFill>
                <a:latin typeface="Arial"/>
                <a:cs typeface="Arial" panose="020B0604020202020204" pitchFamily="34" charset="0"/>
              </a:rPr>
              <a:t>Program coordination</a:t>
            </a:r>
            <a:endParaRPr lang="id-ID" sz="1500" b="1" kern="0" dirty="0">
              <a:solidFill>
                <a:srgbClr val="000000"/>
              </a:solidFill>
              <a:latin typeface="Arial"/>
              <a:cs typeface="Arial" panose="020B0604020202020204" pitchFamily="34" charset="0"/>
            </a:endParaRPr>
          </a:p>
        </p:txBody>
      </p:sp>
      <p:sp>
        <p:nvSpPr>
          <p:cNvPr id="50" name="Oval 88">
            <a:extLst>
              <a:ext uri="{FF2B5EF4-FFF2-40B4-BE49-F238E27FC236}">
                <a16:creationId xmlns:a16="http://schemas.microsoft.com/office/drawing/2014/main" id="{348E2D18-15E6-4A9D-ACEC-A7DEBC944415}"/>
              </a:ext>
            </a:extLst>
          </p:cNvPr>
          <p:cNvSpPr>
            <a:spLocks noChangeArrowheads="1"/>
          </p:cNvSpPr>
          <p:nvPr/>
        </p:nvSpPr>
        <p:spPr bwMode="gray">
          <a:xfrm>
            <a:off x="549796" y="1362770"/>
            <a:ext cx="137632" cy="364757"/>
          </a:xfrm>
          <a:prstGeom prst="rect">
            <a:avLst/>
          </a:prstGeom>
          <a:solidFill>
            <a:srgbClr val="FBFBFB"/>
          </a:solidFill>
          <a:ln w="19050" algn="ctr">
            <a:no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lvl1pPr defTabSz="933450" eaLnBrk="0" hangingPunct="0">
              <a:defRPr sz="1600">
                <a:solidFill>
                  <a:schemeClr val="tx1"/>
                </a:solidFill>
                <a:latin typeface="Arial" charset="0"/>
                <a:ea typeface="MS PGothic" pitchFamily="34" charset="-128"/>
              </a:defRPr>
            </a:lvl1pPr>
            <a:lvl2pPr marL="758825" indent="-292100" defTabSz="933450" eaLnBrk="0" hangingPunct="0">
              <a:defRPr sz="1600">
                <a:solidFill>
                  <a:schemeClr val="tx1"/>
                </a:solidFill>
                <a:latin typeface="Arial" charset="0"/>
                <a:ea typeface="MS PGothic" pitchFamily="34" charset="-128"/>
              </a:defRPr>
            </a:lvl2pPr>
            <a:lvl3pPr marL="1166813" indent="-233363" defTabSz="933450" eaLnBrk="0" hangingPunct="0">
              <a:defRPr sz="1600">
                <a:solidFill>
                  <a:schemeClr val="tx1"/>
                </a:solidFill>
                <a:latin typeface="Arial" charset="0"/>
                <a:ea typeface="MS PGothic" pitchFamily="34" charset="-128"/>
              </a:defRPr>
            </a:lvl3pPr>
            <a:lvl4pPr marL="1631950" indent="-231775" defTabSz="933450" eaLnBrk="0" hangingPunct="0">
              <a:defRPr sz="1600">
                <a:solidFill>
                  <a:schemeClr val="tx1"/>
                </a:solidFill>
                <a:latin typeface="Arial" charset="0"/>
                <a:ea typeface="MS PGothic" pitchFamily="34" charset="-128"/>
              </a:defRPr>
            </a:lvl4pPr>
            <a:lvl5pPr marL="2098675" indent="-233363" defTabSz="933450" eaLnBrk="0" hangingPunct="0">
              <a:defRPr sz="1600">
                <a:solidFill>
                  <a:schemeClr val="tx1"/>
                </a:solidFill>
                <a:latin typeface="Arial" charset="0"/>
                <a:ea typeface="MS PGothic" pitchFamily="34" charset="-128"/>
              </a:defRPr>
            </a:lvl5pPr>
            <a:lvl6pPr marL="2555875" indent="-233363" defTabSz="933450" eaLnBrk="0" fontAlgn="base" hangingPunct="0">
              <a:spcBef>
                <a:spcPct val="0"/>
              </a:spcBef>
              <a:spcAft>
                <a:spcPct val="0"/>
              </a:spcAft>
              <a:defRPr sz="1600">
                <a:solidFill>
                  <a:schemeClr val="tx1"/>
                </a:solidFill>
                <a:latin typeface="Arial" charset="0"/>
                <a:ea typeface="MS PGothic" pitchFamily="34" charset="-128"/>
              </a:defRPr>
            </a:lvl6pPr>
            <a:lvl7pPr marL="3013075" indent="-233363" defTabSz="933450" eaLnBrk="0" fontAlgn="base" hangingPunct="0">
              <a:spcBef>
                <a:spcPct val="0"/>
              </a:spcBef>
              <a:spcAft>
                <a:spcPct val="0"/>
              </a:spcAft>
              <a:defRPr sz="1600">
                <a:solidFill>
                  <a:schemeClr val="tx1"/>
                </a:solidFill>
                <a:latin typeface="Arial" charset="0"/>
                <a:ea typeface="MS PGothic" pitchFamily="34" charset="-128"/>
              </a:defRPr>
            </a:lvl7pPr>
            <a:lvl8pPr marL="3470275" indent="-233363" defTabSz="933450" eaLnBrk="0" fontAlgn="base" hangingPunct="0">
              <a:spcBef>
                <a:spcPct val="0"/>
              </a:spcBef>
              <a:spcAft>
                <a:spcPct val="0"/>
              </a:spcAft>
              <a:defRPr sz="1600">
                <a:solidFill>
                  <a:schemeClr val="tx1"/>
                </a:solidFill>
                <a:latin typeface="Arial" charset="0"/>
                <a:ea typeface="MS PGothic" pitchFamily="34" charset="-128"/>
              </a:defRPr>
            </a:lvl8pPr>
            <a:lvl9pPr marL="3927475" indent="-233363" defTabSz="933450" eaLnBrk="0" fontAlgn="base" hangingPunct="0">
              <a:spcBef>
                <a:spcPct val="0"/>
              </a:spcBef>
              <a:spcAft>
                <a:spcPct val="0"/>
              </a:spcAft>
              <a:defRPr sz="1600">
                <a:solidFill>
                  <a:schemeClr val="tx1"/>
                </a:solidFill>
                <a:latin typeface="Arial" charset="0"/>
                <a:ea typeface="MS PGothic" pitchFamily="34" charset="-128"/>
              </a:defRPr>
            </a:lvl9pPr>
          </a:lstStyle>
          <a:p>
            <a:pPr algn="ctr" eaLnBrk="1" fontAlgn="base" hangingPunct="1">
              <a:spcBef>
                <a:spcPct val="0"/>
              </a:spcBef>
              <a:spcAft>
                <a:spcPct val="0"/>
              </a:spcAft>
              <a:defRPr/>
            </a:pPr>
            <a:r>
              <a:rPr lang="en-US" sz="1500" b="1" dirty="0">
                <a:solidFill>
                  <a:srgbClr val="000000"/>
                </a:solidFill>
                <a:latin typeface="Arial"/>
              </a:rPr>
              <a:t>1</a:t>
            </a:r>
          </a:p>
        </p:txBody>
      </p:sp>
      <p:sp>
        <p:nvSpPr>
          <p:cNvPr id="51" name="Rectangle 50">
            <a:extLst>
              <a:ext uri="{FF2B5EF4-FFF2-40B4-BE49-F238E27FC236}">
                <a16:creationId xmlns:a16="http://schemas.microsoft.com/office/drawing/2014/main" id="{32DBD877-3020-41B5-8310-D610C4718E7F}"/>
              </a:ext>
            </a:extLst>
          </p:cNvPr>
          <p:cNvSpPr/>
          <p:nvPr/>
        </p:nvSpPr>
        <p:spPr>
          <a:xfrm>
            <a:off x="2453024" y="5955672"/>
            <a:ext cx="8470727" cy="461665"/>
          </a:xfrm>
          <a:prstGeom prst="rect">
            <a:avLst/>
          </a:prstGeom>
          <a:noFill/>
        </p:spPr>
        <p:txBody>
          <a:bodyPr wrap="square" lIns="0" tIns="0" rIns="0" bIns="0" anchor="t" anchorCtr="0">
            <a:spAutoFit/>
          </a:bodyPr>
          <a:lstStyle/>
          <a:p>
            <a:pPr marL="174551" indent="-174551" defTabSz="685512">
              <a:spcBef>
                <a:spcPts val="200"/>
              </a:spcBef>
              <a:spcAft>
                <a:spcPts val="200"/>
              </a:spcAft>
              <a:buClr>
                <a:srgbClr val="204024"/>
              </a:buClr>
              <a:buFont typeface="Wingdings" panose="05000000000000000000" pitchFamily="2" charset="2"/>
              <a:buChar char="§"/>
              <a:defRPr/>
            </a:pPr>
            <a:r>
              <a:rPr lang="en-US" sz="1500" dirty="0">
                <a:solidFill>
                  <a:srgbClr val="000000"/>
                </a:solidFill>
                <a:latin typeface="Arial"/>
                <a:cs typeface="Arial" panose="020B0604020202020204" pitchFamily="34" charset="0"/>
              </a:rPr>
              <a:t>Reinforced program ownership and enhanced its sustainability by including TA funding as a line item on NPHCDA’s annual workplan; NGN 57m captured on the budget for 2019</a:t>
            </a:r>
            <a:r>
              <a:rPr lang="en-GB" sz="1500" dirty="0">
                <a:solidFill>
                  <a:srgbClr val="000000"/>
                </a:solidFill>
                <a:latin typeface="Arial"/>
                <a:cs typeface="Arial" panose="020B0604020202020204" pitchFamily="34" charset="0"/>
              </a:rPr>
              <a:t> </a:t>
            </a:r>
            <a:endParaRPr lang="en-US" sz="1500" dirty="0">
              <a:solidFill>
                <a:srgbClr val="000000"/>
              </a:solidFill>
              <a:latin typeface="Arial"/>
              <a:cs typeface="Arial" panose="020B0604020202020204" pitchFamily="34" charset="0"/>
            </a:endParaRPr>
          </a:p>
        </p:txBody>
      </p:sp>
      <p:sp>
        <p:nvSpPr>
          <p:cNvPr id="52" name="Rectangle 51">
            <a:extLst>
              <a:ext uri="{FF2B5EF4-FFF2-40B4-BE49-F238E27FC236}">
                <a16:creationId xmlns:a16="http://schemas.microsoft.com/office/drawing/2014/main" id="{EF1DB1CC-DF0E-446B-BE6B-0866AC2C648A}"/>
              </a:ext>
            </a:extLst>
          </p:cNvPr>
          <p:cNvSpPr/>
          <p:nvPr/>
        </p:nvSpPr>
        <p:spPr>
          <a:xfrm>
            <a:off x="607334" y="5134265"/>
            <a:ext cx="1463041" cy="1204303"/>
          </a:xfrm>
          <a:prstGeom prst="rect">
            <a:avLst/>
          </a:prstGeom>
          <a:solidFill>
            <a:srgbClr val="ACE6B6">
              <a:lumMod val="60000"/>
              <a:lumOff val="40000"/>
            </a:srgbClr>
          </a:solidFill>
        </p:spPr>
        <p:txBody>
          <a:bodyPr wrap="square" lIns="179924" tIns="0" rIns="35985" bIns="0" anchor="ctr">
            <a:noAutofit/>
          </a:bodyPr>
          <a:lstStyle/>
          <a:p>
            <a:pPr defTabSz="685512">
              <a:defRPr/>
            </a:pPr>
            <a:r>
              <a:rPr lang="en-US" sz="1500" b="1" kern="0" dirty="0">
                <a:solidFill>
                  <a:srgbClr val="000000"/>
                </a:solidFill>
                <a:latin typeface="Arial"/>
                <a:ea typeface="Lato Regular" panose="020F0502020204030203" pitchFamily="34" charset="0"/>
                <a:cs typeface="Arial" panose="020B0604020202020204" pitchFamily="34" charset="0"/>
              </a:rPr>
              <a:t>S</a:t>
            </a:r>
            <a:r>
              <a:rPr lang="en-US" sz="1500" b="1" kern="0" dirty="0" err="1">
                <a:solidFill>
                  <a:srgbClr val="000000"/>
                </a:solidFill>
                <a:latin typeface="Arial"/>
                <a:ea typeface="Lato Regular" panose="020F0502020204030203" pitchFamily="34" charset="0"/>
                <a:cs typeface="Arial" panose="020B0604020202020204" pitchFamily="34" charset="0"/>
              </a:rPr>
              <a:t>ustainability</a:t>
            </a:r>
            <a:r>
              <a:rPr lang="en-US" sz="1500" b="1" kern="0" dirty="0">
                <a:solidFill>
                  <a:srgbClr val="000000"/>
                </a:solidFill>
                <a:latin typeface="Arial"/>
                <a:ea typeface="Lato Regular" panose="020F0502020204030203" pitchFamily="34" charset="0"/>
                <a:cs typeface="Arial" panose="020B0604020202020204" pitchFamily="34" charset="0"/>
              </a:rPr>
              <a:t> measures</a:t>
            </a:r>
          </a:p>
        </p:txBody>
      </p:sp>
      <p:sp>
        <p:nvSpPr>
          <p:cNvPr id="53" name="Rectangle 52">
            <a:extLst>
              <a:ext uri="{FF2B5EF4-FFF2-40B4-BE49-F238E27FC236}">
                <a16:creationId xmlns:a16="http://schemas.microsoft.com/office/drawing/2014/main" id="{43D3B581-F89A-4855-B87F-9654D2E80471}"/>
              </a:ext>
            </a:extLst>
          </p:cNvPr>
          <p:cNvSpPr>
            <a:spLocks noChangeArrowheads="1"/>
          </p:cNvSpPr>
          <p:nvPr/>
        </p:nvSpPr>
        <p:spPr bwMode="gray">
          <a:xfrm>
            <a:off x="549796" y="5549345"/>
            <a:ext cx="137632" cy="364757"/>
          </a:xfrm>
          <a:prstGeom prst="rect">
            <a:avLst/>
          </a:prstGeom>
          <a:solidFill>
            <a:srgbClr val="FBFBFB"/>
          </a:solidFill>
          <a:ln w="19050" algn="ctr">
            <a:no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lvl1pPr defTabSz="933450" eaLnBrk="0" hangingPunct="0">
              <a:defRPr sz="1600">
                <a:solidFill>
                  <a:schemeClr val="tx1"/>
                </a:solidFill>
                <a:latin typeface="Arial" charset="0"/>
                <a:ea typeface="MS PGothic" pitchFamily="34" charset="-128"/>
              </a:defRPr>
            </a:lvl1pPr>
            <a:lvl2pPr marL="758825" indent="-292100" defTabSz="933450" eaLnBrk="0" hangingPunct="0">
              <a:defRPr sz="1600">
                <a:solidFill>
                  <a:schemeClr val="tx1"/>
                </a:solidFill>
                <a:latin typeface="Arial" charset="0"/>
                <a:ea typeface="MS PGothic" pitchFamily="34" charset="-128"/>
              </a:defRPr>
            </a:lvl2pPr>
            <a:lvl3pPr marL="1166813" indent="-233363" defTabSz="933450" eaLnBrk="0" hangingPunct="0">
              <a:defRPr sz="1600">
                <a:solidFill>
                  <a:schemeClr val="tx1"/>
                </a:solidFill>
                <a:latin typeface="Arial" charset="0"/>
                <a:ea typeface="MS PGothic" pitchFamily="34" charset="-128"/>
              </a:defRPr>
            </a:lvl3pPr>
            <a:lvl4pPr marL="1631950" indent="-231775" defTabSz="933450" eaLnBrk="0" hangingPunct="0">
              <a:defRPr sz="1600">
                <a:solidFill>
                  <a:schemeClr val="tx1"/>
                </a:solidFill>
                <a:latin typeface="Arial" charset="0"/>
                <a:ea typeface="MS PGothic" pitchFamily="34" charset="-128"/>
              </a:defRPr>
            </a:lvl4pPr>
            <a:lvl5pPr marL="2098675" indent="-233363" defTabSz="933450" eaLnBrk="0" hangingPunct="0">
              <a:defRPr sz="1600">
                <a:solidFill>
                  <a:schemeClr val="tx1"/>
                </a:solidFill>
                <a:latin typeface="Arial" charset="0"/>
                <a:ea typeface="MS PGothic" pitchFamily="34" charset="-128"/>
              </a:defRPr>
            </a:lvl5pPr>
            <a:lvl6pPr marL="2555875" indent="-233363" defTabSz="933450" eaLnBrk="0" fontAlgn="base" hangingPunct="0">
              <a:spcBef>
                <a:spcPct val="0"/>
              </a:spcBef>
              <a:spcAft>
                <a:spcPct val="0"/>
              </a:spcAft>
              <a:defRPr sz="1600">
                <a:solidFill>
                  <a:schemeClr val="tx1"/>
                </a:solidFill>
                <a:latin typeface="Arial" charset="0"/>
                <a:ea typeface="MS PGothic" pitchFamily="34" charset="-128"/>
              </a:defRPr>
            </a:lvl6pPr>
            <a:lvl7pPr marL="3013075" indent="-233363" defTabSz="933450" eaLnBrk="0" fontAlgn="base" hangingPunct="0">
              <a:spcBef>
                <a:spcPct val="0"/>
              </a:spcBef>
              <a:spcAft>
                <a:spcPct val="0"/>
              </a:spcAft>
              <a:defRPr sz="1600">
                <a:solidFill>
                  <a:schemeClr val="tx1"/>
                </a:solidFill>
                <a:latin typeface="Arial" charset="0"/>
                <a:ea typeface="MS PGothic" pitchFamily="34" charset="-128"/>
              </a:defRPr>
            </a:lvl7pPr>
            <a:lvl8pPr marL="3470275" indent="-233363" defTabSz="933450" eaLnBrk="0" fontAlgn="base" hangingPunct="0">
              <a:spcBef>
                <a:spcPct val="0"/>
              </a:spcBef>
              <a:spcAft>
                <a:spcPct val="0"/>
              </a:spcAft>
              <a:defRPr sz="1600">
                <a:solidFill>
                  <a:schemeClr val="tx1"/>
                </a:solidFill>
                <a:latin typeface="Arial" charset="0"/>
                <a:ea typeface="MS PGothic" pitchFamily="34" charset="-128"/>
              </a:defRPr>
            </a:lvl8pPr>
            <a:lvl9pPr marL="3927475" indent="-233363" defTabSz="933450" eaLnBrk="0" fontAlgn="base" hangingPunct="0">
              <a:spcBef>
                <a:spcPct val="0"/>
              </a:spcBef>
              <a:spcAft>
                <a:spcPct val="0"/>
              </a:spcAft>
              <a:defRPr sz="1600">
                <a:solidFill>
                  <a:schemeClr val="tx1"/>
                </a:solidFill>
                <a:latin typeface="Arial" charset="0"/>
                <a:ea typeface="MS PGothic" pitchFamily="34" charset="-128"/>
              </a:defRPr>
            </a:lvl9pPr>
          </a:lstStyle>
          <a:p>
            <a:pPr algn="ctr" eaLnBrk="1" fontAlgn="base" hangingPunct="1">
              <a:spcBef>
                <a:spcPct val="0"/>
              </a:spcBef>
              <a:spcAft>
                <a:spcPct val="0"/>
              </a:spcAft>
              <a:defRPr/>
            </a:pPr>
            <a:r>
              <a:rPr lang="en-US" sz="1500" b="1" dirty="0">
                <a:solidFill>
                  <a:srgbClr val="000000"/>
                </a:solidFill>
                <a:latin typeface="Arial"/>
              </a:rPr>
              <a:t>3</a:t>
            </a:r>
          </a:p>
        </p:txBody>
      </p:sp>
      <p:cxnSp>
        <p:nvCxnSpPr>
          <p:cNvPr id="54" name="Straight Connector 53">
            <a:extLst>
              <a:ext uri="{FF2B5EF4-FFF2-40B4-BE49-F238E27FC236}">
                <a16:creationId xmlns:a16="http://schemas.microsoft.com/office/drawing/2014/main" id="{EB8FC942-885A-489E-B480-244F69DE0779}"/>
              </a:ext>
            </a:extLst>
          </p:cNvPr>
          <p:cNvCxnSpPr>
            <a:cxnSpLocks/>
          </p:cNvCxnSpPr>
          <p:nvPr/>
        </p:nvCxnSpPr>
        <p:spPr>
          <a:xfrm>
            <a:off x="2449844" y="1655253"/>
            <a:ext cx="8314823" cy="0"/>
          </a:xfrm>
          <a:prstGeom prst="line">
            <a:avLst/>
          </a:prstGeom>
          <a:noFill/>
          <a:ln w="9525" cap="flat" cmpd="sng" algn="ctr">
            <a:solidFill>
              <a:srgbClr val="FFFFFF">
                <a:lumMod val="65000"/>
              </a:srgbClr>
            </a:solidFill>
            <a:prstDash val="dash"/>
          </a:ln>
          <a:effectLst/>
        </p:spPr>
      </p:cxnSp>
      <p:sp>
        <p:nvSpPr>
          <p:cNvPr id="55" name="Rectangle 54">
            <a:extLst>
              <a:ext uri="{FF2B5EF4-FFF2-40B4-BE49-F238E27FC236}">
                <a16:creationId xmlns:a16="http://schemas.microsoft.com/office/drawing/2014/main" id="{D653680C-D399-436B-AF3A-1A186E5B53F3}"/>
              </a:ext>
            </a:extLst>
          </p:cNvPr>
          <p:cNvSpPr/>
          <p:nvPr/>
        </p:nvSpPr>
        <p:spPr>
          <a:xfrm>
            <a:off x="2453024" y="1699753"/>
            <a:ext cx="8470727" cy="230832"/>
          </a:xfrm>
          <a:prstGeom prst="rect">
            <a:avLst/>
          </a:prstGeom>
          <a:noFill/>
        </p:spPr>
        <p:txBody>
          <a:bodyPr wrap="square" lIns="0" tIns="0" rIns="0" bIns="0" anchor="t" anchorCtr="0">
            <a:spAutoFit/>
          </a:bodyPr>
          <a:lstStyle/>
          <a:p>
            <a:pPr marL="174551" indent="-174551" defTabSz="685512">
              <a:spcBef>
                <a:spcPts val="200"/>
              </a:spcBef>
              <a:spcAft>
                <a:spcPts val="200"/>
              </a:spcAft>
              <a:buClr>
                <a:srgbClr val="204024"/>
              </a:buClr>
              <a:buFont typeface="Wingdings" panose="05000000000000000000" pitchFamily="2" charset="2"/>
              <a:buChar char="§"/>
              <a:defRPr/>
            </a:pPr>
            <a:r>
              <a:rPr lang="en-US" sz="1500" dirty="0">
                <a:solidFill>
                  <a:srgbClr val="000000"/>
                </a:solidFill>
                <a:latin typeface="Arial"/>
                <a:cs typeface="Arial" panose="020B0604020202020204" pitchFamily="34" charset="0"/>
              </a:rPr>
              <a:t>Engaged a 4-man team (TSU) of NPHCDA staff to run the program</a:t>
            </a:r>
            <a:r>
              <a:rPr lang="en-US" sz="1500" dirty="0">
                <a:solidFill>
                  <a:srgbClr val="000000"/>
                </a:solidFill>
                <a:latin typeface="Arial"/>
                <a:ea typeface="Lato" panose="020F0502020204030203" pitchFamily="34" charset="0"/>
                <a:cs typeface="Arial" panose="020B0604020202020204" pitchFamily="34" charset="0"/>
              </a:rPr>
              <a:t> </a:t>
            </a:r>
          </a:p>
        </p:txBody>
      </p:sp>
      <p:sp>
        <p:nvSpPr>
          <p:cNvPr id="56" name="Rectangle 55">
            <a:extLst>
              <a:ext uri="{FF2B5EF4-FFF2-40B4-BE49-F238E27FC236}">
                <a16:creationId xmlns:a16="http://schemas.microsoft.com/office/drawing/2014/main" id="{DE962753-39C2-4531-93A8-85DBEB5D01CC}"/>
              </a:ext>
            </a:extLst>
          </p:cNvPr>
          <p:cNvSpPr/>
          <p:nvPr/>
        </p:nvSpPr>
        <p:spPr>
          <a:xfrm>
            <a:off x="2450452" y="2214966"/>
            <a:ext cx="8522695" cy="512961"/>
          </a:xfrm>
          <a:prstGeom prst="rect">
            <a:avLst/>
          </a:prstGeom>
          <a:noFill/>
        </p:spPr>
        <p:txBody>
          <a:bodyPr wrap="square" lIns="0" tIns="0" rIns="0" bIns="0" anchor="t" anchorCtr="0">
            <a:spAutoFit/>
          </a:bodyPr>
          <a:lstStyle/>
          <a:p>
            <a:pPr marL="174551" indent="-174551" defTabSz="685512">
              <a:spcBef>
                <a:spcPts val="200"/>
              </a:spcBef>
              <a:spcAft>
                <a:spcPts val="200"/>
              </a:spcAft>
              <a:buClr>
                <a:srgbClr val="204024"/>
              </a:buClr>
              <a:buFont typeface="Wingdings" panose="05000000000000000000" pitchFamily="2" charset="2"/>
              <a:buChar char="§"/>
              <a:defRPr/>
            </a:pPr>
            <a:r>
              <a:rPr lang="en-US" sz="1500" dirty="0">
                <a:solidFill>
                  <a:srgbClr val="000000"/>
                </a:solidFill>
                <a:latin typeface="Arial"/>
                <a:cs typeface="Arial" panose="020B0604020202020204" pitchFamily="34" charset="0"/>
              </a:rPr>
              <a:t>Conducted an initial TA needs assessment across 36+1 states that identified 77 unique TA needs</a:t>
            </a:r>
          </a:p>
          <a:p>
            <a:pPr marL="174551" indent="-174551" defTabSz="685512">
              <a:spcBef>
                <a:spcPts val="200"/>
              </a:spcBef>
              <a:spcAft>
                <a:spcPts val="200"/>
              </a:spcAft>
              <a:buClr>
                <a:srgbClr val="204024"/>
              </a:buClr>
              <a:buFont typeface="Wingdings" panose="05000000000000000000" pitchFamily="2" charset="2"/>
              <a:buChar char="§"/>
              <a:defRPr/>
            </a:pPr>
            <a:endParaRPr lang="en-US" sz="1500" dirty="0">
              <a:solidFill>
                <a:srgbClr val="000000"/>
              </a:solidFill>
              <a:latin typeface="Arial"/>
              <a:ea typeface="Lato" panose="020F0502020204030203" pitchFamily="34" charset="0"/>
              <a:cs typeface="Arial" panose="020B0604020202020204" pitchFamily="34" charset="0"/>
            </a:endParaRPr>
          </a:p>
        </p:txBody>
      </p:sp>
      <p:cxnSp>
        <p:nvCxnSpPr>
          <p:cNvPr id="57" name="Straight Connector 56">
            <a:extLst>
              <a:ext uri="{FF2B5EF4-FFF2-40B4-BE49-F238E27FC236}">
                <a16:creationId xmlns:a16="http://schemas.microsoft.com/office/drawing/2014/main" id="{E10CBEF0-28F2-4439-9E1A-FE87E5401DE1}"/>
              </a:ext>
            </a:extLst>
          </p:cNvPr>
          <p:cNvCxnSpPr>
            <a:cxnSpLocks/>
          </p:cNvCxnSpPr>
          <p:nvPr/>
        </p:nvCxnSpPr>
        <p:spPr>
          <a:xfrm>
            <a:off x="2449844" y="2488846"/>
            <a:ext cx="8314823" cy="0"/>
          </a:xfrm>
          <a:prstGeom prst="line">
            <a:avLst/>
          </a:prstGeom>
          <a:noFill/>
          <a:ln w="9525" cap="flat" cmpd="sng" algn="ctr">
            <a:solidFill>
              <a:srgbClr val="FFFFFF">
                <a:lumMod val="65000"/>
              </a:srgbClr>
            </a:solidFill>
            <a:prstDash val="dash"/>
          </a:ln>
          <a:effectLst/>
        </p:spPr>
      </p:cxnSp>
      <p:sp>
        <p:nvSpPr>
          <p:cNvPr id="58" name="Rectangle 57">
            <a:extLst>
              <a:ext uri="{FF2B5EF4-FFF2-40B4-BE49-F238E27FC236}">
                <a16:creationId xmlns:a16="http://schemas.microsoft.com/office/drawing/2014/main" id="{D63C5E74-BB27-4FBD-9CB4-3DF153AAF9CA}"/>
              </a:ext>
            </a:extLst>
          </p:cNvPr>
          <p:cNvSpPr/>
          <p:nvPr/>
        </p:nvSpPr>
        <p:spPr>
          <a:xfrm>
            <a:off x="2453024" y="2583148"/>
            <a:ext cx="8470727" cy="1154162"/>
          </a:xfrm>
          <a:prstGeom prst="rect">
            <a:avLst/>
          </a:prstGeom>
          <a:noFill/>
        </p:spPr>
        <p:txBody>
          <a:bodyPr wrap="square" lIns="0" tIns="0" rIns="0" bIns="0" anchor="t" anchorCtr="0">
            <a:spAutoFit/>
          </a:bodyPr>
          <a:lstStyle/>
          <a:p>
            <a:pPr marL="174551" indent="-174551" defTabSz="685512">
              <a:spcBef>
                <a:spcPts val="200"/>
              </a:spcBef>
              <a:spcAft>
                <a:spcPts val="200"/>
              </a:spcAft>
              <a:buClr>
                <a:srgbClr val="204024"/>
              </a:buClr>
              <a:buFont typeface="Wingdings" panose="05000000000000000000" pitchFamily="2" charset="2"/>
              <a:buChar char="§"/>
              <a:defRPr/>
            </a:pPr>
            <a:r>
              <a:rPr lang="en-US" sz="1500" dirty="0">
                <a:solidFill>
                  <a:srgbClr val="000000"/>
                </a:solidFill>
                <a:latin typeface="Arial"/>
                <a:cs typeface="Arial" panose="020B0604020202020204" pitchFamily="34" charset="0"/>
              </a:rPr>
              <a:t>Delivered targeted on-site technical assistance to requesting states on themes covering MSP adaptation and costing (5 states), PHCUOR implementation (2 states); PHC data management (4 states); development of SPHCB operational guidelines and regulations (2 states); and set up of top management teams (TMTs), a PHC coordination platform made up of executive leadership of SPHCBs and implementing partners (2 states)</a:t>
            </a:r>
          </a:p>
        </p:txBody>
      </p:sp>
      <p:cxnSp>
        <p:nvCxnSpPr>
          <p:cNvPr id="59" name="Straight Connector 58">
            <a:extLst>
              <a:ext uri="{FF2B5EF4-FFF2-40B4-BE49-F238E27FC236}">
                <a16:creationId xmlns:a16="http://schemas.microsoft.com/office/drawing/2014/main" id="{3E2E2017-CD3E-40FE-A0B5-E894EB7406C4}"/>
              </a:ext>
            </a:extLst>
          </p:cNvPr>
          <p:cNvCxnSpPr>
            <a:cxnSpLocks/>
          </p:cNvCxnSpPr>
          <p:nvPr/>
        </p:nvCxnSpPr>
        <p:spPr>
          <a:xfrm>
            <a:off x="2449844" y="3679637"/>
            <a:ext cx="8314823" cy="0"/>
          </a:xfrm>
          <a:prstGeom prst="line">
            <a:avLst/>
          </a:prstGeom>
          <a:noFill/>
          <a:ln w="9525" cap="flat" cmpd="sng" algn="ctr">
            <a:solidFill>
              <a:srgbClr val="FFFFFF">
                <a:lumMod val="65000"/>
              </a:srgbClr>
            </a:solidFill>
            <a:prstDash val="dash"/>
          </a:ln>
          <a:effectLst/>
        </p:spPr>
      </p:cxnSp>
      <p:sp>
        <p:nvSpPr>
          <p:cNvPr id="60" name="Rectangle 59">
            <a:extLst>
              <a:ext uri="{FF2B5EF4-FFF2-40B4-BE49-F238E27FC236}">
                <a16:creationId xmlns:a16="http://schemas.microsoft.com/office/drawing/2014/main" id="{1EC6F652-1010-4763-BF3D-8D01032E40E3}"/>
              </a:ext>
            </a:extLst>
          </p:cNvPr>
          <p:cNvSpPr/>
          <p:nvPr/>
        </p:nvSpPr>
        <p:spPr>
          <a:xfrm>
            <a:off x="2453024" y="3776523"/>
            <a:ext cx="8470727" cy="923330"/>
          </a:xfrm>
          <a:prstGeom prst="rect">
            <a:avLst/>
          </a:prstGeom>
          <a:noFill/>
        </p:spPr>
        <p:txBody>
          <a:bodyPr wrap="square" lIns="0" tIns="0" rIns="0" bIns="0" anchor="t" anchorCtr="0">
            <a:spAutoFit/>
          </a:bodyPr>
          <a:lstStyle/>
          <a:p>
            <a:pPr marL="174551" indent="-174551" defTabSz="685512">
              <a:spcBef>
                <a:spcPts val="200"/>
              </a:spcBef>
              <a:spcAft>
                <a:spcPts val="200"/>
              </a:spcAft>
              <a:buClr>
                <a:srgbClr val="204024"/>
              </a:buClr>
              <a:buFont typeface="Wingdings" panose="05000000000000000000" pitchFamily="2" charset="2"/>
              <a:buChar char="§"/>
              <a:defRPr/>
            </a:pPr>
            <a:r>
              <a:rPr lang="en-US" sz="1500" dirty="0">
                <a:solidFill>
                  <a:srgbClr val="000000"/>
                </a:solidFill>
                <a:latin typeface="Arial"/>
                <a:cs typeface="Arial" panose="020B0604020202020204" pitchFamily="34" charset="0"/>
              </a:rPr>
              <a:t>Rolled-out NPHCDA’s leadership development academy (LDA); a capacity building program utilizing a mix of adult learning techniques to build staff capacity to provide technical assistance to states. The LDA enrolled its first cohort of 30 high-performing NPHCDA staff selected competitively</a:t>
            </a:r>
          </a:p>
        </p:txBody>
      </p:sp>
      <p:cxnSp>
        <p:nvCxnSpPr>
          <p:cNvPr id="61" name="Straight Connector 60">
            <a:extLst>
              <a:ext uri="{FF2B5EF4-FFF2-40B4-BE49-F238E27FC236}">
                <a16:creationId xmlns:a16="http://schemas.microsoft.com/office/drawing/2014/main" id="{92361C11-0501-4911-B231-F4655028193F}"/>
              </a:ext>
            </a:extLst>
          </p:cNvPr>
          <p:cNvCxnSpPr>
            <a:cxnSpLocks/>
          </p:cNvCxnSpPr>
          <p:nvPr/>
        </p:nvCxnSpPr>
        <p:spPr>
          <a:xfrm>
            <a:off x="2449844" y="4473003"/>
            <a:ext cx="8314823" cy="0"/>
          </a:xfrm>
          <a:prstGeom prst="line">
            <a:avLst/>
          </a:prstGeom>
          <a:noFill/>
          <a:ln w="9525" cap="flat" cmpd="sng" algn="ctr">
            <a:solidFill>
              <a:srgbClr val="FFFFFF">
                <a:lumMod val="65000"/>
              </a:srgbClr>
            </a:solidFill>
            <a:prstDash val="dash"/>
          </a:ln>
          <a:effectLst/>
        </p:spPr>
      </p:cxnSp>
      <p:sp>
        <p:nvSpPr>
          <p:cNvPr id="62" name="Rectangle 61">
            <a:extLst>
              <a:ext uri="{FF2B5EF4-FFF2-40B4-BE49-F238E27FC236}">
                <a16:creationId xmlns:a16="http://schemas.microsoft.com/office/drawing/2014/main" id="{BA78F66A-014D-42A6-BE1E-9FF1C7304F0D}"/>
              </a:ext>
            </a:extLst>
          </p:cNvPr>
          <p:cNvSpPr/>
          <p:nvPr/>
        </p:nvSpPr>
        <p:spPr>
          <a:xfrm>
            <a:off x="2455568" y="4510264"/>
            <a:ext cx="8522695" cy="461665"/>
          </a:xfrm>
          <a:prstGeom prst="rect">
            <a:avLst/>
          </a:prstGeom>
          <a:noFill/>
        </p:spPr>
        <p:txBody>
          <a:bodyPr wrap="square" lIns="0" tIns="0" rIns="0" bIns="0" anchor="t" anchorCtr="0">
            <a:spAutoFit/>
          </a:bodyPr>
          <a:lstStyle/>
          <a:p>
            <a:pPr marL="174551" indent="-174551" defTabSz="685512">
              <a:spcBef>
                <a:spcPts val="200"/>
              </a:spcBef>
              <a:spcAft>
                <a:spcPts val="200"/>
              </a:spcAft>
              <a:buClr>
                <a:srgbClr val="204024"/>
              </a:buClr>
              <a:buFont typeface="Wingdings" panose="05000000000000000000" pitchFamily="2" charset="2"/>
              <a:buChar char="§"/>
              <a:defRPr/>
            </a:pPr>
            <a:r>
              <a:rPr lang="en-US" sz="1500" dirty="0">
                <a:solidFill>
                  <a:srgbClr val="000000"/>
                </a:solidFill>
                <a:latin typeface="Arial"/>
                <a:cs typeface="Arial" panose="020B0604020202020204" pitchFamily="34" charset="0"/>
              </a:rPr>
              <a:t>Facilitated a peer-learning meeting between involving eight states focused on immunization data quality improvement </a:t>
            </a:r>
          </a:p>
        </p:txBody>
      </p:sp>
      <p:sp>
        <p:nvSpPr>
          <p:cNvPr id="63" name="Rectangle 62">
            <a:extLst>
              <a:ext uri="{FF2B5EF4-FFF2-40B4-BE49-F238E27FC236}">
                <a16:creationId xmlns:a16="http://schemas.microsoft.com/office/drawing/2014/main" id="{BBE25E4B-A4A7-45CA-A895-9E816D7D3D48}"/>
              </a:ext>
            </a:extLst>
          </p:cNvPr>
          <p:cNvSpPr/>
          <p:nvPr/>
        </p:nvSpPr>
        <p:spPr>
          <a:xfrm>
            <a:off x="2453024" y="5169253"/>
            <a:ext cx="8470727" cy="994422"/>
          </a:xfrm>
          <a:prstGeom prst="rect">
            <a:avLst/>
          </a:prstGeom>
          <a:noFill/>
        </p:spPr>
        <p:txBody>
          <a:bodyPr wrap="square" lIns="0" tIns="0" rIns="0" bIns="0" anchor="t" anchorCtr="0">
            <a:spAutoFit/>
          </a:bodyPr>
          <a:lstStyle/>
          <a:p>
            <a:pPr marL="174551" indent="-174551" defTabSz="685512">
              <a:spcBef>
                <a:spcPts val="200"/>
              </a:spcBef>
              <a:spcAft>
                <a:spcPts val="200"/>
              </a:spcAft>
              <a:buClr>
                <a:srgbClr val="204024"/>
              </a:buClr>
              <a:buFont typeface="Wingdings" panose="05000000000000000000" pitchFamily="2" charset="2"/>
              <a:buChar char="§"/>
              <a:defRPr/>
            </a:pPr>
            <a:r>
              <a:rPr lang="en-US" sz="1500" dirty="0">
                <a:solidFill>
                  <a:srgbClr val="000000"/>
                </a:solidFill>
                <a:latin typeface="Arial"/>
                <a:cs typeface="Arial" panose="020B0604020202020204" pitchFamily="34" charset="0"/>
              </a:rPr>
              <a:t>Developed a monitoring and evaluation framework to guide the assessment of the quality of TA delivered to the SPHCBs; the competencies and capabilities transferred to the SPHCBs; and the effects of the TA interventions on targeted SPHCB functions and program outputs</a:t>
            </a:r>
          </a:p>
          <a:p>
            <a:pPr marL="174551" indent="-174551" defTabSz="685512">
              <a:spcBef>
                <a:spcPts val="200"/>
              </a:spcBef>
              <a:spcAft>
                <a:spcPts val="200"/>
              </a:spcAft>
              <a:buClr>
                <a:srgbClr val="204024"/>
              </a:buClr>
              <a:buFont typeface="Wingdings" panose="05000000000000000000" pitchFamily="2" charset="2"/>
              <a:buChar char="§"/>
              <a:defRPr/>
            </a:pPr>
            <a:endParaRPr lang="en-US" sz="1500" dirty="0">
              <a:solidFill>
                <a:srgbClr val="000000"/>
              </a:solidFill>
              <a:latin typeface="Arial"/>
              <a:cs typeface="Arial" panose="020B0604020202020204" pitchFamily="34" charset="0"/>
            </a:endParaRPr>
          </a:p>
        </p:txBody>
      </p:sp>
      <p:cxnSp>
        <p:nvCxnSpPr>
          <p:cNvPr id="64" name="Straight Connector 63">
            <a:extLst>
              <a:ext uri="{FF2B5EF4-FFF2-40B4-BE49-F238E27FC236}">
                <a16:creationId xmlns:a16="http://schemas.microsoft.com/office/drawing/2014/main" id="{5F299595-0199-4A76-96A0-72DAA05FC357}"/>
              </a:ext>
            </a:extLst>
          </p:cNvPr>
          <p:cNvCxnSpPr>
            <a:cxnSpLocks/>
          </p:cNvCxnSpPr>
          <p:nvPr/>
        </p:nvCxnSpPr>
        <p:spPr>
          <a:xfrm>
            <a:off x="2449844" y="5865810"/>
            <a:ext cx="8314823" cy="0"/>
          </a:xfrm>
          <a:prstGeom prst="line">
            <a:avLst/>
          </a:prstGeom>
          <a:noFill/>
          <a:ln w="9525" cap="flat" cmpd="sng" algn="ctr">
            <a:solidFill>
              <a:srgbClr val="FFFFFF">
                <a:lumMod val="65000"/>
              </a:srgbClr>
            </a:solidFill>
            <a:prstDash val="dash"/>
          </a:ln>
          <a:effectLst/>
        </p:spPr>
      </p:cxnSp>
      <p:sp>
        <p:nvSpPr>
          <p:cNvPr id="29"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14</a:t>
            </a:fld>
            <a:endParaRPr lang="en-US" sz="1400" b="1" dirty="0">
              <a:solidFill>
                <a:schemeClr val="bg1"/>
              </a:solidFill>
            </a:endParaRPr>
          </a:p>
        </p:txBody>
      </p:sp>
    </p:spTree>
    <p:extLst>
      <p:ext uri="{BB962C8B-B14F-4D97-AF65-F5344CB8AC3E}">
        <p14:creationId xmlns:p14="http://schemas.microsoft.com/office/powerpoint/2010/main" val="1328037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92E97A-37F5-40A4-ACAE-DC4799C7A8E0}"/>
              </a:ext>
            </a:extLst>
          </p:cNvPr>
          <p:cNvGraphicFramePr>
            <a:graphicFrameLocks noChangeAspect="1"/>
          </p:cNvGraphicFramePr>
          <p:nvPr>
            <p:custDataLst>
              <p:tags r:id="rId2"/>
            </p:custDataLst>
            <p:extLst>
              <p:ext uri="{D42A27DB-BD31-4B8C-83A1-F6EECF244321}">
                <p14:modId xmlns:p14="http://schemas.microsoft.com/office/powerpoint/2010/main" val="2564731747"/>
              </p:ext>
            </p:extLst>
          </p:nvPr>
        </p:nvGraphicFramePr>
        <p:xfrm>
          <a:off x="1592" y="1591"/>
          <a:ext cx="1588" cy="1588"/>
        </p:xfrm>
        <a:graphic>
          <a:graphicData uri="http://schemas.openxmlformats.org/presentationml/2006/ole">
            <mc:AlternateContent xmlns:mc="http://schemas.openxmlformats.org/markup-compatibility/2006">
              <mc:Choice xmlns:v="urn:schemas-microsoft-com:vml" Requires="v">
                <p:oleObj spid="_x0000_s637974"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92" y="1591"/>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E6A0ED-9814-40F2-9D07-3EACFB3975CB}"/>
              </a:ext>
            </a:extLst>
          </p:cNvPr>
          <p:cNvSpPr/>
          <p:nvPr>
            <p:custDataLst>
              <p:tags r:id="rId3"/>
            </p:custDataLst>
          </p:nvPr>
        </p:nvSpPr>
        <p:spPr>
          <a:xfrm>
            <a:off x="4" y="14"/>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3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65444FBC-66A5-48C9-A1B1-9808D53F5D7A}"/>
              </a:ext>
            </a:extLst>
          </p:cNvPr>
          <p:cNvSpPr/>
          <p:nvPr/>
        </p:nvSpPr>
        <p:spPr>
          <a:xfrm>
            <a:off x="202018" y="1100599"/>
            <a:ext cx="11823404" cy="4877711"/>
          </a:xfrm>
          <a:prstGeom prst="rect">
            <a:avLst/>
          </a:prstGeom>
          <a:solidFill>
            <a:schemeClr val="accent6">
              <a:lumMod val="20000"/>
              <a:lumOff val="80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endParaRPr lang="x-none">
              <a:solidFill>
                <a:prstClr val="white"/>
              </a:solidFill>
            </a:endParaRPr>
          </a:p>
        </p:txBody>
      </p:sp>
      <p:sp>
        <p:nvSpPr>
          <p:cNvPr id="12" name="Rectangle 11"/>
          <p:cNvSpPr/>
          <p:nvPr/>
        </p:nvSpPr>
        <p:spPr>
          <a:xfrm>
            <a:off x="340248" y="1260085"/>
            <a:ext cx="3551275" cy="163741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endParaRPr lang="en-US">
              <a:solidFill>
                <a:prstClr val="white"/>
              </a:solidFill>
            </a:endParaRPr>
          </a:p>
        </p:txBody>
      </p:sp>
      <p:sp>
        <p:nvSpPr>
          <p:cNvPr id="4" name="Title 56">
            <a:extLst>
              <a:ext uri="{FF2B5EF4-FFF2-40B4-BE49-F238E27FC236}">
                <a16:creationId xmlns:a16="http://schemas.microsoft.com/office/drawing/2014/main" id="{66A3E321-2FF4-4D06-873D-B1C11F5ED5AD}"/>
              </a:ext>
            </a:extLst>
          </p:cNvPr>
          <p:cNvSpPr>
            <a:spLocks noGrp="1"/>
          </p:cNvSpPr>
          <p:nvPr>
            <p:ph type="title"/>
          </p:nvPr>
        </p:nvSpPr>
        <p:spPr>
          <a:xfrm>
            <a:off x="914406" y="156783"/>
            <a:ext cx="10319657" cy="745094"/>
          </a:xfrm>
        </p:spPr>
        <p:txBody>
          <a:bodyPr>
            <a:noAutofit/>
          </a:bodyPr>
          <a:lstStyle/>
          <a:p>
            <a:pPr marL="85671" algn="just"/>
            <a:r>
              <a:rPr lang="en-GB" sz="1900" b="1" baseline="30000" dirty="0">
                <a:solidFill>
                  <a:schemeClr val="accent6">
                    <a:lumMod val="50000"/>
                  </a:schemeClr>
                </a:solidFill>
                <a:latin typeface="Arial" panose="020B0604020202020204" pitchFamily="34" charset="0"/>
                <a:cs typeface="Arial" panose="020B0604020202020204" pitchFamily="34" charset="0"/>
              </a:rPr>
              <a:t>1</a:t>
            </a:r>
            <a:r>
              <a:rPr lang="en-GB" sz="1900" b="1" dirty="0">
                <a:solidFill>
                  <a:schemeClr val="accent6">
                    <a:lumMod val="50000"/>
                  </a:schemeClr>
                </a:solidFill>
                <a:latin typeface="Arial" panose="020B0604020202020204" pitchFamily="34" charset="0"/>
                <a:cs typeface="Arial" panose="020B0604020202020204" pitchFamily="34" charset="0"/>
              </a:rPr>
              <a:t>Internally, the NPHCDA is enforcing an accountability framework that demands increased responsiveness from health workers and managers for RI at national and states levels through quarterly meeting with Executive Secretaries of SPHCBs</a:t>
            </a:r>
          </a:p>
        </p:txBody>
      </p:sp>
      <p:sp>
        <p:nvSpPr>
          <p:cNvPr id="6" name="TextBox 5"/>
          <p:cNvSpPr txBox="1"/>
          <p:nvPr/>
        </p:nvSpPr>
        <p:spPr>
          <a:xfrm>
            <a:off x="701627" y="1835657"/>
            <a:ext cx="2519359" cy="384676"/>
          </a:xfrm>
          <a:prstGeom prst="rect">
            <a:avLst/>
          </a:prstGeom>
          <a:noFill/>
        </p:spPr>
        <p:txBody>
          <a:bodyPr wrap="none" lIns="91384" tIns="45698" rIns="91384" bIns="45698" rtlCol="0">
            <a:spAutoFit/>
          </a:bodyPr>
          <a:lstStyle/>
          <a:p>
            <a:r>
              <a:rPr lang="en-US" b="1" dirty="0">
                <a:solidFill>
                  <a:prstClr val="black"/>
                </a:solidFill>
              </a:rPr>
              <a:t>Rewards and Sanctions</a:t>
            </a:r>
          </a:p>
        </p:txBody>
      </p:sp>
      <p:sp>
        <p:nvSpPr>
          <p:cNvPr id="15" name="TextBox 14"/>
          <p:cNvSpPr txBox="1"/>
          <p:nvPr/>
        </p:nvSpPr>
        <p:spPr>
          <a:xfrm>
            <a:off x="300575" y="3030021"/>
            <a:ext cx="3590951" cy="2862278"/>
          </a:xfrm>
          <a:prstGeom prst="rect">
            <a:avLst/>
          </a:prstGeom>
          <a:noFill/>
          <a:ln>
            <a:solidFill>
              <a:schemeClr val="bg1">
                <a:lumMod val="85000"/>
              </a:schemeClr>
            </a:solidFill>
          </a:ln>
        </p:spPr>
        <p:txBody>
          <a:bodyPr wrap="square" lIns="91384" tIns="45698" rIns="91384" bIns="45698" rtlCol="0">
            <a:spAutoFit/>
          </a:bodyPr>
          <a:lstStyle/>
          <a:p>
            <a:pPr marL="285569" indent="-285569">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Implementation of accountability at all levels</a:t>
            </a:r>
          </a:p>
          <a:p>
            <a:pPr marL="285569" indent="-285569">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Ownership of results</a:t>
            </a:r>
          </a:p>
          <a:p>
            <a:pPr marL="285569" indent="-285569">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Zero tolerance for data falsification</a:t>
            </a:r>
          </a:p>
          <a:p>
            <a:pPr marL="285569" indent="-285569">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Naming and shaming of states and LGAs to increase responsiveness to RI</a:t>
            </a:r>
          </a:p>
          <a:p>
            <a:pPr marL="285569" indent="-285569">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Awards to best performing states and staff</a:t>
            </a:r>
          </a:p>
        </p:txBody>
      </p:sp>
      <p:pic>
        <p:nvPicPr>
          <p:cNvPr id="3" name="Picture 2"/>
          <p:cNvPicPr>
            <a:picLocks noChangeAspect="1"/>
          </p:cNvPicPr>
          <p:nvPr/>
        </p:nvPicPr>
        <p:blipFill>
          <a:blip r:embed="rId7"/>
          <a:stretch>
            <a:fillRect/>
          </a:stretch>
        </p:blipFill>
        <p:spPr>
          <a:xfrm>
            <a:off x="4146569" y="1276379"/>
            <a:ext cx="3529484" cy="4236739"/>
          </a:xfrm>
          <a:prstGeom prst="rect">
            <a:avLst/>
          </a:prstGeom>
          <a:ln>
            <a:solidFill>
              <a:schemeClr val="tx1"/>
            </a:solidFill>
          </a:ln>
        </p:spPr>
      </p:pic>
      <p:sp>
        <p:nvSpPr>
          <p:cNvPr id="9" name="TextBox 8"/>
          <p:cNvSpPr txBox="1"/>
          <p:nvPr/>
        </p:nvSpPr>
        <p:spPr>
          <a:xfrm>
            <a:off x="4146580" y="5567118"/>
            <a:ext cx="3523416" cy="338510"/>
          </a:xfrm>
          <a:prstGeom prst="rect">
            <a:avLst/>
          </a:prstGeom>
          <a:noFill/>
        </p:spPr>
        <p:txBody>
          <a:bodyPr wrap="none" lIns="91384" tIns="45698" rIns="91384" bIns="45698" rtlCol="0">
            <a:spAutoFit/>
          </a:bodyPr>
          <a:lstStyle/>
          <a:p>
            <a:r>
              <a:rPr lang="en-US" sz="1600" b="1" dirty="0">
                <a:solidFill>
                  <a:prstClr val="black"/>
                </a:solidFill>
              </a:rPr>
              <a:t>Suspension of RI focal person in </a:t>
            </a:r>
            <a:r>
              <a:rPr lang="en-US" sz="1600" b="1" dirty="0" err="1">
                <a:solidFill>
                  <a:prstClr val="black"/>
                </a:solidFill>
              </a:rPr>
              <a:t>Sokoto</a:t>
            </a:r>
            <a:endParaRPr lang="en-US" sz="1600" b="1" dirty="0">
              <a:solidFill>
                <a:prstClr val="black"/>
              </a:solidFill>
            </a:endParaRPr>
          </a:p>
        </p:txBody>
      </p:sp>
      <p:pic>
        <p:nvPicPr>
          <p:cNvPr id="1331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64559" y="1272883"/>
            <a:ext cx="3691004" cy="4240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8012802" y="5570207"/>
            <a:ext cx="3642765" cy="338510"/>
          </a:xfrm>
          <a:prstGeom prst="rect">
            <a:avLst/>
          </a:prstGeom>
          <a:noFill/>
        </p:spPr>
        <p:txBody>
          <a:bodyPr wrap="square" lIns="91384" tIns="45698" rIns="91384" bIns="45698" rtlCol="0">
            <a:spAutoFit/>
          </a:bodyPr>
          <a:lstStyle/>
          <a:p>
            <a:r>
              <a:rPr lang="en-US" sz="1600" b="1" dirty="0">
                <a:solidFill>
                  <a:prstClr val="black"/>
                </a:solidFill>
              </a:rPr>
              <a:t>Award given to a WHO staff at NERICC</a:t>
            </a:r>
          </a:p>
        </p:txBody>
      </p:sp>
      <p:sp>
        <p:nvSpPr>
          <p:cNvPr id="14"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15</a:t>
            </a:fld>
            <a:endParaRPr lang="en-US" sz="1400" b="1" dirty="0">
              <a:solidFill>
                <a:schemeClr val="bg1"/>
              </a:solidFill>
            </a:endParaRPr>
          </a:p>
        </p:txBody>
      </p:sp>
    </p:spTree>
    <p:extLst>
      <p:ext uri="{BB962C8B-B14F-4D97-AF65-F5344CB8AC3E}">
        <p14:creationId xmlns:p14="http://schemas.microsoft.com/office/powerpoint/2010/main" val="22627175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9C3C03C-DA5F-4C92-800E-46A2DACEB1C0}"/>
              </a:ext>
            </a:extLst>
          </p:cNvPr>
          <p:cNvSpPr txBox="1">
            <a:spLocks/>
          </p:cNvSpPr>
          <p:nvPr/>
        </p:nvSpPr>
        <p:spPr>
          <a:xfrm>
            <a:off x="1003256" y="206487"/>
            <a:ext cx="10096220" cy="6462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1" tIns="45702" rIns="91401" bIns="45702" rtlCol="0" anchor="ctr">
            <a:spAutoFit/>
          </a:bodyPr>
          <a:lstStyle>
            <a:defPPr>
              <a:defRPr lang="en-US"/>
            </a:defPPr>
            <a:lvl1pPr>
              <a:lnSpc>
                <a:spcPct val="90000"/>
              </a:lnSpc>
              <a:spcBef>
                <a:spcPct val="0"/>
              </a:spcBef>
              <a:buNone/>
              <a:defRPr sz="2000" b="1">
                <a:solidFill>
                  <a:srgbClr val="204024"/>
                </a:solidFill>
                <a:latin typeface="+mj-lt"/>
                <a:ea typeface="+mj-ea"/>
                <a:cs typeface="+mj-cs"/>
              </a:defRPr>
            </a:lvl1pPr>
            <a:lvl2pPr defTabSz="669832">
              <a:defRPr sz="1397" b="1">
                <a:solidFill>
                  <a:schemeClr val="tx2"/>
                </a:solidFill>
                <a:latin typeface="Arial" panose="020B0604020202020204" pitchFamily="34" charset="0"/>
              </a:defRPr>
            </a:lvl2pPr>
            <a:lvl3pPr defTabSz="669832">
              <a:defRPr sz="1397" b="1">
                <a:solidFill>
                  <a:schemeClr val="tx2"/>
                </a:solidFill>
                <a:latin typeface="Arial" panose="020B0604020202020204" pitchFamily="34" charset="0"/>
              </a:defRPr>
            </a:lvl3pPr>
            <a:lvl4pPr defTabSz="669832">
              <a:defRPr sz="1397" b="1">
                <a:solidFill>
                  <a:schemeClr val="tx2"/>
                </a:solidFill>
                <a:latin typeface="Arial" panose="020B0604020202020204" pitchFamily="34" charset="0"/>
              </a:defRPr>
            </a:lvl4pPr>
            <a:lvl5pPr defTabSz="669832">
              <a:defRPr sz="1397" b="1">
                <a:solidFill>
                  <a:schemeClr val="tx2"/>
                </a:solidFill>
                <a:latin typeface="Arial" panose="020B0604020202020204" pitchFamily="34" charset="0"/>
              </a:defRPr>
            </a:lvl5pPr>
            <a:lvl6pPr marL="342042" defTabSz="669832" fontAlgn="base">
              <a:spcBef>
                <a:spcPct val="0"/>
              </a:spcBef>
              <a:spcAft>
                <a:spcPct val="0"/>
              </a:spcAft>
              <a:defRPr sz="1397" b="1">
                <a:solidFill>
                  <a:schemeClr val="tx2"/>
                </a:solidFill>
                <a:latin typeface="Arial" panose="020B0604020202020204" pitchFamily="34" charset="0"/>
              </a:defRPr>
            </a:lvl6pPr>
            <a:lvl7pPr marL="684086" defTabSz="669832" fontAlgn="base">
              <a:spcBef>
                <a:spcPct val="0"/>
              </a:spcBef>
              <a:spcAft>
                <a:spcPct val="0"/>
              </a:spcAft>
              <a:defRPr sz="1397" b="1">
                <a:solidFill>
                  <a:schemeClr val="tx2"/>
                </a:solidFill>
                <a:latin typeface="Arial" panose="020B0604020202020204" pitchFamily="34" charset="0"/>
              </a:defRPr>
            </a:lvl7pPr>
            <a:lvl8pPr marL="1026120" defTabSz="669832" fontAlgn="base">
              <a:spcBef>
                <a:spcPct val="0"/>
              </a:spcBef>
              <a:spcAft>
                <a:spcPct val="0"/>
              </a:spcAft>
              <a:defRPr sz="1397" b="1">
                <a:solidFill>
                  <a:schemeClr val="tx2"/>
                </a:solidFill>
                <a:latin typeface="Arial" panose="020B0604020202020204" pitchFamily="34" charset="0"/>
              </a:defRPr>
            </a:lvl8pPr>
            <a:lvl9pPr marL="1368168" defTabSz="669832" fontAlgn="base">
              <a:spcBef>
                <a:spcPct val="0"/>
              </a:spcBef>
              <a:spcAft>
                <a:spcPct val="0"/>
              </a:spcAft>
              <a:defRPr sz="1397" b="1">
                <a:solidFill>
                  <a:schemeClr val="tx2"/>
                </a:solidFill>
                <a:latin typeface="Arial" panose="020B0604020202020204" pitchFamily="34" charset="0"/>
              </a:defRPr>
            </a:lvl9pPr>
          </a:lstStyle>
          <a:p>
            <a:pPr algn="just" defTabSz="914013"/>
            <a:r>
              <a:rPr lang="en-GB" sz="2400" baseline="30000" dirty="0"/>
              <a:t>1</a:t>
            </a:r>
            <a:r>
              <a:rPr lang="en-GB" dirty="0"/>
              <a:t>NPHCDA convenes quarterly meetings with the Executive Secretaries of SPHCBs to boost accountability and strengthen collaboration with states on PHC and RI Activities </a:t>
            </a:r>
          </a:p>
        </p:txBody>
      </p:sp>
      <p:sp>
        <p:nvSpPr>
          <p:cNvPr id="10" name="TextBox 9">
            <a:extLst>
              <a:ext uri="{FF2B5EF4-FFF2-40B4-BE49-F238E27FC236}">
                <a16:creationId xmlns:a16="http://schemas.microsoft.com/office/drawing/2014/main" id="{4CD178DC-F908-4EDC-8C95-D6BFE74DE06A}"/>
              </a:ext>
            </a:extLst>
          </p:cNvPr>
          <p:cNvSpPr txBox="1"/>
          <p:nvPr/>
        </p:nvSpPr>
        <p:spPr>
          <a:xfrm>
            <a:off x="207455" y="1163629"/>
            <a:ext cx="11803113" cy="2199064"/>
          </a:xfrm>
          <a:prstGeom prst="rect">
            <a:avLst/>
          </a:prstGeom>
          <a:solidFill>
            <a:schemeClr val="bg1">
              <a:lumMod val="95000"/>
            </a:schemeClr>
          </a:solidFill>
        </p:spPr>
        <p:txBody>
          <a:bodyPr wrap="square" lIns="91401" tIns="45702" rIns="91401" bIns="45702" rtlCol="0">
            <a:spAutoFit/>
          </a:bodyPr>
          <a:lstStyle/>
          <a:p>
            <a:pPr defTabSz="914013"/>
            <a:r>
              <a:rPr lang="en-US" b="1" dirty="0">
                <a:solidFill>
                  <a:prstClr val="black"/>
                </a:solidFill>
              </a:rPr>
              <a:t>Objectives of the quarterly meeting with SPHCBs leadership</a:t>
            </a:r>
          </a:p>
          <a:p>
            <a:pPr marL="285629" indent="-285629" defTabSz="912173">
              <a:lnSpc>
                <a:spcPct val="150000"/>
              </a:lnSpc>
              <a:buFont typeface="Arial" pitchFamily="34" charset="0"/>
              <a:buChar char="•"/>
            </a:pPr>
            <a:r>
              <a:rPr lang="en-US" dirty="0">
                <a:solidFill>
                  <a:prstClr val="black"/>
                </a:solidFill>
              </a:rPr>
              <a:t>To outline Key performance indicators for RI and PHC programs.</a:t>
            </a:r>
          </a:p>
          <a:p>
            <a:pPr marL="285629" indent="-285629" defTabSz="912173">
              <a:lnSpc>
                <a:spcPct val="150000"/>
              </a:lnSpc>
              <a:buFont typeface="Arial" pitchFamily="34" charset="0"/>
              <a:buChar char="•"/>
            </a:pPr>
            <a:r>
              <a:rPr lang="en-US" dirty="0">
                <a:solidFill>
                  <a:prstClr val="black"/>
                </a:solidFill>
              </a:rPr>
              <a:t>To provide updates to States on national programs – TSU, BHCPF, PHCUOR, Polio activities</a:t>
            </a:r>
          </a:p>
          <a:p>
            <a:pPr marL="285629" indent="-285629" defTabSz="912173">
              <a:lnSpc>
                <a:spcPct val="150000"/>
              </a:lnSpc>
              <a:buFont typeface="Arial" pitchFamily="34" charset="0"/>
              <a:buChar char="•"/>
            </a:pPr>
            <a:r>
              <a:rPr lang="en-US" dirty="0">
                <a:solidFill>
                  <a:prstClr val="black"/>
                </a:solidFill>
              </a:rPr>
              <a:t>To share State specific PHC best practices and lessons in Nasarawa State.</a:t>
            </a:r>
          </a:p>
          <a:p>
            <a:pPr marL="285629" indent="-285629" defTabSz="912173">
              <a:lnSpc>
                <a:spcPct val="150000"/>
              </a:lnSpc>
              <a:buFont typeface="Arial" pitchFamily="34" charset="0"/>
              <a:buChar char="•"/>
            </a:pPr>
            <a:r>
              <a:rPr lang="en-US" dirty="0">
                <a:solidFill>
                  <a:prstClr val="black"/>
                </a:solidFill>
              </a:rPr>
              <a:t>To deliberate on the impact and interventions for the reduction of maternal and child deaths in Nigeria</a:t>
            </a:r>
          </a:p>
        </p:txBody>
      </p:sp>
      <p:sp>
        <p:nvSpPr>
          <p:cNvPr id="2" name="Slide Number Placeholder 1">
            <a:extLst>
              <a:ext uri="{FF2B5EF4-FFF2-40B4-BE49-F238E27FC236}">
                <a16:creationId xmlns:a16="http://schemas.microsoft.com/office/drawing/2014/main" id="{E425F58C-AB34-430D-A079-A8E8E1515CA0}"/>
              </a:ext>
            </a:extLst>
          </p:cNvPr>
          <p:cNvSpPr>
            <a:spLocks noGrp="1"/>
          </p:cNvSpPr>
          <p:nvPr>
            <p:ph type="sldNum" sz="quarter" idx="12"/>
          </p:nvPr>
        </p:nvSpPr>
        <p:spPr>
          <a:xfrm>
            <a:off x="9331413" y="6492875"/>
            <a:ext cx="2743201" cy="365125"/>
          </a:xfrm>
        </p:spPr>
        <p:txBody>
          <a:bodyPr/>
          <a:lstStyle/>
          <a:p>
            <a:fld id="{978E596B-AA80-4BB2-8707-B351070E738D}" type="slidenum">
              <a:rPr lang="en-US" sz="1600" b="1">
                <a:solidFill>
                  <a:prstClr val="white"/>
                </a:solidFill>
              </a:rPr>
              <a:pPr/>
              <a:t>16</a:t>
            </a:fld>
            <a:endParaRPr lang="en-US" sz="1600" b="1" dirty="0">
              <a:solidFill>
                <a:prstClr val="white"/>
              </a:solidFill>
            </a:endParaRPr>
          </a:p>
        </p:txBody>
      </p:sp>
      <p:sp>
        <p:nvSpPr>
          <p:cNvPr id="8" name="TextBox 7">
            <a:extLst>
              <a:ext uri="{FF2B5EF4-FFF2-40B4-BE49-F238E27FC236}">
                <a16:creationId xmlns:a16="http://schemas.microsoft.com/office/drawing/2014/main" id="{4CD178DC-F908-4EDC-8C95-D6BFE74DE06A}"/>
              </a:ext>
            </a:extLst>
          </p:cNvPr>
          <p:cNvSpPr txBox="1"/>
          <p:nvPr/>
        </p:nvSpPr>
        <p:spPr>
          <a:xfrm>
            <a:off x="207455" y="3664573"/>
            <a:ext cx="11803113" cy="2212934"/>
          </a:xfrm>
          <a:prstGeom prst="rect">
            <a:avLst/>
          </a:prstGeom>
          <a:solidFill>
            <a:schemeClr val="bg1">
              <a:lumMod val="95000"/>
            </a:schemeClr>
          </a:solidFill>
        </p:spPr>
        <p:txBody>
          <a:bodyPr wrap="square" lIns="91401" tIns="45702" rIns="91401" bIns="45702" rtlCol="0">
            <a:spAutoFit/>
          </a:bodyPr>
          <a:lstStyle/>
          <a:p>
            <a:pPr defTabSz="914013"/>
            <a:r>
              <a:rPr lang="en-US" b="1" dirty="0">
                <a:solidFill>
                  <a:prstClr val="black"/>
                </a:solidFill>
              </a:rPr>
              <a:t>Key activities carried out during the meeting: </a:t>
            </a:r>
          </a:p>
          <a:p>
            <a:pPr marL="285629" indent="-285629" defTabSz="912173">
              <a:lnSpc>
                <a:spcPct val="150000"/>
              </a:lnSpc>
              <a:buFont typeface="Arial" pitchFamily="34" charset="0"/>
              <a:buChar char="•"/>
            </a:pPr>
            <a:r>
              <a:rPr lang="en-US" dirty="0">
                <a:solidFill>
                  <a:prstClr val="black"/>
                </a:solidFill>
              </a:rPr>
              <a:t>RI performance score cards with state executives</a:t>
            </a:r>
          </a:p>
          <a:p>
            <a:pPr marL="285629" indent="-285629" defTabSz="912173">
              <a:lnSpc>
                <a:spcPct val="150000"/>
              </a:lnSpc>
              <a:buFont typeface="Arial" pitchFamily="34" charset="0"/>
              <a:buChar char="•"/>
            </a:pPr>
            <a:r>
              <a:rPr lang="en-US" dirty="0">
                <a:solidFill>
                  <a:prstClr val="black"/>
                </a:solidFill>
              </a:rPr>
              <a:t>Best practices and lessons from PHC implementation from states</a:t>
            </a:r>
          </a:p>
          <a:p>
            <a:pPr marL="285629" indent="-285629" defTabSz="912173">
              <a:lnSpc>
                <a:spcPct val="150000"/>
              </a:lnSpc>
              <a:buFont typeface="Arial" pitchFamily="34" charset="0"/>
              <a:buChar char="•"/>
            </a:pPr>
            <a:r>
              <a:rPr lang="en-US" dirty="0">
                <a:solidFill>
                  <a:prstClr val="black"/>
                </a:solidFill>
              </a:rPr>
              <a:t>Health facility based assessment – quick spot check assessment of the functionality of health facilities </a:t>
            </a:r>
          </a:p>
          <a:p>
            <a:pPr marL="285629" indent="-285629" defTabSz="912173">
              <a:lnSpc>
                <a:spcPct val="150000"/>
              </a:lnSpc>
              <a:buFont typeface="Arial" pitchFamily="34" charset="0"/>
              <a:buChar char="•"/>
            </a:pPr>
            <a:r>
              <a:rPr lang="en-US" dirty="0">
                <a:solidFill>
                  <a:prstClr val="black"/>
                </a:solidFill>
              </a:rPr>
              <a:t>Advocacy to Executive Governor of state</a:t>
            </a:r>
          </a:p>
        </p:txBody>
      </p:sp>
    </p:spTree>
    <p:extLst>
      <p:ext uri="{BB962C8B-B14F-4D97-AF65-F5344CB8AC3E}">
        <p14:creationId xmlns:p14="http://schemas.microsoft.com/office/powerpoint/2010/main" val="41791705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67380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0" y="0"/>
                        <a:ext cx="215979" cy="161974"/>
                      </a:xfrm>
                      <a:prstGeom prst="rect">
                        <a:avLst/>
                      </a:prstGeom>
                    </p:spPr>
                  </p:pic>
                </p:oleObj>
              </mc:Fallback>
            </mc:AlternateContent>
          </a:graphicData>
        </a:graphic>
      </p:graphicFrame>
      <p:cxnSp>
        <p:nvCxnSpPr>
          <p:cNvPr id="11" name="AutoShape 249"/>
          <p:cNvCxnSpPr>
            <a:cxnSpLocks noChangeShapeType="1"/>
          </p:cNvCxnSpPr>
          <p:nvPr/>
        </p:nvCxnSpPr>
        <p:spPr bwMode="auto">
          <a:xfrm>
            <a:off x="4161379" y="-237459"/>
            <a:ext cx="7108711"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Rectangle 27"/>
          <p:cNvSpPr>
            <a:spLocks/>
          </p:cNvSpPr>
          <p:nvPr>
            <p:custDataLst>
              <p:tags r:id="rId3"/>
            </p:custDataLst>
          </p:nvPr>
        </p:nvSpPr>
        <p:spPr bwMode="gray">
          <a:xfrm>
            <a:off x="233260" y="1090151"/>
            <a:ext cx="11653129" cy="5251150"/>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11047" tIns="55524" rIns="111047" bIns="55524" rtlCol="0" anchor="ctr">
            <a:noAutofit/>
          </a:bodyPr>
          <a:lstStyle/>
          <a:p>
            <a:pPr algn="ctr" defTabSz="1110630" fontAlgn="base">
              <a:spcBef>
                <a:spcPct val="0"/>
              </a:spcBef>
              <a:spcAft>
                <a:spcPct val="0"/>
              </a:spcAft>
            </a:pPr>
            <a:endParaRPr lang="en-US" sz="1600" dirty="0" err="1">
              <a:solidFill>
                <a:srgbClr val="1F1F1F"/>
              </a:solidFill>
            </a:endParaRPr>
          </a:p>
        </p:txBody>
      </p:sp>
      <p:cxnSp>
        <p:nvCxnSpPr>
          <p:cNvPr id="19" name="Straight Connector 18"/>
          <p:cNvCxnSpPr>
            <a:cxnSpLocks/>
          </p:cNvCxnSpPr>
          <p:nvPr>
            <p:custDataLst>
              <p:tags r:id="rId4"/>
            </p:custDataLst>
          </p:nvPr>
        </p:nvCxnSpPr>
        <p:spPr>
          <a:xfrm>
            <a:off x="3087598" y="2650808"/>
            <a:ext cx="8642232"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custDataLst>
              <p:tags r:id="rId5"/>
            </p:custDataLst>
          </p:nvPr>
        </p:nvCxnSpPr>
        <p:spPr>
          <a:xfrm>
            <a:off x="3087598" y="3913717"/>
            <a:ext cx="8642232"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4" name="Rectangle 14"/>
          <p:cNvSpPr txBox="1">
            <a:spLocks/>
          </p:cNvSpPr>
          <p:nvPr>
            <p:custDataLst>
              <p:tags r:id="rId6"/>
            </p:custDataLst>
          </p:nvPr>
        </p:nvSpPr>
        <p:spPr>
          <a:xfrm>
            <a:off x="3087600" y="1429729"/>
            <a:ext cx="8798791" cy="964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30000"/>
              </a:spcBef>
              <a:spcAft>
                <a:spcPct val="0"/>
              </a:spcAft>
              <a:buClr>
                <a:srgbClr val="339966"/>
              </a:buClr>
            </a:pPr>
            <a:r>
              <a:rPr lang="en-US" dirty="0">
                <a:solidFill>
                  <a:srgbClr val="1F1F1F"/>
                </a:solidFill>
              </a:rPr>
              <a:t>Set up a </a:t>
            </a:r>
            <a:r>
              <a:rPr lang="en-US" b="1" dirty="0">
                <a:solidFill>
                  <a:srgbClr val="339966"/>
                </a:solidFill>
              </a:rPr>
              <a:t>high-profile task-force/committee to manage the migration</a:t>
            </a:r>
          </a:p>
          <a:p>
            <a:pPr lvl="1" fontAlgn="base">
              <a:spcBef>
                <a:spcPct val="30000"/>
              </a:spcBef>
              <a:spcAft>
                <a:spcPct val="0"/>
              </a:spcAft>
              <a:buClr>
                <a:srgbClr val="339966"/>
              </a:buClr>
            </a:pPr>
            <a:r>
              <a:rPr lang="en-US" dirty="0">
                <a:solidFill>
                  <a:srgbClr val="1F1F1F"/>
                </a:solidFill>
              </a:rPr>
              <a:t>Ensure this </a:t>
            </a:r>
            <a:r>
              <a:rPr lang="en-US" b="1" dirty="0">
                <a:solidFill>
                  <a:srgbClr val="339966"/>
                </a:solidFill>
              </a:rPr>
              <a:t>committee has a wide representation </a:t>
            </a:r>
            <a:r>
              <a:rPr lang="en-US" dirty="0">
                <a:solidFill>
                  <a:srgbClr val="1F1F1F"/>
                </a:solidFill>
              </a:rPr>
              <a:t>e.g. </a:t>
            </a:r>
            <a:r>
              <a:rPr lang="en-US" dirty="0" err="1">
                <a:solidFill>
                  <a:srgbClr val="1F1F1F"/>
                </a:solidFill>
              </a:rPr>
              <a:t>MoH</a:t>
            </a:r>
            <a:r>
              <a:rPr lang="en-US" dirty="0">
                <a:solidFill>
                  <a:srgbClr val="1F1F1F"/>
                </a:solidFill>
              </a:rPr>
              <a:t>, </a:t>
            </a:r>
            <a:r>
              <a:rPr lang="en-US" dirty="0" err="1">
                <a:solidFill>
                  <a:srgbClr val="1F1F1F"/>
                </a:solidFill>
              </a:rPr>
              <a:t>MoF</a:t>
            </a:r>
            <a:r>
              <a:rPr lang="en-US" dirty="0">
                <a:solidFill>
                  <a:srgbClr val="1F1F1F"/>
                </a:solidFill>
              </a:rPr>
              <a:t>, AG’s Office, LGAs, LGA service commission HCW’ unions, Partners </a:t>
            </a:r>
          </a:p>
        </p:txBody>
      </p:sp>
      <p:sp>
        <p:nvSpPr>
          <p:cNvPr id="21" name="Rectangle 14"/>
          <p:cNvSpPr txBox="1">
            <a:spLocks/>
          </p:cNvSpPr>
          <p:nvPr>
            <p:custDataLst>
              <p:tags r:id="rId7"/>
            </p:custDataLst>
          </p:nvPr>
        </p:nvSpPr>
        <p:spPr>
          <a:xfrm>
            <a:off x="573866" y="1262082"/>
            <a:ext cx="2380725" cy="1328890"/>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22094" tIns="87450" rIns="87450" bIns="8745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30000"/>
              </a:spcBef>
              <a:spcAft>
                <a:spcPct val="0"/>
              </a:spcAft>
              <a:buClr>
                <a:srgbClr val="339966"/>
              </a:buClr>
            </a:pPr>
            <a:r>
              <a:rPr lang="en-ZA" b="1" dirty="0">
                <a:solidFill>
                  <a:srgbClr val="FFFFFF"/>
                </a:solidFill>
              </a:rPr>
              <a:t>Establish a task-force</a:t>
            </a:r>
            <a:endParaRPr lang="en-US" b="1" dirty="0">
              <a:solidFill>
                <a:srgbClr val="FFFFFF"/>
              </a:solidFill>
            </a:endParaRPr>
          </a:p>
        </p:txBody>
      </p:sp>
      <p:sp>
        <p:nvSpPr>
          <p:cNvPr id="24" name="Oval 175"/>
          <p:cNvSpPr>
            <a:spLocks noChangeArrowheads="1"/>
          </p:cNvSpPr>
          <p:nvPr>
            <p:custDataLst>
              <p:tags r:id="rId8"/>
            </p:custDataLst>
          </p:nvPr>
        </p:nvSpPr>
        <p:spPr bwMode="auto">
          <a:xfrm>
            <a:off x="440855" y="1729506"/>
            <a:ext cx="317050" cy="246052"/>
          </a:xfrm>
          <a:prstGeom prst="ellipse">
            <a:avLst/>
          </a:prstGeom>
          <a:solidFill>
            <a:schemeClr val="accent5">
              <a:lumMod val="75000"/>
            </a:schemeClr>
          </a:solidFill>
          <a:ln w="19050">
            <a:solidFill>
              <a:schemeClr val="bg1"/>
            </a:solidFill>
            <a:round/>
            <a:headEnd/>
            <a:tailEnd/>
          </a:ln>
        </p:spPr>
        <p:txBody>
          <a:bodyPr wrap="none" lIns="0" tIns="0" rIns="0" bIns="0" anchor="ctr" anchorCtr="1">
            <a:noAutofit/>
          </a:bodyPr>
          <a:lstStyle/>
          <a:p>
            <a:pPr algn="ctr" defTabSz="1110630" fontAlgn="base">
              <a:spcBef>
                <a:spcPct val="0"/>
              </a:spcBef>
              <a:spcAft>
                <a:spcPct val="0"/>
              </a:spcAft>
            </a:pPr>
            <a:r>
              <a:rPr lang="en-US" b="1" dirty="0" err="1">
                <a:solidFill>
                  <a:srgbClr val="FFFFFF"/>
                </a:solidFill>
                <a:ea typeface="Gulim" pitchFamily="34" charset="-127"/>
              </a:rPr>
              <a:t>1</a:t>
            </a:r>
            <a:endParaRPr lang="en-US" b="1" dirty="0">
              <a:solidFill>
                <a:srgbClr val="FFFFFF"/>
              </a:solidFill>
              <a:ea typeface="Gulim" pitchFamily="34" charset="-127"/>
            </a:endParaRPr>
          </a:p>
        </p:txBody>
      </p:sp>
      <p:sp>
        <p:nvSpPr>
          <p:cNvPr id="16" name="Rectangle 14"/>
          <p:cNvSpPr txBox="1">
            <a:spLocks/>
          </p:cNvSpPr>
          <p:nvPr>
            <p:custDataLst>
              <p:tags r:id="rId9"/>
            </p:custDataLst>
          </p:nvPr>
        </p:nvSpPr>
        <p:spPr>
          <a:xfrm>
            <a:off x="3087600" y="2819290"/>
            <a:ext cx="8798791" cy="1056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30000"/>
              </a:spcBef>
              <a:spcAft>
                <a:spcPct val="0"/>
              </a:spcAft>
              <a:buClr>
                <a:srgbClr val="339966"/>
              </a:buClr>
            </a:pPr>
            <a:r>
              <a:rPr lang="en-US" b="1" dirty="0">
                <a:solidFill>
                  <a:srgbClr val="339966"/>
                </a:solidFill>
              </a:rPr>
              <a:t>Conduct an audit of existing PHC workers </a:t>
            </a:r>
            <a:r>
              <a:rPr lang="en-US" dirty="0">
                <a:solidFill>
                  <a:srgbClr val="1F1F1F"/>
                </a:solidFill>
              </a:rPr>
              <a:t>to verify current numbers, competencies using the task-force and HR audit firm</a:t>
            </a:r>
          </a:p>
          <a:p>
            <a:pPr lvl="1" fontAlgn="base">
              <a:spcBef>
                <a:spcPct val="30000"/>
              </a:spcBef>
              <a:spcAft>
                <a:spcPct val="0"/>
              </a:spcAft>
              <a:buClr>
                <a:srgbClr val="339966"/>
              </a:buClr>
            </a:pPr>
            <a:r>
              <a:rPr lang="en-US" dirty="0">
                <a:solidFill>
                  <a:srgbClr val="1F1F1F"/>
                </a:solidFill>
              </a:rPr>
              <a:t>Use the audit to also </a:t>
            </a:r>
            <a:r>
              <a:rPr lang="en-US" b="1" dirty="0">
                <a:solidFill>
                  <a:srgbClr val="339966"/>
                </a:solidFill>
              </a:rPr>
              <a:t>establish qualifications of verified HCW</a:t>
            </a:r>
          </a:p>
        </p:txBody>
      </p:sp>
      <p:sp>
        <p:nvSpPr>
          <p:cNvPr id="22" name="Rectangle 14"/>
          <p:cNvSpPr txBox="1">
            <a:spLocks/>
          </p:cNvSpPr>
          <p:nvPr>
            <p:custDataLst>
              <p:tags r:id="rId10"/>
            </p:custDataLst>
          </p:nvPr>
        </p:nvSpPr>
        <p:spPr>
          <a:xfrm>
            <a:off x="573867" y="2732957"/>
            <a:ext cx="2380725" cy="1037763"/>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22094" tIns="87450" rIns="87450" bIns="8745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30000"/>
              </a:spcBef>
              <a:spcAft>
                <a:spcPct val="0"/>
              </a:spcAft>
              <a:buClr>
                <a:srgbClr val="339966"/>
              </a:buClr>
            </a:pPr>
            <a:r>
              <a:rPr lang="en-ZA" b="1" dirty="0">
                <a:solidFill>
                  <a:srgbClr val="FFFFFF"/>
                </a:solidFill>
              </a:rPr>
              <a:t>Conduct </a:t>
            </a:r>
            <a:r>
              <a:rPr lang="en-ZA" b="1" dirty="0" err="1">
                <a:solidFill>
                  <a:srgbClr val="FFFFFF"/>
                </a:solidFill>
              </a:rPr>
              <a:t>PHC</a:t>
            </a:r>
            <a:r>
              <a:rPr lang="en-ZA" b="1" dirty="0">
                <a:solidFill>
                  <a:srgbClr val="FFFFFF"/>
                </a:solidFill>
              </a:rPr>
              <a:t> staff audit</a:t>
            </a:r>
            <a:endParaRPr lang="en-US" b="1" dirty="0">
              <a:solidFill>
                <a:srgbClr val="FFFFFF"/>
              </a:solidFill>
            </a:endParaRPr>
          </a:p>
        </p:txBody>
      </p:sp>
      <p:sp>
        <p:nvSpPr>
          <p:cNvPr id="25" name="Oval 175"/>
          <p:cNvSpPr>
            <a:spLocks noChangeArrowheads="1"/>
          </p:cNvSpPr>
          <p:nvPr>
            <p:custDataLst>
              <p:tags r:id="rId11"/>
            </p:custDataLst>
          </p:nvPr>
        </p:nvSpPr>
        <p:spPr bwMode="auto">
          <a:xfrm>
            <a:off x="389822" y="3178338"/>
            <a:ext cx="317050" cy="246052"/>
          </a:xfrm>
          <a:prstGeom prst="ellipse">
            <a:avLst/>
          </a:prstGeom>
          <a:solidFill>
            <a:schemeClr val="accent5">
              <a:lumMod val="75000"/>
            </a:schemeClr>
          </a:solidFill>
          <a:ln w="19050">
            <a:solidFill>
              <a:schemeClr val="bg1"/>
            </a:solidFill>
            <a:round/>
            <a:headEnd/>
            <a:tailEnd/>
          </a:ln>
        </p:spPr>
        <p:txBody>
          <a:bodyPr wrap="none" lIns="0" tIns="0" rIns="0" bIns="0" anchor="ctr" anchorCtr="1">
            <a:noAutofit/>
          </a:bodyPr>
          <a:lstStyle/>
          <a:p>
            <a:pPr algn="ctr" defTabSz="1110630" fontAlgn="base">
              <a:spcBef>
                <a:spcPct val="0"/>
              </a:spcBef>
              <a:spcAft>
                <a:spcPct val="0"/>
              </a:spcAft>
            </a:pPr>
            <a:r>
              <a:rPr lang="en-US" b="1" dirty="0">
                <a:solidFill>
                  <a:srgbClr val="FFFFFF"/>
                </a:solidFill>
                <a:ea typeface="Gulim" pitchFamily="34" charset="-127"/>
              </a:rPr>
              <a:t>2</a:t>
            </a:r>
          </a:p>
        </p:txBody>
      </p:sp>
      <p:sp>
        <p:nvSpPr>
          <p:cNvPr id="17" name="Rectangle 14"/>
          <p:cNvSpPr txBox="1">
            <a:spLocks/>
          </p:cNvSpPr>
          <p:nvPr>
            <p:custDataLst>
              <p:tags r:id="rId12"/>
            </p:custDataLst>
          </p:nvPr>
        </p:nvSpPr>
        <p:spPr>
          <a:xfrm>
            <a:off x="3087600" y="4119777"/>
            <a:ext cx="8798791" cy="8290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7023" indent="-347023" fontAlgn="base">
              <a:spcBef>
                <a:spcPct val="0"/>
              </a:spcBef>
              <a:spcAft>
                <a:spcPct val="0"/>
              </a:spcAft>
              <a:buClr>
                <a:srgbClr val="339966"/>
              </a:buClr>
              <a:buFont typeface="Wingdings" panose="05000000000000000000" pitchFamily="2" charset="2"/>
              <a:buChar char="§"/>
            </a:pPr>
            <a:r>
              <a:rPr lang="en-US" b="1" dirty="0">
                <a:solidFill>
                  <a:srgbClr val="339966"/>
                </a:solidFill>
              </a:rPr>
              <a:t>Migrate only staff who have relevant healthcare qualifications</a:t>
            </a:r>
          </a:p>
          <a:p>
            <a:pPr marL="347023" indent="-347023" fontAlgn="base">
              <a:spcBef>
                <a:spcPct val="0"/>
              </a:spcBef>
              <a:spcAft>
                <a:spcPct val="0"/>
              </a:spcAft>
              <a:buClr>
                <a:srgbClr val="339966"/>
              </a:buClr>
              <a:buFont typeface="Wingdings" panose="05000000000000000000" pitchFamily="2" charset="2"/>
              <a:buChar char="§"/>
            </a:pPr>
            <a:r>
              <a:rPr lang="en-US" dirty="0">
                <a:solidFill>
                  <a:srgbClr val="1F1F1F"/>
                </a:solidFill>
              </a:rPr>
              <a:t>Post verified staff who do not have relevant training or qualifications to other state/</a:t>
            </a:r>
            <a:r>
              <a:rPr lang="en-US" dirty="0" err="1">
                <a:solidFill>
                  <a:srgbClr val="1F1F1F"/>
                </a:solidFill>
              </a:rPr>
              <a:t>LGA</a:t>
            </a:r>
            <a:r>
              <a:rPr lang="en-US" dirty="0">
                <a:solidFill>
                  <a:srgbClr val="1F1F1F"/>
                </a:solidFill>
              </a:rPr>
              <a:t> ministries &amp; departments</a:t>
            </a:r>
          </a:p>
        </p:txBody>
      </p:sp>
      <p:sp>
        <p:nvSpPr>
          <p:cNvPr id="23" name="Rectangle 14"/>
          <p:cNvSpPr txBox="1">
            <a:spLocks/>
          </p:cNvSpPr>
          <p:nvPr>
            <p:custDataLst>
              <p:tags r:id="rId13"/>
            </p:custDataLst>
          </p:nvPr>
        </p:nvSpPr>
        <p:spPr>
          <a:xfrm>
            <a:off x="573867" y="3995865"/>
            <a:ext cx="2380725" cy="1015451"/>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22094" tIns="87450" rIns="87450" bIns="8745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30000"/>
              </a:spcBef>
              <a:spcAft>
                <a:spcPct val="0"/>
              </a:spcAft>
              <a:buClr>
                <a:srgbClr val="339966"/>
              </a:buClr>
            </a:pPr>
            <a:r>
              <a:rPr lang="en-US" b="1" dirty="0">
                <a:solidFill>
                  <a:srgbClr val="FFFFFF"/>
                </a:solidFill>
              </a:rPr>
              <a:t>Migrate qualified staff</a:t>
            </a:r>
          </a:p>
        </p:txBody>
      </p:sp>
      <p:sp>
        <p:nvSpPr>
          <p:cNvPr id="26" name="Oval 175"/>
          <p:cNvSpPr>
            <a:spLocks noChangeArrowheads="1"/>
          </p:cNvSpPr>
          <p:nvPr>
            <p:custDataLst>
              <p:tags r:id="rId14"/>
            </p:custDataLst>
          </p:nvPr>
        </p:nvSpPr>
        <p:spPr bwMode="auto">
          <a:xfrm>
            <a:off x="389822" y="4441246"/>
            <a:ext cx="317050" cy="246052"/>
          </a:xfrm>
          <a:prstGeom prst="ellipse">
            <a:avLst/>
          </a:prstGeom>
          <a:solidFill>
            <a:schemeClr val="accent5">
              <a:lumMod val="75000"/>
            </a:schemeClr>
          </a:solidFill>
          <a:ln w="19050">
            <a:solidFill>
              <a:schemeClr val="bg1"/>
            </a:solidFill>
            <a:round/>
            <a:headEnd/>
            <a:tailEnd/>
          </a:ln>
        </p:spPr>
        <p:txBody>
          <a:bodyPr wrap="none" lIns="0" tIns="0" rIns="0" bIns="0" anchor="ctr" anchorCtr="1">
            <a:noAutofit/>
          </a:bodyPr>
          <a:lstStyle/>
          <a:p>
            <a:pPr algn="ctr" defTabSz="1110630" fontAlgn="base">
              <a:spcBef>
                <a:spcPct val="0"/>
              </a:spcBef>
              <a:spcAft>
                <a:spcPct val="0"/>
              </a:spcAft>
            </a:pPr>
            <a:r>
              <a:rPr lang="en-US" b="1" dirty="0">
                <a:solidFill>
                  <a:srgbClr val="FFFFFF"/>
                </a:solidFill>
                <a:ea typeface="Gulim" pitchFamily="34" charset="-127"/>
              </a:rPr>
              <a:t>3</a:t>
            </a:r>
          </a:p>
        </p:txBody>
      </p:sp>
      <p:sp>
        <p:nvSpPr>
          <p:cNvPr id="3" name="Title 2"/>
          <p:cNvSpPr>
            <a:spLocks noGrp="1"/>
          </p:cNvSpPr>
          <p:nvPr>
            <p:ph type="title"/>
          </p:nvPr>
        </p:nvSpPr>
        <p:spPr>
          <a:xfrm>
            <a:off x="233262" y="234864"/>
            <a:ext cx="11725485" cy="707886"/>
          </a:xfrm>
        </p:spPr>
        <p:txBody>
          <a:bodyPr/>
          <a:lstStyle/>
          <a:p>
            <a:r>
              <a:rPr lang="en-US" dirty="0">
                <a:solidFill>
                  <a:schemeClr val="bg1"/>
                </a:solidFill>
              </a:rPr>
              <a:t>We have put in place a number of measures to ensure the Task-shifting program is successfully implemented to the end </a:t>
            </a:r>
            <a:endParaRPr lang="en-ZA" dirty="0">
              <a:solidFill>
                <a:schemeClr val="bg1"/>
              </a:solidFill>
            </a:endParaRPr>
          </a:p>
        </p:txBody>
      </p:sp>
      <p:sp>
        <p:nvSpPr>
          <p:cNvPr id="30" name="5. Source"/>
          <p:cNvSpPr>
            <a:spLocks noChangeArrowheads="1"/>
          </p:cNvSpPr>
          <p:nvPr/>
        </p:nvSpPr>
        <p:spPr bwMode="auto">
          <a:xfrm>
            <a:off x="161985" y="6551861"/>
            <a:ext cx="933676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740316" indent="-740316" defTabSz="1087338" fontAlgn="base">
              <a:spcBef>
                <a:spcPct val="0"/>
              </a:spcBef>
              <a:spcAft>
                <a:spcPct val="0"/>
              </a:spcAft>
              <a:tabLst>
                <a:tab pos="744172" algn="l"/>
              </a:tabLst>
            </a:pPr>
            <a:r>
              <a:rPr lang="en-US" sz="1200" dirty="0">
                <a:solidFill>
                  <a:srgbClr val="1F1F1F"/>
                </a:solidFill>
              </a:rPr>
              <a:t>SOURCE: NPHCDA</a:t>
            </a:r>
          </a:p>
        </p:txBody>
      </p:sp>
      <p:cxnSp>
        <p:nvCxnSpPr>
          <p:cNvPr id="38" name="Straight Connector 37"/>
          <p:cNvCxnSpPr>
            <a:cxnSpLocks/>
          </p:cNvCxnSpPr>
          <p:nvPr>
            <p:custDataLst>
              <p:tags r:id="rId15"/>
            </p:custDataLst>
          </p:nvPr>
        </p:nvCxnSpPr>
        <p:spPr>
          <a:xfrm>
            <a:off x="3087598" y="5154313"/>
            <a:ext cx="8642232"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0" name="Rectangle 14"/>
          <p:cNvSpPr txBox="1">
            <a:spLocks/>
          </p:cNvSpPr>
          <p:nvPr>
            <p:custDataLst>
              <p:tags r:id="rId16"/>
            </p:custDataLst>
          </p:nvPr>
        </p:nvSpPr>
        <p:spPr>
          <a:xfrm>
            <a:off x="3087600" y="5309351"/>
            <a:ext cx="8798791" cy="8290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47023" indent="-347023" fontAlgn="base">
              <a:spcBef>
                <a:spcPct val="0"/>
              </a:spcBef>
              <a:spcAft>
                <a:spcPct val="0"/>
              </a:spcAft>
              <a:buClr>
                <a:srgbClr val="339966"/>
              </a:buClr>
              <a:buFont typeface="Wingdings" panose="05000000000000000000" pitchFamily="2" charset="2"/>
              <a:buChar char="§"/>
            </a:pPr>
            <a:r>
              <a:rPr lang="en-US" dirty="0">
                <a:solidFill>
                  <a:srgbClr val="1F1F1F"/>
                </a:solidFill>
              </a:rPr>
              <a:t>Ensure that there is </a:t>
            </a:r>
            <a:r>
              <a:rPr lang="en-US" b="1" dirty="0">
                <a:solidFill>
                  <a:srgbClr val="339966"/>
                </a:solidFill>
              </a:rPr>
              <a:t>no opacity surrounding the process</a:t>
            </a:r>
          </a:p>
          <a:p>
            <a:pPr marL="347023" indent="-347023" fontAlgn="base">
              <a:spcBef>
                <a:spcPct val="0"/>
              </a:spcBef>
              <a:spcAft>
                <a:spcPct val="0"/>
              </a:spcAft>
              <a:buClr>
                <a:srgbClr val="339966"/>
              </a:buClr>
              <a:buFont typeface="Wingdings" panose="05000000000000000000" pitchFamily="2" charset="2"/>
              <a:buChar char="§"/>
            </a:pPr>
            <a:r>
              <a:rPr lang="en-US" dirty="0">
                <a:solidFill>
                  <a:srgbClr val="1F1F1F"/>
                </a:solidFill>
              </a:rPr>
              <a:t>Ensure that </a:t>
            </a:r>
            <a:r>
              <a:rPr lang="en-US" b="1" dirty="0">
                <a:solidFill>
                  <a:srgbClr val="339966"/>
                </a:solidFill>
              </a:rPr>
              <a:t>political considerations do not override health system needs</a:t>
            </a:r>
            <a:r>
              <a:rPr lang="en-US" dirty="0">
                <a:solidFill>
                  <a:srgbClr val="1F1F1F"/>
                </a:solidFill>
              </a:rPr>
              <a:t> in the migration process</a:t>
            </a:r>
          </a:p>
        </p:txBody>
      </p:sp>
      <p:sp>
        <p:nvSpPr>
          <p:cNvPr id="41" name="Rectangle 14"/>
          <p:cNvSpPr txBox="1">
            <a:spLocks/>
          </p:cNvSpPr>
          <p:nvPr>
            <p:custDataLst>
              <p:tags r:id="rId17"/>
            </p:custDataLst>
          </p:nvPr>
        </p:nvSpPr>
        <p:spPr>
          <a:xfrm>
            <a:off x="573867" y="5236462"/>
            <a:ext cx="2380725" cy="1046531"/>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22094" tIns="87450" rIns="87450" bIns="8745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30000"/>
              </a:spcBef>
              <a:spcAft>
                <a:spcPct val="0"/>
              </a:spcAft>
              <a:buClr>
                <a:srgbClr val="339966"/>
              </a:buClr>
            </a:pPr>
            <a:r>
              <a:rPr lang="en-ZA" b="1" dirty="0">
                <a:solidFill>
                  <a:srgbClr val="FFFFFF"/>
                </a:solidFill>
              </a:rPr>
              <a:t>Ensure transparency &amp; accountability</a:t>
            </a:r>
            <a:endParaRPr lang="en-US" b="1" dirty="0">
              <a:solidFill>
                <a:srgbClr val="FFFFFF"/>
              </a:solidFill>
            </a:endParaRPr>
          </a:p>
        </p:txBody>
      </p:sp>
      <p:sp>
        <p:nvSpPr>
          <p:cNvPr id="42" name="Oval 175"/>
          <p:cNvSpPr>
            <a:spLocks noChangeArrowheads="1"/>
          </p:cNvSpPr>
          <p:nvPr>
            <p:custDataLst>
              <p:tags r:id="rId18"/>
            </p:custDataLst>
          </p:nvPr>
        </p:nvSpPr>
        <p:spPr bwMode="auto">
          <a:xfrm>
            <a:off x="389822" y="5681842"/>
            <a:ext cx="317050" cy="246052"/>
          </a:xfrm>
          <a:prstGeom prst="ellipse">
            <a:avLst/>
          </a:prstGeom>
          <a:solidFill>
            <a:schemeClr val="accent5">
              <a:lumMod val="75000"/>
            </a:schemeClr>
          </a:solidFill>
          <a:ln w="19050">
            <a:solidFill>
              <a:schemeClr val="bg1"/>
            </a:solidFill>
            <a:round/>
            <a:headEnd/>
            <a:tailEnd/>
          </a:ln>
        </p:spPr>
        <p:txBody>
          <a:bodyPr wrap="none" lIns="0" tIns="0" rIns="0" bIns="0" anchor="ctr" anchorCtr="1">
            <a:noAutofit/>
          </a:bodyPr>
          <a:lstStyle/>
          <a:p>
            <a:pPr algn="ctr" defTabSz="1110630" fontAlgn="base">
              <a:spcBef>
                <a:spcPct val="0"/>
              </a:spcBef>
              <a:spcAft>
                <a:spcPct val="0"/>
              </a:spcAft>
            </a:pPr>
            <a:r>
              <a:rPr lang="en-US" b="1" dirty="0">
                <a:solidFill>
                  <a:srgbClr val="FFFFFF"/>
                </a:solidFill>
                <a:ea typeface="Gulim" pitchFamily="34" charset="-127"/>
              </a:rPr>
              <a:t>4</a:t>
            </a:r>
          </a:p>
        </p:txBody>
      </p:sp>
      <p:sp>
        <p:nvSpPr>
          <p:cNvPr id="43" name="1. On-page tracker"/>
          <p:cNvSpPr>
            <a:spLocks noChangeArrowheads="1"/>
          </p:cNvSpPr>
          <p:nvPr/>
        </p:nvSpPr>
        <p:spPr bwMode="auto">
          <a:xfrm>
            <a:off x="233261" y="27536"/>
            <a:ext cx="2613792"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10630" fontAlgn="base">
              <a:spcBef>
                <a:spcPct val="0"/>
              </a:spcBef>
              <a:spcAft>
                <a:spcPct val="0"/>
              </a:spcAft>
            </a:pPr>
            <a:r>
              <a:rPr lang="en-US" sz="1700" dirty="0">
                <a:solidFill>
                  <a:srgbClr val="FFFFFF"/>
                </a:solidFill>
              </a:rPr>
              <a:t>CONTINUITY MEASURES</a:t>
            </a:r>
          </a:p>
        </p:txBody>
      </p:sp>
      <p:sp>
        <p:nvSpPr>
          <p:cNvPr id="34" name="1. On-page tracker"/>
          <p:cNvSpPr>
            <a:spLocks noChangeArrowheads="1"/>
          </p:cNvSpPr>
          <p:nvPr/>
        </p:nvSpPr>
        <p:spPr bwMode="auto">
          <a:xfrm>
            <a:off x="233258" y="27536"/>
            <a:ext cx="2248885"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10630" fontAlgn="base">
              <a:spcBef>
                <a:spcPct val="0"/>
              </a:spcBef>
              <a:spcAft>
                <a:spcPct val="0"/>
              </a:spcAft>
            </a:pPr>
            <a:r>
              <a:rPr lang="en-US" sz="1700" dirty="0">
                <a:solidFill>
                  <a:srgbClr val="FFFFFF"/>
                </a:solidFill>
              </a:rPr>
              <a:t>RECOMMENDATIONS</a:t>
            </a:r>
          </a:p>
        </p:txBody>
      </p:sp>
      <p:sp>
        <p:nvSpPr>
          <p:cNvPr id="4" name="Rectangle 3"/>
          <p:cNvSpPr/>
          <p:nvPr/>
        </p:nvSpPr>
        <p:spPr>
          <a:xfrm>
            <a:off x="233261" y="140906"/>
            <a:ext cx="11653130" cy="757130"/>
          </a:xfrm>
          <a:prstGeom prst="rect">
            <a:avLst/>
          </a:prstGeom>
        </p:spPr>
        <p:txBody>
          <a:bodyPr wrap="square">
            <a:spAutoFit/>
          </a:bodyPr>
          <a:lstStyle/>
          <a:p>
            <a:pPr algn="just" defTabSz="914013">
              <a:lnSpc>
                <a:spcPct val="90000"/>
              </a:lnSpc>
              <a:spcBef>
                <a:spcPct val="0"/>
              </a:spcBef>
            </a:pPr>
            <a:r>
              <a:rPr lang="en-GB" sz="2400" b="1" baseline="30000" dirty="0">
                <a:solidFill>
                  <a:srgbClr val="204024"/>
                </a:solidFill>
              </a:rPr>
              <a:t>2</a:t>
            </a:r>
            <a:r>
              <a:rPr lang="en-GB" sz="2400" b="1" dirty="0">
                <a:solidFill>
                  <a:srgbClr val="204024"/>
                </a:solidFill>
              </a:rPr>
              <a:t>NPHCDA is proposing 4 steps to ensuring an effective, efficient and transparent migration of PHC health workers from LGA to SPHCDA</a:t>
            </a:r>
          </a:p>
        </p:txBody>
      </p:sp>
    </p:spTree>
    <p:extLst>
      <p:ext uri="{BB962C8B-B14F-4D97-AF65-F5344CB8AC3E}">
        <p14:creationId xmlns:p14="http://schemas.microsoft.com/office/powerpoint/2010/main" val="24581718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1394815" cy="766482"/>
          </a:xfrm>
        </p:spPr>
        <p:txBody>
          <a:bodyPr>
            <a:normAutofit fontScale="90000"/>
          </a:bodyPr>
          <a:lstStyle/>
          <a:p>
            <a:pPr algn="ctr"/>
            <a:r>
              <a:rPr lang="en-US" dirty="0">
                <a:solidFill>
                  <a:srgbClr val="00B050"/>
                </a:solidFill>
                <a:latin typeface="Lucida Sans" panose="020B0602030504020204" pitchFamily="34" charset="0"/>
              </a:rPr>
              <a:t>       </a:t>
            </a:r>
            <a:r>
              <a:rPr lang="en-GB" sz="3200" b="1" baseline="30000" dirty="0">
                <a:solidFill>
                  <a:srgbClr val="204024"/>
                </a:solidFill>
              </a:rPr>
              <a:t>2</a:t>
            </a:r>
            <a:r>
              <a:rPr lang="en-US" sz="3100" dirty="0">
                <a:solidFill>
                  <a:srgbClr val="00B050"/>
                </a:solidFill>
                <a:latin typeface="Lucida Sans" panose="020B0602030504020204" pitchFamily="34" charset="0"/>
              </a:rPr>
              <a:t>Looking ahead: </a:t>
            </a:r>
            <a:r>
              <a:rPr lang="en-US" sz="3100" dirty="0">
                <a:latin typeface="Lucida Sans" panose="020B0602030504020204" pitchFamily="34" charset="0"/>
              </a:rPr>
              <a:t>Reducing Maternal and Child Mortality</a:t>
            </a:r>
          </a:p>
        </p:txBody>
      </p:sp>
      <p:sp>
        <p:nvSpPr>
          <p:cNvPr id="5" name="Content Placeholder 4"/>
          <p:cNvSpPr>
            <a:spLocks noGrp="1"/>
          </p:cNvSpPr>
          <p:nvPr>
            <p:ph idx="1"/>
          </p:nvPr>
        </p:nvSpPr>
        <p:spPr>
          <a:xfrm>
            <a:off x="0" y="860612"/>
            <a:ext cx="2773680" cy="585333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marL="0" indent="0" algn="ctr">
              <a:buNone/>
              <a:defRPr/>
            </a:pPr>
            <a:r>
              <a:rPr lang="en-US" sz="3200" b="1" dirty="0">
                <a:solidFill>
                  <a:schemeClr val="accent1"/>
                </a:solidFill>
                <a:latin typeface="Lucida Sans" panose="020B0602030504020204" pitchFamily="34" charset="0"/>
              </a:rPr>
              <a:t>Expanded Midwifery Services Scheme</a:t>
            </a:r>
          </a:p>
          <a:p>
            <a:pPr marL="0" indent="0" algn="ctr">
              <a:buNone/>
              <a:defRPr/>
            </a:pPr>
            <a:r>
              <a:rPr lang="en-US" sz="3200" b="1" dirty="0">
                <a:solidFill>
                  <a:schemeClr val="accent1"/>
                </a:solidFill>
                <a:latin typeface="Lucida Sans" panose="020B0602030504020204" pitchFamily="34" charset="0"/>
              </a:rPr>
              <a:t>(EMSS)</a:t>
            </a:r>
          </a:p>
        </p:txBody>
      </p:sp>
      <p:sp>
        <p:nvSpPr>
          <p:cNvPr id="11" name="Rectangle 10"/>
          <p:cNvSpPr/>
          <p:nvPr/>
        </p:nvSpPr>
        <p:spPr>
          <a:xfrm>
            <a:off x="2773680" y="901874"/>
            <a:ext cx="9418320" cy="577449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lgn="just" defTabSz="914400">
              <a:buFont typeface="Arial" panose="020B0604020202020204" pitchFamily="34" charset="0"/>
              <a:buChar char="•"/>
            </a:pPr>
            <a:r>
              <a:rPr lang="en-US" sz="2100" dirty="0">
                <a:solidFill>
                  <a:prstClr val="black"/>
                </a:solidFill>
                <a:latin typeface="Lucida Sans" panose="020B0602030504020204" pitchFamily="34" charset="0"/>
              </a:rPr>
              <a:t>Re-strategized to deploy adequate numbers of skilled birth attendants to provide 24-hour service in rural PHCs across a wider geographical area than the initial MSS Scheme.</a:t>
            </a:r>
          </a:p>
          <a:p>
            <a:pPr marL="285750" indent="-285750" algn="just" defTabSz="914400">
              <a:buFont typeface="Arial" panose="020B0604020202020204" pitchFamily="34" charset="0"/>
              <a:buChar char="•"/>
            </a:pPr>
            <a:endParaRPr lang="en-US" sz="2100" dirty="0">
              <a:solidFill>
                <a:prstClr val="black"/>
              </a:solidFill>
              <a:latin typeface="Lucida Sans" panose="020B0602030504020204" pitchFamily="34" charset="0"/>
            </a:endParaRPr>
          </a:p>
          <a:p>
            <a:pPr marL="285750" indent="-285750" algn="just" defTabSz="914400">
              <a:buFont typeface="Arial" panose="020B0604020202020204" pitchFamily="34" charset="0"/>
              <a:buChar char="•"/>
            </a:pPr>
            <a:r>
              <a:rPr lang="en-US" sz="2100" dirty="0">
                <a:solidFill>
                  <a:prstClr val="black"/>
                </a:solidFill>
                <a:latin typeface="Lucida Sans" panose="020B0602030504020204" pitchFamily="34" charset="0"/>
              </a:rPr>
              <a:t> Will involve deployment of unemployed and newly graduated midwives.</a:t>
            </a:r>
          </a:p>
          <a:p>
            <a:pPr algn="just" defTabSz="914400"/>
            <a:endParaRPr lang="en-US" sz="2100" dirty="0">
              <a:solidFill>
                <a:prstClr val="black"/>
              </a:solidFill>
              <a:latin typeface="Lucida Sans" panose="020B0602030504020204" pitchFamily="34" charset="0"/>
            </a:endParaRPr>
          </a:p>
          <a:p>
            <a:pPr marL="285750" indent="-285750" algn="just" defTabSz="914400">
              <a:buFont typeface="Arial" panose="020B0604020202020204" pitchFamily="34" charset="0"/>
              <a:buChar char="•"/>
            </a:pPr>
            <a:r>
              <a:rPr lang="en-US" sz="2100" dirty="0">
                <a:solidFill>
                  <a:prstClr val="black"/>
                </a:solidFill>
                <a:latin typeface="Lucida Sans" panose="020B0602030504020204" pitchFamily="34" charset="0"/>
              </a:rPr>
              <a:t>To be funded by both Federal &amp; State Governments through the Basic Health Care Provision Fund (BHCPF).</a:t>
            </a:r>
          </a:p>
          <a:p>
            <a:pPr algn="just" defTabSz="914400"/>
            <a:endParaRPr lang="en-US" sz="2100" dirty="0">
              <a:solidFill>
                <a:prstClr val="black"/>
              </a:solidFill>
              <a:latin typeface="Lucida Sans" panose="020B0602030504020204" pitchFamily="34" charset="0"/>
            </a:endParaRPr>
          </a:p>
          <a:p>
            <a:pPr marL="285750" indent="-285750" algn="just" defTabSz="914400">
              <a:buFont typeface="Arial" panose="020B0604020202020204" pitchFamily="34" charset="0"/>
              <a:buChar char="•"/>
            </a:pPr>
            <a:r>
              <a:rPr lang="en-US" sz="2100" dirty="0">
                <a:solidFill>
                  <a:prstClr val="black"/>
                </a:solidFill>
                <a:latin typeface="Lucida Sans" panose="020B0602030504020204" pitchFamily="34" charset="0"/>
              </a:rPr>
              <a:t>Will significantly improve on the gains of MSS through adequate engagement of state and local policy makers, prioritization of local recruitment and strengthening demand side issues too.</a:t>
            </a:r>
          </a:p>
          <a:p>
            <a:pPr algn="just" defTabSz="914400"/>
            <a:endParaRPr lang="en-US" sz="2100" dirty="0">
              <a:solidFill>
                <a:prstClr val="black"/>
              </a:solidFill>
              <a:latin typeface="Lucida Sans" panose="020B0602030504020204" pitchFamily="34" charset="0"/>
            </a:endParaRPr>
          </a:p>
          <a:p>
            <a:pPr marL="285750" indent="-285750" algn="just" defTabSz="914400">
              <a:buFont typeface="Arial" panose="020B0604020202020204" pitchFamily="34" charset="0"/>
              <a:buChar char="•"/>
            </a:pPr>
            <a:r>
              <a:rPr lang="en-US" sz="2100" dirty="0">
                <a:solidFill>
                  <a:prstClr val="black"/>
                </a:solidFill>
                <a:latin typeface="Lucida Sans" panose="020B0602030504020204" pitchFamily="34" charset="0"/>
              </a:rPr>
              <a:t>Federal will exit and hand over to States after 5 years, but will continue to provide oversight functions</a:t>
            </a:r>
          </a:p>
        </p:txBody>
      </p:sp>
      <p:pic>
        <p:nvPicPr>
          <p:cNvPr id="6" name="Picture 5" descr="logo">
            <a:extLst>
              <a:ext uri="{FF2B5EF4-FFF2-40B4-BE49-F238E27FC236}">
                <a16:creationId xmlns:a16="http://schemas.microsoft.com/office/drawing/2014/main" id="{BD626E57-4A16-453E-947B-9194DD96875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394815" y="0"/>
            <a:ext cx="821210" cy="71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http://upload.wikimedia.org/wikipedia/en/5/57/Coat_of_arms_of_Nigeria.jpg">
            <a:extLst>
              <a:ext uri="{FF2B5EF4-FFF2-40B4-BE49-F238E27FC236}">
                <a16:creationId xmlns:a16="http://schemas.microsoft.com/office/drawing/2014/main" id="{89EEDECB-F126-4217-9535-658173AB4C18}"/>
              </a:ext>
            </a:extLst>
          </p:cNvPr>
          <p:cNvPicPr/>
          <p:nvPr/>
        </p:nvPicPr>
        <p:blipFill>
          <a:blip r:embed="rId3" cstate="print"/>
          <a:srcRect/>
          <a:stretch>
            <a:fillRect/>
          </a:stretch>
        </p:blipFill>
        <p:spPr bwMode="auto">
          <a:xfrm>
            <a:off x="24026" y="2292"/>
            <a:ext cx="838200" cy="712687"/>
          </a:xfrm>
          <a:prstGeom prst="rect">
            <a:avLst/>
          </a:prstGeom>
          <a:noFill/>
        </p:spPr>
      </p:pic>
      <p:sp>
        <p:nvSpPr>
          <p:cNvPr id="8"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tx1"/>
                </a:solidFill>
              </a:rPr>
              <a:pPr defTabSz="912173"/>
              <a:t>18</a:t>
            </a:fld>
            <a:endParaRPr lang="en-US" sz="1400" b="1" dirty="0">
              <a:solidFill>
                <a:schemeClr val="tx1"/>
              </a:solidFill>
            </a:endParaRPr>
          </a:p>
        </p:txBody>
      </p:sp>
    </p:spTree>
    <p:extLst>
      <p:ext uri="{BB962C8B-B14F-4D97-AF65-F5344CB8AC3E}">
        <p14:creationId xmlns:p14="http://schemas.microsoft.com/office/powerpoint/2010/main" val="3578189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92801805"/>
              </p:ext>
            </p:extLst>
          </p:nvPr>
        </p:nvGraphicFramePr>
        <p:xfrm>
          <a:off x="2668435" y="857947"/>
          <a:ext cx="1190" cy="1191"/>
        </p:xfrm>
        <a:graphic>
          <a:graphicData uri="http://schemas.openxmlformats.org/presentationml/2006/ole">
            <mc:AlternateContent xmlns:mc="http://schemas.openxmlformats.org/markup-compatibility/2006">
              <mc:Choice xmlns:v="urn:schemas-microsoft-com:vml" Requires="v">
                <p:oleObj spid="_x0000_s655375" name="think-cell Slide" r:id="rId8" imgW="381" imgH="381" progId="TCLayout.ActiveDocument.1">
                  <p:embed/>
                </p:oleObj>
              </mc:Choice>
              <mc:Fallback>
                <p:oleObj name="think-cell Slide" r:id="rId8" imgW="381" imgH="381" progId="TCLayout.ActiveDocument.1">
                  <p:embed/>
                  <p:pic>
                    <p:nvPicPr>
                      <p:cNvPr id="0" name=""/>
                      <p:cNvPicPr/>
                      <p:nvPr/>
                    </p:nvPicPr>
                    <p:blipFill>
                      <a:blip r:embed="rId9"/>
                      <a:stretch>
                        <a:fillRect/>
                      </a:stretch>
                    </p:blipFill>
                    <p:spPr>
                      <a:xfrm>
                        <a:off x="2668435" y="857947"/>
                        <a:ext cx="1190"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83674E6-8560-4C3A-A63E-9120C6790A57}"/>
              </a:ext>
            </a:extLst>
          </p:cNvPr>
          <p:cNvSpPr/>
          <p:nvPr>
            <p:custDataLst>
              <p:tags r:id="rId3"/>
            </p:custDataLst>
          </p:nvPr>
        </p:nvSpPr>
        <p:spPr>
          <a:xfrm>
            <a:off x="4"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dirty="0">
              <a:solidFill>
                <a:prstClr val="white"/>
              </a:solidFill>
              <a:latin typeface="Calibri Light" panose="020F0302020204030204" pitchFamily="34" charset="0"/>
              <a:sym typeface="Calibri Light" panose="020F0302020204030204" pitchFamily="34" charset="0"/>
            </a:endParaRPr>
          </a:p>
        </p:txBody>
      </p:sp>
      <p:sp>
        <p:nvSpPr>
          <p:cNvPr id="74755" name="Slide Number Placeholder 3"/>
          <p:cNvSpPr txBox="1">
            <a:spLocks/>
          </p:cNvSpPr>
          <p:nvPr/>
        </p:nvSpPr>
        <p:spPr bwMode="gray">
          <a:xfrm>
            <a:off x="9658521" y="5608839"/>
            <a:ext cx="1600105" cy="27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383" tIns="34193" rIns="68383" bIns="34193" anchor="ctr"/>
          <a:lstStyle>
            <a:lvl1pPr>
              <a:spcBef>
                <a:spcPct val="20000"/>
              </a:spcBef>
              <a:buFont typeface="Arial" pitchFamily="34" charset="0"/>
              <a:buChar char="•"/>
              <a:defRPr sz="3200">
                <a:solidFill>
                  <a:schemeClr val="tx1"/>
                </a:solidFill>
                <a:latin typeface="Calibri" pitchFamily="34" charset="0"/>
              </a:defRPr>
            </a:lvl1pPr>
            <a:lvl2pPr marL="457200" indent="-284163">
              <a:spcBef>
                <a:spcPct val="20000"/>
              </a:spcBef>
              <a:buFont typeface="Arial" pitchFamily="34" charset="0"/>
              <a:buChar char="–"/>
              <a:defRPr sz="2800">
                <a:solidFill>
                  <a:schemeClr val="tx1"/>
                </a:solidFill>
                <a:latin typeface="Calibri" pitchFamily="34" charset="0"/>
              </a:defRPr>
            </a:lvl2pPr>
            <a:lvl3pPr marL="914400" indent="-227013">
              <a:spcBef>
                <a:spcPct val="20000"/>
              </a:spcBef>
              <a:buFont typeface="Arial" pitchFamily="34" charset="0"/>
              <a:buChar char="•"/>
              <a:defRPr sz="2400">
                <a:solidFill>
                  <a:schemeClr val="tx1"/>
                </a:solidFill>
                <a:latin typeface="Calibri" pitchFamily="34" charset="0"/>
              </a:defRPr>
            </a:lvl3pPr>
            <a:lvl4pPr marL="1371600" indent="-227013">
              <a:spcBef>
                <a:spcPct val="20000"/>
              </a:spcBef>
              <a:buFont typeface="Arial" pitchFamily="34" charset="0"/>
              <a:buChar char="–"/>
              <a:defRPr sz="2000">
                <a:solidFill>
                  <a:schemeClr val="tx1"/>
                </a:solidFill>
                <a:latin typeface="Calibri" pitchFamily="34" charset="0"/>
              </a:defRPr>
            </a:lvl4pPr>
            <a:lvl5pPr marL="1828800" indent="-227013">
              <a:spcBef>
                <a:spcPct val="20000"/>
              </a:spcBef>
              <a:buFont typeface="Arial" pitchFamily="34" charset="0"/>
              <a:buChar char="»"/>
              <a:defRPr sz="2000">
                <a:solidFill>
                  <a:schemeClr val="tx1"/>
                </a:solidFill>
                <a:latin typeface="Calibri" pitchFamily="34" charset="0"/>
              </a:defRPr>
            </a:lvl5pPr>
            <a:lvl6pPr indent="-227013"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indent="-227013"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indent="-227013"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indent="-227013"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defTabSz="683786">
              <a:spcBef>
                <a:spcPct val="0"/>
              </a:spcBef>
              <a:buFont typeface="Arial" pitchFamily="34" charset="0"/>
              <a:buNone/>
            </a:pPr>
            <a:endParaRPr lang="en-US" altLang="en-US" sz="900" dirty="0">
              <a:solidFill>
                <a:srgbClr val="898989"/>
              </a:solidFill>
            </a:endParaRPr>
          </a:p>
        </p:txBody>
      </p:sp>
      <p:sp>
        <p:nvSpPr>
          <p:cNvPr id="240" name="Title 1"/>
          <p:cNvSpPr>
            <a:spLocks noGrp="1"/>
          </p:cNvSpPr>
          <p:nvPr>
            <p:ph type="title"/>
          </p:nvPr>
        </p:nvSpPr>
        <p:spPr>
          <a:xfrm>
            <a:off x="172132" y="904618"/>
            <a:ext cx="11852856" cy="484911"/>
          </a:xfrm>
        </p:spPr>
        <p:txBody>
          <a:bodyPr>
            <a:noAutofit/>
          </a:bodyPr>
          <a:lstStyle/>
          <a:p>
            <a:pPr marL="3570"/>
            <a:r>
              <a:rPr lang="en-US" sz="1900" dirty="0">
                <a:solidFill>
                  <a:srgbClr val="015F32"/>
                </a:solidFill>
              </a:rPr>
              <a:t>As a first step, Mr. President flagged off the Primary Health Care Revitalization Program…States are Following on this as well and there is progress with SPHCDAs </a:t>
            </a:r>
          </a:p>
        </p:txBody>
      </p:sp>
      <p:grpSp>
        <p:nvGrpSpPr>
          <p:cNvPr id="7" name="Group 6">
            <a:extLst>
              <a:ext uri="{FF2B5EF4-FFF2-40B4-BE49-F238E27FC236}">
                <a16:creationId xmlns:a16="http://schemas.microsoft.com/office/drawing/2014/main" id="{F38C60DA-54B9-451D-B756-D9CEC2732DBB}"/>
              </a:ext>
            </a:extLst>
          </p:cNvPr>
          <p:cNvGrpSpPr/>
          <p:nvPr/>
        </p:nvGrpSpPr>
        <p:grpSpPr>
          <a:xfrm>
            <a:off x="4246661" y="1502237"/>
            <a:ext cx="4276907" cy="4689355"/>
            <a:chOff x="5117521" y="2030408"/>
            <a:chExt cx="3350615" cy="3889033"/>
          </a:xfrm>
        </p:grpSpPr>
        <p:sp>
          <p:nvSpPr>
            <p:cNvPr id="16" name="Date Placeholder 3"/>
            <p:cNvSpPr txBox="1">
              <a:spLocks/>
            </p:cNvSpPr>
            <p:nvPr/>
          </p:nvSpPr>
          <p:spPr bwMode="gray">
            <a:xfrm>
              <a:off x="5238581" y="2030408"/>
              <a:ext cx="3229555" cy="3889033"/>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wrap="square" lIns="136823" tIns="34208" rIns="54723" bIns="34208"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49"/>
                </a:spcBef>
              </a:pPr>
              <a:endParaRPr lang="en-GB" dirty="0">
                <a:solidFill>
                  <a:srgbClr val="000000"/>
                </a:solidFill>
                <a:cs typeface="Calibri" pitchFamily="34" charset="0"/>
              </a:endParaRPr>
            </a:p>
          </p:txBody>
        </p:sp>
        <p:pic>
          <p:nvPicPr>
            <p:cNvPr id="4" name="Picture 3"/>
            <p:cNvPicPr>
              <a:picLocks noChangeAspect="1"/>
            </p:cNvPicPr>
            <p:nvPr/>
          </p:nvPicPr>
          <p:blipFill>
            <a:blip r:embed="rId10"/>
            <a:stretch>
              <a:fillRect/>
            </a:stretch>
          </p:blipFill>
          <p:spPr>
            <a:xfrm>
              <a:off x="5134213" y="2123780"/>
              <a:ext cx="3032555" cy="1698673"/>
            </a:xfrm>
            <a:prstGeom prst="rect">
              <a:avLst/>
            </a:prstGeom>
          </p:spPr>
        </p:pic>
        <p:pic>
          <p:nvPicPr>
            <p:cNvPr id="8" name="Picture 7"/>
            <p:cNvPicPr>
              <a:picLocks noChangeAspect="1"/>
            </p:cNvPicPr>
            <p:nvPr/>
          </p:nvPicPr>
          <p:blipFill>
            <a:blip r:embed="rId11"/>
            <a:stretch>
              <a:fillRect/>
            </a:stretch>
          </p:blipFill>
          <p:spPr>
            <a:xfrm>
              <a:off x="5117521" y="3900289"/>
              <a:ext cx="3049347" cy="1937142"/>
            </a:xfrm>
            <a:prstGeom prst="rect">
              <a:avLst/>
            </a:prstGeom>
          </p:spPr>
        </p:pic>
      </p:grpSp>
      <p:grpSp>
        <p:nvGrpSpPr>
          <p:cNvPr id="6" name="Group 5">
            <a:extLst>
              <a:ext uri="{FF2B5EF4-FFF2-40B4-BE49-F238E27FC236}">
                <a16:creationId xmlns:a16="http://schemas.microsoft.com/office/drawing/2014/main" id="{493FED56-F1FE-4657-9740-D121C8C72B44}"/>
              </a:ext>
            </a:extLst>
          </p:cNvPr>
          <p:cNvGrpSpPr/>
          <p:nvPr/>
        </p:nvGrpSpPr>
        <p:grpSpPr>
          <a:xfrm>
            <a:off x="47350" y="1774367"/>
            <a:ext cx="4066190" cy="4324342"/>
            <a:chOff x="1738699" y="2134234"/>
            <a:chExt cx="2949187" cy="3803118"/>
          </a:xfrm>
        </p:grpSpPr>
        <p:sp>
          <p:nvSpPr>
            <p:cNvPr id="244" name="Date Placeholder 3"/>
            <p:cNvSpPr txBox="1">
              <a:spLocks/>
            </p:cNvSpPr>
            <p:nvPr/>
          </p:nvSpPr>
          <p:spPr bwMode="gray">
            <a:xfrm>
              <a:off x="1751728" y="2134234"/>
              <a:ext cx="2928595" cy="133731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wrap="square" lIns="136823" tIns="34208" rIns="54723" bIns="34208"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49"/>
                </a:spcBef>
              </a:pPr>
              <a:r>
                <a:rPr lang="en-US" sz="1800" b="1" i="1" dirty="0">
                  <a:solidFill>
                    <a:srgbClr val="000000"/>
                  </a:solidFill>
                  <a:cs typeface="Calibri" pitchFamily="34" charset="0"/>
                </a:rPr>
                <a:t>‘Our vision is to reverse this unsatisfactory situation and better care for the poor and needy’</a:t>
              </a:r>
              <a:endParaRPr lang="en-GB" sz="1800" b="1" i="1" dirty="0">
                <a:solidFill>
                  <a:srgbClr val="000000"/>
                </a:solidFill>
                <a:cs typeface="Calibri" pitchFamily="34" charset="0"/>
              </a:endParaRPr>
            </a:p>
          </p:txBody>
        </p:sp>
        <p:sp>
          <p:nvSpPr>
            <p:cNvPr id="247" name="Date Placeholder 3"/>
            <p:cNvSpPr txBox="1">
              <a:spLocks/>
            </p:cNvSpPr>
            <p:nvPr/>
          </p:nvSpPr>
          <p:spPr bwMode="gray">
            <a:xfrm>
              <a:off x="1832834" y="5099953"/>
              <a:ext cx="2855052" cy="81311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wrap="square" lIns="136823" tIns="34208" rIns="54723" bIns="34208" rtlCol="0" anchor="ctr">
              <a:noAutofit/>
            </a:bodyPr>
            <a:lstStyle>
              <a:defPPr>
                <a:defRPr lang="en-US"/>
              </a:defPPr>
              <a:lvl1pPr>
                <a:spcBef>
                  <a:spcPts val="1000"/>
                </a:spcBef>
                <a:defRPr sz="2400"/>
              </a:lvl1pPr>
            </a:lstStyle>
            <a:p>
              <a:pPr defTabSz="683786"/>
              <a:r>
                <a:rPr lang="en-US" sz="1800" b="1" i="1" dirty="0">
                  <a:solidFill>
                    <a:srgbClr val="000000"/>
                  </a:solidFill>
                  <a:cs typeface="Calibri" pitchFamily="34" charset="0"/>
                </a:rPr>
                <a:t>‘Revamping the primary healthcare system is the platform for achieving UHC’</a:t>
              </a:r>
              <a:endParaRPr lang="en-GB" sz="1800" b="1" i="1" dirty="0">
                <a:solidFill>
                  <a:srgbClr val="000000"/>
                </a:solidFill>
                <a:cs typeface="Calibri" pitchFamily="34" charset="0"/>
              </a:endParaRPr>
            </a:p>
          </p:txBody>
        </p:sp>
        <p:sp>
          <p:nvSpPr>
            <p:cNvPr id="248" name="Date Placeholder 3"/>
            <p:cNvSpPr txBox="1">
              <a:spLocks/>
            </p:cNvSpPr>
            <p:nvPr/>
          </p:nvSpPr>
          <p:spPr bwMode="gray">
            <a:xfrm>
              <a:off x="1738699" y="2142934"/>
              <a:ext cx="52221" cy="1329543"/>
            </a:xfrm>
            <a:prstGeom prst="rect">
              <a:avLst/>
            </a:prstGeom>
            <a:solidFill>
              <a:srgbClr val="015F32"/>
            </a:solidFill>
            <a:ln>
              <a:noFill/>
            </a:ln>
          </p:spPr>
          <p:txBody>
            <a:bodyPr vert="horz" wrap="square" lIns="136823" tIns="34208" rIns="54723" bIns="34208"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49"/>
                </a:spcBef>
              </a:pPr>
              <a:endParaRPr lang="en-GB" sz="1600" b="1" dirty="0">
                <a:solidFill>
                  <a:srgbClr val="000000"/>
                </a:solidFill>
                <a:cs typeface="Calibri" pitchFamily="34" charset="0"/>
              </a:endParaRPr>
            </a:p>
          </p:txBody>
        </p:sp>
        <p:sp>
          <p:nvSpPr>
            <p:cNvPr id="251" name="Date Placeholder 3"/>
            <p:cNvSpPr txBox="1">
              <a:spLocks/>
            </p:cNvSpPr>
            <p:nvPr/>
          </p:nvSpPr>
          <p:spPr bwMode="gray">
            <a:xfrm>
              <a:off x="1738699" y="5099953"/>
              <a:ext cx="52221" cy="837399"/>
            </a:xfrm>
            <a:prstGeom prst="rect">
              <a:avLst/>
            </a:prstGeom>
            <a:solidFill>
              <a:srgbClr val="015F32"/>
            </a:solidFill>
            <a:ln>
              <a:noFill/>
            </a:ln>
          </p:spPr>
          <p:txBody>
            <a:bodyPr vert="horz" wrap="square" lIns="136823" tIns="34208" rIns="54723" bIns="34208"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49"/>
                </a:spcBef>
              </a:pPr>
              <a:endParaRPr lang="en-GB" sz="1600" b="1" dirty="0">
                <a:solidFill>
                  <a:srgbClr val="000000"/>
                </a:solidFill>
                <a:cs typeface="Calibri" pitchFamily="34" charset="0"/>
              </a:endParaRPr>
            </a:p>
          </p:txBody>
        </p:sp>
        <p:sp>
          <p:nvSpPr>
            <p:cNvPr id="254" name="Date Placeholder 3"/>
            <p:cNvSpPr txBox="1">
              <a:spLocks/>
            </p:cNvSpPr>
            <p:nvPr/>
          </p:nvSpPr>
          <p:spPr bwMode="gray">
            <a:xfrm>
              <a:off x="1751948" y="3615979"/>
              <a:ext cx="2928595" cy="1363985"/>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wrap="square" lIns="136823" tIns="34208" rIns="54723" bIns="34208"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49"/>
                </a:spcBef>
              </a:pPr>
              <a:r>
                <a:rPr lang="en-US" sz="1800" b="1" i="1" dirty="0">
                  <a:solidFill>
                    <a:srgbClr val="000000"/>
                  </a:solidFill>
                  <a:cs typeface="Calibri" pitchFamily="34" charset="0"/>
                </a:rPr>
                <a:t>‘Health Workers should also play their parts in ensuring the sustainability of this Primary Health Care Revitalization’</a:t>
              </a:r>
              <a:endParaRPr lang="en-GB" sz="1800" b="1" i="1" dirty="0">
                <a:solidFill>
                  <a:srgbClr val="000000"/>
                </a:solidFill>
                <a:cs typeface="Calibri" pitchFamily="34" charset="0"/>
              </a:endParaRPr>
            </a:p>
          </p:txBody>
        </p:sp>
        <p:sp>
          <p:nvSpPr>
            <p:cNvPr id="255" name="Date Placeholder 3"/>
            <p:cNvSpPr txBox="1">
              <a:spLocks/>
            </p:cNvSpPr>
            <p:nvPr/>
          </p:nvSpPr>
          <p:spPr bwMode="gray">
            <a:xfrm>
              <a:off x="1738699" y="3624862"/>
              <a:ext cx="52221" cy="1340056"/>
            </a:xfrm>
            <a:prstGeom prst="rect">
              <a:avLst/>
            </a:prstGeom>
            <a:solidFill>
              <a:srgbClr val="015F32"/>
            </a:solidFill>
            <a:ln>
              <a:noFill/>
            </a:ln>
          </p:spPr>
          <p:txBody>
            <a:bodyPr vert="horz" wrap="square" lIns="136823" tIns="34208" rIns="54723" bIns="34208" rtlCol="0" anchor="ctr">
              <a:no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49"/>
                </a:spcBef>
              </a:pPr>
              <a:endParaRPr lang="en-GB" sz="1600" b="1" dirty="0">
                <a:solidFill>
                  <a:srgbClr val="000000"/>
                </a:solidFill>
                <a:cs typeface="Calibri" pitchFamily="34" charset="0"/>
              </a:endParaRPr>
            </a:p>
          </p:txBody>
        </p:sp>
      </p:grpSp>
      <p:sp>
        <p:nvSpPr>
          <p:cNvPr id="17" name="Rectangle 7"/>
          <p:cNvSpPr>
            <a:spLocks noChangeArrowheads="1"/>
          </p:cNvSpPr>
          <p:nvPr>
            <p:custDataLst>
              <p:tags r:id="rId4"/>
            </p:custDataLst>
          </p:nvPr>
        </p:nvSpPr>
        <p:spPr bwMode="auto">
          <a:xfrm>
            <a:off x="47351" y="1501335"/>
            <a:ext cx="318872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14146">
              <a:buClr>
                <a:srgbClr val="002960"/>
              </a:buClr>
            </a:pPr>
            <a:r>
              <a:rPr lang="en-GB" sz="1600" b="1" dirty="0">
                <a:solidFill>
                  <a:srgbClr val="015F32"/>
                </a:solidFill>
                <a:ea typeface="MS PGothic" pitchFamily="34" charset="-128"/>
                <a:cs typeface="ＭＳ Ｐゴシック" pitchFamily="-109" charset="-128"/>
              </a:rPr>
              <a:t>QUOTES FROM MR. PRESIDENT</a:t>
            </a:r>
          </a:p>
        </p:txBody>
      </p:sp>
      <p:sp>
        <p:nvSpPr>
          <p:cNvPr id="5" name="Rectangle 4">
            <a:extLst>
              <a:ext uri="{FF2B5EF4-FFF2-40B4-BE49-F238E27FC236}">
                <a16:creationId xmlns:a16="http://schemas.microsoft.com/office/drawing/2014/main" id="{09813ACB-5DF7-4354-8686-48B80B263C9C}"/>
              </a:ext>
            </a:extLst>
          </p:cNvPr>
          <p:cNvSpPr/>
          <p:nvPr/>
        </p:nvSpPr>
        <p:spPr>
          <a:xfrm>
            <a:off x="8808727" y="1565338"/>
            <a:ext cx="3078476" cy="923293"/>
          </a:xfrm>
          <a:prstGeom prst="rect">
            <a:avLst/>
          </a:prstGeom>
          <a:solidFill>
            <a:schemeClr val="accent6">
              <a:lumMod val="60000"/>
              <a:lumOff val="40000"/>
            </a:schemeClr>
          </a:solidFill>
        </p:spPr>
        <p:txBody>
          <a:bodyPr wrap="square" lIns="91401" tIns="45702" rIns="91401" bIns="45702">
            <a:spAutoFit/>
          </a:bodyPr>
          <a:lstStyle/>
          <a:p>
            <a:r>
              <a:rPr lang="en-GB" sz="1800" b="1" dirty="0">
                <a:solidFill>
                  <a:prstClr val="black"/>
                </a:solidFill>
              </a:rPr>
              <a:t>PHC improvement is critical to the Achievement of Health Objectives</a:t>
            </a:r>
          </a:p>
        </p:txBody>
      </p:sp>
      <p:sp>
        <p:nvSpPr>
          <p:cNvPr id="18" name="Rectangle 2">
            <a:extLst>
              <a:ext uri="{FF2B5EF4-FFF2-40B4-BE49-F238E27FC236}">
                <a16:creationId xmlns:a16="http://schemas.microsoft.com/office/drawing/2014/main" id="{B263CC77-E33A-422A-8A8E-EE2E25C2E386}"/>
              </a:ext>
            </a:extLst>
          </p:cNvPr>
          <p:cNvSpPr txBox="1">
            <a:spLocks noChangeArrowheads="1"/>
          </p:cNvSpPr>
          <p:nvPr>
            <p:custDataLst>
              <p:tags r:id="rId5"/>
            </p:custDataLst>
          </p:nvPr>
        </p:nvSpPr>
        <p:spPr bwMode="gray">
          <a:xfrm>
            <a:off x="1077699" y="59657"/>
            <a:ext cx="10180920" cy="7570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1" tIns="45702" rIns="91401" bIns="45702" rtlCol="0" anchor="ctr">
            <a:spAutoFit/>
          </a:bodyPr>
          <a:lstStyle>
            <a:defPPr>
              <a:defRPr lang="en-US"/>
            </a:defPPr>
            <a:lvl1pPr>
              <a:lnSpc>
                <a:spcPct val="90000"/>
              </a:lnSpc>
              <a:spcBef>
                <a:spcPct val="0"/>
              </a:spcBef>
              <a:buNone/>
              <a:defRPr sz="3200" b="1">
                <a:solidFill>
                  <a:srgbClr val="204024"/>
                </a:solidFill>
                <a:latin typeface="+mj-lt"/>
                <a:ea typeface="+mj-ea"/>
                <a:cs typeface="+mj-cs"/>
              </a:defRPr>
            </a:lvl1pPr>
            <a:lvl2pPr defTabSz="669832">
              <a:defRPr sz="1397" b="1">
                <a:solidFill>
                  <a:schemeClr val="tx2"/>
                </a:solidFill>
                <a:latin typeface="Arial" panose="020B0604020202020204" pitchFamily="34" charset="0"/>
              </a:defRPr>
            </a:lvl2pPr>
            <a:lvl3pPr defTabSz="669832">
              <a:defRPr sz="1397" b="1">
                <a:solidFill>
                  <a:schemeClr val="tx2"/>
                </a:solidFill>
                <a:latin typeface="Arial" panose="020B0604020202020204" pitchFamily="34" charset="0"/>
              </a:defRPr>
            </a:lvl3pPr>
            <a:lvl4pPr defTabSz="669832">
              <a:defRPr sz="1397" b="1">
                <a:solidFill>
                  <a:schemeClr val="tx2"/>
                </a:solidFill>
                <a:latin typeface="Arial" panose="020B0604020202020204" pitchFamily="34" charset="0"/>
              </a:defRPr>
            </a:lvl4pPr>
            <a:lvl5pPr defTabSz="669832">
              <a:defRPr sz="1397" b="1">
                <a:solidFill>
                  <a:schemeClr val="tx2"/>
                </a:solidFill>
                <a:latin typeface="Arial" panose="020B0604020202020204" pitchFamily="34" charset="0"/>
              </a:defRPr>
            </a:lvl5pPr>
            <a:lvl6pPr marL="342042" defTabSz="669832" fontAlgn="base">
              <a:spcBef>
                <a:spcPct val="0"/>
              </a:spcBef>
              <a:spcAft>
                <a:spcPct val="0"/>
              </a:spcAft>
              <a:defRPr sz="1397" b="1">
                <a:solidFill>
                  <a:schemeClr val="tx2"/>
                </a:solidFill>
                <a:latin typeface="Arial" panose="020B0604020202020204" pitchFamily="34" charset="0"/>
              </a:defRPr>
            </a:lvl6pPr>
            <a:lvl7pPr marL="684086" defTabSz="669832" fontAlgn="base">
              <a:spcBef>
                <a:spcPct val="0"/>
              </a:spcBef>
              <a:spcAft>
                <a:spcPct val="0"/>
              </a:spcAft>
              <a:defRPr sz="1397" b="1">
                <a:solidFill>
                  <a:schemeClr val="tx2"/>
                </a:solidFill>
                <a:latin typeface="Arial" panose="020B0604020202020204" pitchFamily="34" charset="0"/>
              </a:defRPr>
            </a:lvl7pPr>
            <a:lvl8pPr marL="1026120" defTabSz="669832" fontAlgn="base">
              <a:spcBef>
                <a:spcPct val="0"/>
              </a:spcBef>
              <a:spcAft>
                <a:spcPct val="0"/>
              </a:spcAft>
              <a:defRPr sz="1397" b="1">
                <a:solidFill>
                  <a:schemeClr val="tx2"/>
                </a:solidFill>
                <a:latin typeface="Arial" panose="020B0604020202020204" pitchFamily="34" charset="0"/>
              </a:defRPr>
            </a:lvl8pPr>
            <a:lvl9pPr marL="1368168" defTabSz="669832" fontAlgn="base">
              <a:spcBef>
                <a:spcPct val="0"/>
              </a:spcBef>
              <a:spcAft>
                <a:spcPct val="0"/>
              </a:spcAft>
              <a:defRPr sz="1397" b="1">
                <a:solidFill>
                  <a:schemeClr val="tx2"/>
                </a:solidFill>
                <a:latin typeface="Arial" panose="020B0604020202020204" pitchFamily="34" charset="0"/>
              </a:defRPr>
            </a:lvl9pPr>
          </a:lstStyle>
          <a:p>
            <a:pPr defTabSz="914013">
              <a:defRPr/>
            </a:pPr>
            <a:r>
              <a:rPr lang="en-GB" sz="2800" baseline="30000" dirty="0">
                <a:solidFill>
                  <a:prstClr val="black"/>
                </a:solidFill>
                <a:latin typeface="Arial" panose="020B0604020202020204" pitchFamily="34" charset="0"/>
                <a:cs typeface="Arial" panose="020B0604020202020204" pitchFamily="34" charset="0"/>
              </a:rPr>
              <a:t>3</a:t>
            </a:r>
            <a:r>
              <a:rPr lang="en-US" sz="2400" dirty="0">
                <a:solidFill>
                  <a:srgbClr val="70AD47">
                    <a:lumMod val="50000"/>
                  </a:srgbClr>
                </a:solidFill>
                <a:latin typeface="Arial" panose="020B0604020202020204" pitchFamily="34" charset="0"/>
                <a:cs typeface="Arial" panose="020B0604020202020204" pitchFamily="34" charset="0"/>
              </a:rPr>
              <a:t>The PHC revitalization agenda aims to revamp 10,000 PHCs across Nigeria, and so far, ~4000 PHCs have been revitalized</a:t>
            </a:r>
          </a:p>
        </p:txBody>
      </p:sp>
      <p:sp>
        <p:nvSpPr>
          <p:cNvPr id="21" name="Star: 16 Points 20">
            <a:extLst>
              <a:ext uri="{FF2B5EF4-FFF2-40B4-BE49-F238E27FC236}">
                <a16:creationId xmlns:a16="http://schemas.microsoft.com/office/drawing/2014/main" id="{7042C8C5-868D-4B50-A57C-CFDDEE2E2F69}"/>
              </a:ext>
            </a:extLst>
          </p:cNvPr>
          <p:cNvSpPr/>
          <p:nvPr/>
        </p:nvSpPr>
        <p:spPr>
          <a:xfrm>
            <a:off x="8018417" y="2579923"/>
            <a:ext cx="4122379" cy="3886199"/>
          </a:xfrm>
          <a:prstGeom prst="star16">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a:endParaRPr lang="x-none">
              <a:solidFill>
                <a:prstClr val="white"/>
              </a:solidFill>
            </a:endParaRPr>
          </a:p>
        </p:txBody>
      </p:sp>
      <p:sp>
        <p:nvSpPr>
          <p:cNvPr id="22" name="TextBox 21">
            <a:extLst>
              <a:ext uri="{FF2B5EF4-FFF2-40B4-BE49-F238E27FC236}">
                <a16:creationId xmlns:a16="http://schemas.microsoft.com/office/drawing/2014/main" id="{5D5BA3F9-CD46-4926-B72E-75952977E1C4}"/>
              </a:ext>
            </a:extLst>
          </p:cNvPr>
          <p:cNvSpPr txBox="1"/>
          <p:nvPr/>
        </p:nvSpPr>
        <p:spPr>
          <a:xfrm>
            <a:off x="8793220" y="3279399"/>
            <a:ext cx="2769366" cy="2554509"/>
          </a:xfrm>
          <a:prstGeom prst="rect">
            <a:avLst/>
          </a:prstGeom>
          <a:noFill/>
        </p:spPr>
        <p:txBody>
          <a:bodyPr wrap="square" lIns="91401" tIns="45702" rIns="91401" bIns="45702" rtlCol="0">
            <a:spAutoFit/>
          </a:bodyPr>
          <a:lstStyle/>
          <a:p>
            <a:r>
              <a:rPr lang="en-GB" sz="1600" dirty="0">
                <a:solidFill>
                  <a:prstClr val="black"/>
                </a:solidFill>
                <a:latin typeface="Arial" panose="020B0604020202020204" pitchFamily="34" charset="0"/>
                <a:cs typeface="Arial" panose="020B0604020202020204" pitchFamily="34" charset="0"/>
              </a:rPr>
              <a:t>It is the mandate of the State Government to identify and revitalize primary health care facilities across the state to ensure achievement of the 1 functional PHC per ward agenda of the Presidency, in order to improvement health outcomes in the state</a:t>
            </a:r>
            <a:endParaRPr lang="x-none" sz="1600" dirty="0">
              <a:solidFill>
                <a:prstClr val="black"/>
              </a:solidFill>
              <a:latin typeface="Arial" panose="020B0604020202020204" pitchFamily="34" charset="0"/>
              <a:cs typeface="Arial" panose="020B0604020202020204" pitchFamily="34" charset="0"/>
            </a:endParaRPr>
          </a:p>
        </p:txBody>
      </p:sp>
      <p:sp>
        <p:nvSpPr>
          <p:cNvPr id="23"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19</a:t>
            </a:fld>
            <a:endParaRPr lang="en-US" sz="1400" b="1" dirty="0">
              <a:solidFill>
                <a:schemeClr val="bg1"/>
              </a:solidFill>
            </a:endParaRPr>
          </a:p>
        </p:txBody>
      </p:sp>
    </p:spTree>
    <p:extLst>
      <p:ext uri="{BB962C8B-B14F-4D97-AF65-F5344CB8AC3E}">
        <p14:creationId xmlns:p14="http://schemas.microsoft.com/office/powerpoint/2010/main" val="31013035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2"/>
            </p:custDataLst>
            <p:extLst>
              <p:ext uri="{D42A27DB-BD31-4B8C-83A1-F6EECF244321}">
                <p14:modId xmlns:p14="http://schemas.microsoft.com/office/powerpoint/2010/main" val="273386544"/>
              </p:ext>
            </p:extLst>
          </p:nvPr>
        </p:nvGraphicFramePr>
        <p:xfrm>
          <a:off x="1592" y="1588"/>
          <a:ext cx="1588" cy="1588"/>
        </p:xfrm>
        <a:graphic>
          <a:graphicData uri="http://schemas.openxmlformats.org/presentationml/2006/ole">
            <mc:AlternateContent xmlns:mc="http://schemas.openxmlformats.org/markup-compatibility/2006">
              <mc:Choice xmlns:v="urn:schemas-microsoft-com:vml" Requires="v">
                <p:oleObj spid="_x0000_s619549" name="think-cell Slide" r:id="rId4" imgW="416" imgH="416" progId="TCLayout.ActiveDocument.1">
                  <p:embed/>
                </p:oleObj>
              </mc:Choice>
              <mc:Fallback>
                <p:oleObj name="think-cell Slide" r:id="rId4" imgW="416" imgH="416" progId="TCLayout.ActiveDocument.1">
                  <p:embed/>
                  <p:pic>
                    <p:nvPicPr>
                      <p:cNvPr id="5" name="Object 4" hidden="1">
                        <a:extLst>
                          <a:ext uri="{FF2B5EF4-FFF2-40B4-BE49-F238E27FC236}">
                            <a16:creationId xmlns:a16="http://schemas.microsoft.com/office/drawing/2014/main" id="{D3A62A60-D420-4F37-9136-6289E97C5533}"/>
                          </a:ext>
                        </a:extLst>
                      </p:cNvPr>
                      <p:cNvPicPr/>
                      <p:nvPr/>
                    </p:nvPicPr>
                    <p:blipFill>
                      <a:blip r:embed="rId5"/>
                      <a:stretch>
                        <a:fillRect/>
                      </a:stretch>
                    </p:blipFill>
                    <p:spPr>
                      <a:xfrm>
                        <a:off x="1592" y="1588"/>
                        <a:ext cx="1588" cy="1588"/>
                      </a:xfrm>
                      <a:prstGeom prst="rect">
                        <a:avLst/>
                      </a:prstGeom>
                    </p:spPr>
                  </p:pic>
                </p:oleObj>
              </mc:Fallback>
            </mc:AlternateContent>
          </a:graphicData>
        </a:graphic>
      </p:graphicFrame>
      <p:pic>
        <p:nvPicPr>
          <p:cNvPr id="619522" name="Picture 2" descr="Creative Agenda Slide Design with Table of Content and 4 Bullet Points">
            <a:extLst>
              <a:ext uri="{FF2B5EF4-FFF2-40B4-BE49-F238E27FC236}">
                <a16:creationId xmlns:a16="http://schemas.microsoft.com/office/drawing/2014/main" id="{7F9E5B74-43CE-41E0-87AC-28F3FA8197F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3331"/>
          <a:stretch/>
        </p:blipFill>
        <p:spPr bwMode="auto">
          <a:xfrm>
            <a:off x="813753" y="1062285"/>
            <a:ext cx="10437827" cy="5092558"/>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9FCE40F2-C3F0-436F-8CE4-CFA8ABCDE599}"/>
              </a:ext>
            </a:extLst>
          </p:cNvPr>
          <p:cNvSpPr>
            <a:spLocks noGrp="1"/>
          </p:cNvSpPr>
          <p:nvPr>
            <p:ph type="sldNum" sz="quarter" idx="12"/>
          </p:nvPr>
        </p:nvSpPr>
        <p:spPr>
          <a:xfrm>
            <a:off x="9448799" y="6444092"/>
            <a:ext cx="2743201" cy="365125"/>
          </a:xfrm>
        </p:spPr>
        <p:txBody>
          <a:bodyPr/>
          <a:lstStyle/>
          <a:p>
            <a:fld id="{978E596B-AA80-4BB2-8707-B351070E738D}" type="slidenum">
              <a:rPr lang="en-US" sz="1600" b="1">
                <a:solidFill>
                  <a:schemeClr val="bg1"/>
                </a:solidFill>
              </a:rPr>
              <a:pPr/>
              <a:t>2</a:t>
            </a:fld>
            <a:endParaRPr lang="en-US" sz="1600" b="1" dirty="0">
              <a:solidFill>
                <a:schemeClr val="bg1"/>
              </a:solidFill>
            </a:endParaRPr>
          </a:p>
        </p:txBody>
      </p:sp>
      <p:sp>
        <p:nvSpPr>
          <p:cNvPr id="7" name="Rectangle 6">
            <a:extLst>
              <a:ext uri="{FF2B5EF4-FFF2-40B4-BE49-F238E27FC236}">
                <a16:creationId xmlns:a16="http://schemas.microsoft.com/office/drawing/2014/main" id="{952E7759-E482-4D86-9D44-616B3D38C203}"/>
              </a:ext>
            </a:extLst>
          </p:cNvPr>
          <p:cNvSpPr/>
          <p:nvPr/>
        </p:nvSpPr>
        <p:spPr>
          <a:xfrm>
            <a:off x="5051506" y="1449388"/>
            <a:ext cx="5330283" cy="756000"/>
          </a:xfrm>
          <a:prstGeom prst="rect">
            <a:avLst/>
          </a:prstGeom>
          <a:gradFill flip="none" rotWithShape="1">
            <a:gsLst>
              <a:gs pos="0">
                <a:schemeClr val="bg1"/>
              </a:gs>
              <a:gs pos="100000">
                <a:srgbClr val="92D050"/>
              </a:gs>
            </a:gsLst>
            <a:lin ang="0" scaled="1"/>
            <a:tileRect/>
          </a:gradFill>
          <a:ln w="85725">
            <a:solidFill>
              <a:schemeClr val="accent5">
                <a:lumMod val="50000"/>
              </a:schemeClr>
            </a:solid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About the National Primary Health Care Development Agency (NPHCDA)</a:t>
            </a:r>
          </a:p>
        </p:txBody>
      </p:sp>
      <p:sp>
        <p:nvSpPr>
          <p:cNvPr id="9" name="Rectangle 8">
            <a:extLst>
              <a:ext uri="{FF2B5EF4-FFF2-40B4-BE49-F238E27FC236}">
                <a16:creationId xmlns:a16="http://schemas.microsoft.com/office/drawing/2014/main" id="{D25101E8-C702-40D2-9C84-C889D9E97D02}"/>
              </a:ext>
            </a:extLst>
          </p:cNvPr>
          <p:cNvSpPr/>
          <p:nvPr/>
        </p:nvSpPr>
        <p:spPr>
          <a:xfrm>
            <a:off x="5659245" y="2551074"/>
            <a:ext cx="4722547"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Universal Health Coverage</a:t>
            </a:r>
          </a:p>
        </p:txBody>
      </p:sp>
      <p:sp>
        <p:nvSpPr>
          <p:cNvPr id="10" name="Rectangle 9">
            <a:extLst>
              <a:ext uri="{FF2B5EF4-FFF2-40B4-BE49-F238E27FC236}">
                <a16:creationId xmlns:a16="http://schemas.microsoft.com/office/drawing/2014/main" id="{1E4E0AB2-2A60-4369-81FB-09241DC47918}"/>
              </a:ext>
            </a:extLst>
          </p:cNvPr>
          <p:cNvSpPr/>
          <p:nvPr/>
        </p:nvSpPr>
        <p:spPr>
          <a:xfrm>
            <a:off x="5659255" y="3706574"/>
            <a:ext cx="4722545"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NPHCDA’s Strategic Interventions </a:t>
            </a:r>
          </a:p>
        </p:txBody>
      </p:sp>
      <p:pic>
        <p:nvPicPr>
          <p:cNvPr id="11" name="Picture 10">
            <a:extLst>
              <a:ext uri="{FF2B5EF4-FFF2-40B4-BE49-F238E27FC236}">
                <a16:creationId xmlns:a16="http://schemas.microsoft.com/office/drawing/2014/main" id="{51D0F064-E484-4886-B327-01A0E919B1D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61542" y="2357209"/>
            <a:ext cx="2219097" cy="2259581"/>
          </a:xfrm>
          <a:prstGeom prst="ellipse">
            <a:avLst/>
          </a:prstGeom>
          <a:ln w="63500" cap="rnd">
            <a:solidFill>
              <a:schemeClr val="accent5">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a:extLst>
              <a:ext uri="{FF2B5EF4-FFF2-40B4-BE49-F238E27FC236}">
                <a16:creationId xmlns:a16="http://schemas.microsoft.com/office/drawing/2014/main" id="{128DA7BB-8154-4530-8E70-7B02B86110C1}"/>
              </a:ext>
            </a:extLst>
          </p:cNvPr>
          <p:cNvSpPr/>
          <p:nvPr/>
        </p:nvSpPr>
        <p:spPr>
          <a:xfrm>
            <a:off x="1029641" y="159772"/>
            <a:ext cx="10109897" cy="586500"/>
          </a:xfrm>
          <a:prstGeom prst="rect">
            <a:avLst/>
          </a:prstGeom>
        </p:spPr>
        <p:txBody>
          <a:bodyPr wrap="square" lIns="93146" tIns="46574" rIns="93146" bIns="46574">
            <a:spAutoFit/>
          </a:bodyPr>
          <a:lstStyle/>
          <a:p>
            <a:pPr algn="just" defTabSz="912072" fontAlgn="base">
              <a:spcBef>
                <a:spcPct val="0"/>
              </a:spcBef>
              <a:spcAft>
                <a:spcPct val="0"/>
              </a:spcAft>
              <a:tabLst>
                <a:tab pos="274916" algn="l"/>
              </a:tabLst>
            </a:pPr>
            <a:r>
              <a:rPr lang="en-US" sz="3200" b="1" dirty="0">
                <a:solidFill>
                  <a:srgbClr val="70AD47">
                    <a:lumMod val="50000"/>
                  </a:srgbClr>
                </a:solidFill>
                <a:latin typeface="Arial" panose="020B0604020202020204" pitchFamily="34" charset="0"/>
                <a:cs typeface="Arial" panose="020B0604020202020204" pitchFamily="34" charset="0"/>
              </a:rPr>
              <a:t>Outline</a:t>
            </a:r>
          </a:p>
        </p:txBody>
      </p:sp>
      <p:sp>
        <p:nvSpPr>
          <p:cNvPr id="13" name="Rectangle 12">
            <a:extLst>
              <a:ext uri="{FF2B5EF4-FFF2-40B4-BE49-F238E27FC236}">
                <a16:creationId xmlns:a16="http://schemas.microsoft.com/office/drawing/2014/main" id="{525402E0-D67E-4973-9A30-5B11D6FD973C}"/>
              </a:ext>
            </a:extLst>
          </p:cNvPr>
          <p:cNvSpPr/>
          <p:nvPr/>
        </p:nvSpPr>
        <p:spPr>
          <a:xfrm>
            <a:off x="5051506" y="4829316"/>
            <a:ext cx="5330283"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Prayers to the Executive Governors</a:t>
            </a:r>
          </a:p>
        </p:txBody>
      </p:sp>
    </p:spTree>
    <p:extLst>
      <p:ext uri="{BB962C8B-B14F-4D97-AF65-F5344CB8AC3E}">
        <p14:creationId xmlns:p14="http://schemas.microsoft.com/office/powerpoint/2010/main" val="3503745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1D97AF-21A4-468C-B4FE-F155168402AD}"/>
              </a:ext>
            </a:extLst>
          </p:cNvPr>
          <p:cNvGraphicFramePr>
            <a:graphicFrameLocks noChangeAspect="1"/>
          </p:cNvGraphicFramePr>
          <p:nvPr>
            <p:custDataLst>
              <p:tags r:id="rId2"/>
            </p:custDataLst>
            <p:extLst>
              <p:ext uri="{D42A27DB-BD31-4B8C-83A1-F6EECF244321}">
                <p14:modId xmlns:p14="http://schemas.microsoft.com/office/powerpoint/2010/main" val="1147642989"/>
              </p:ext>
            </p:extLst>
          </p:nvPr>
        </p:nvGraphicFramePr>
        <p:xfrm>
          <a:off x="1592" y="1591"/>
          <a:ext cx="1588" cy="1588"/>
        </p:xfrm>
        <a:graphic>
          <a:graphicData uri="http://schemas.openxmlformats.org/presentationml/2006/ole">
            <mc:AlternateContent xmlns:mc="http://schemas.openxmlformats.org/markup-compatibility/2006">
              <mc:Choice xmlns:v="urn:schemas-microsoft-com:vml" Requires="v">
                <p:oleObj spid="_x0000_s656399"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92" y="1591"/>
                        <a:ext cx="1588" cy="1588"/>
                      </a:xfrm>
                      <a:prstGeom prst="rect">
                        <a:avLst/>
                      </a:prstGeom>
                    </p:spPr>
                  </p:pic>
                </p:oleObj>
              </mc:Fallback>
            </mc:AlternateContent>
          </a:graphicData>
        </a:graphic>
      </p:graphicFrame>
      <p:sp>
        <p:nvSpPr>
          <p:cNvPr id="12" name="Star: 16 Points 11">
            <a:extLst>
              <a:ext uri="{FF2B5EF4-FFF2-40B4-BE49-F238E27FC236}">
                <a16:creationId xmlns:a16="http://schemas.microsoft.com/office/drawing/2014/main" id="{4B99E7E9-A87D-46F2-A3BB-BC5538C6E64B}"/>
              </a:ext>
            </a:extLst>
          </p:cNvPr>
          <p:cNvSpPr/>
          <p:nvPr/>
        </p:nvSpPr>
        <p:spPr>
          <a:xfrm>
            <a:off x="5399315" y="4598860"/>
            <a:ext cx="6509656" cy="1891077"/>
          </a:xfrm>
          <a:prstGeom prst="star16">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a:endParaRPr lang="x-none">
              <a:solidFill>
                <a:prstClr val="white"/>
              </a:solidFill>
            </a:endParaRPr>
          </a:p>
        </p:txBody>
      </p:sp>
      <p:sp>
        <p:nvSpPr>
          <p:cNvPr id="6" name="object 2">
            <a:extLst>
              <a:ext uri="{FF2B5EF4-FFF2-40B4-BE49-F238E27FC236}">
                <a16:creationId xmlns:a16="http://schemas.microsoft.com/office/drawing/2014/main" id="{85F7C499-0679-4906-8202-023587D063B4}"/>
              </a:ext>
            </a:extLst>
          </p:cNvPr>
          <p:cNvSpPr/>
          <p:nvPr/>
        </p:nvSpPr>
        <p:spPr>
          <a:xfrm>
            <a:off x="175994" y="1099465"/>
            <a:ext cx="5049300" cy="5133379"/>
          </a:xfrm>
          <a:custGeom>
            <a:avLst/>
            <a:gdLst/>
            <a:ahLst/>
            <a:cxnLst/>
            <a:rect l="l" t="t" r="r" b="b"/>
            <a:pathLst>
              <a:path w="8655050" h="5349240">
                <a:moveTo>
                  <a:pt x="0" y="5349240"/>
                </a:moveTo>
                <a:lnTo>
                  <a:pt x="8654796" y="5349240"/>
                </a:lnTo>
                <a:lnTo>
                  <a:pt x="8654796" y="0"/>
                </a:lnTo>
                <a:lnTo>
                  <a:pt x="0" y="0"/>
                </a:lnTo>
                <a:lnTo>
                  <a:pt x="0" y="5349240"/>
                </a:lnTo>
                <a:close/>
              </a:path>
            </a:pathLst>
          </a:custGeom>
          <a:ln w="19050">
            <a:solidFill>
              <a:srgbClr val="00800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solidFill>
                <a:prstClr val="black"/>
              </a:solidFill>
            </a:endParaRPr>
          </a:p>
        </p:txBody>
      </p:sp>
      <p:sp>
        <p:nvSpPr>
          <p:cNvPr id="7" name="Snip Diagonal Corner Rectangle 10">
            <a:extLst>
              <a:ext uri="{FF2B5EF4-FFF2-40B4-BE49-F238E27FC236}">
                <a16:creationId xmlns:a16="http://schemas.microsoft.com/office/drawing/2014/main" id="{2582A93D-E22D-4E7E-90A1-4E40E25AF43E}"/>
              </a:ext>
            </a:extLst>
          </p:cNvPr>
          <p:cNvSpPr/>
          <p:nvPr/>
        </p:nvSpPr>
        <p:spPr>
          <a:xfrm>
            <a:off x="741923" y="5691578"/>
            <a:ext cx="4352105" cy="504711"/>
          </a:xfrm>
          <a:prstGeom prst="snip2Diag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dirty="0">
                <a:solidFill>
                  <a:prstClr val="black"/>
                </a:solidFill>
              </a:rPr>
              <a:t>- </a:t>
            </a:r>
            <a:r>
              <a:rPr lang="en-US" dirty="0">
                <a:solidFill>
                  <a:prstClr val="black"/>
                </a:solidFill>
                <a:latin typeface="Arial" panose="020B0604020202020204" pitchFamily="34" charset="0"/>
                <a:cs typeface="Arial" panose="020B0604020202020204" pitchFamily="34" charset="0"/>
              </a:rPr>
              <a:t>No. of sites visited are 8,065</a:t>
            </a:r>
          </a:p>
          <a:p>
            <a:r>
              <a:rPr lang="en-US" dirty="0">
                <a:solidFill>
                  <a:prstClr val="black"/>
                </a:solidFill>
                <a:latin typeface="Arial" panose="020B0604020202020204" pitchFamily="34" charset="0"/>
                <a:cs typeface="Arial" panose="020B0604020202020204" pitchFamily="34" charset="0"/>
              </a:rPr>
              <a:t>- Total no. of CCE assessed is  14,596 </a:t>
            </a:r>
          </a:p>
        </p:txBody>
      </p:sp>
      <p:graphicFrame>
        <p:nvGraphicFramePr>
          <p:cNvPr id="8" name="Chart 7">
            <a:extLst>
              <a:ext uri="{FF2B5EF4-FFF2-40B4-BE49-F238E27FC236}">
                <a16:creationId xmlns:a16="http://schemas.microsoft.com/office/drawing/2014/main" id="{FEB00C8D-E24F-49A2-AAFE-BA7FD129CF3E}"/>
              </a:ext>
            </a:extLst>
          </p:cNvPr>
          <p:cNvGraphicFramePr>
            <a:graphicFrameLocks noGrp="1"/>
          </p:cNvGraphicFramePr>
          <p:nvPr>
            <p:extLst>
              <p:ext uri="{D42A27DB-BD31-4B8C-83A1-F6EECF244321}">
                <p14:modId xmlns:p14="http://schemas.microsoft.com/office/powerpoint/2010/main" val="3079809391"/>
              </p:ext>
            </p:extLst>
          </p:nvPr>
        </p:nvGraphicFramePr>
        <p:xfrm>
          <a:off x="-315527" y="1099465"/>
          <a:ext cx="6199683" cy="5259329"/>
        </p:xfrm>
        <a:graphic>
          <a:graphicData uri="http://schemas.openxmlformats.org/drawingml/2006/chart">
            <c:chart xmlns:c="http://schemas.openxmlformats.org/drawingml/2006/chart" xmlns:r="http://schemas.openxmlformats.org/officeDocument/2006/relationships" r:id="rId6"/>
          </a:graphicData>
        </a:graphic>
      </p:graphicFrame>
      <p:sp>
        <p:nvSpPr>
          <p:cNvPr id="9" name="Title 1">
            <a:extLst>
              <a:ext uri="{FF2B5EF4-FFF2-40B4-BE49-F238E27FC236}">
                <a16:creationId xmlns:a16="http://schemas.microsoft.com/office/drawing/2014/main" id="{2DF41371-4F75-490F-9A36-BED6ABD7D334}"/>
              </a:ext>
            </a:extLst>
          </p:cNvPr>
          <p:cNvSpPr txBox="1">
            <a:spLocks/>
          </p:cNvSpPr>
          <p:nvPr/>
        </p:nvSpPr>
        <p:spPr>
          <a:xfrm>
            <a:off x="966599" y="72052"/>
            <a:ext cx="10179129" cy="88173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84" tIns="45698" rIns="91384" bIns="45698"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en-US" sz="2400" b="1" baseline="30000" dirty="0">
                <a:solidFill>
                  <a:srgbClr val="015F32"/>
                </a:solidFill>
                <a:latin typeface="Arial"/>
              </a:rPr>
              <a:t>3</a:t>
            </a:r>
            <a:r>
              <a:rPr lang="en-US" sz="1900" b="1" dirty="0">
                <a:solidFill>
                  <a:srgbClr val="204024"/>
                </a:solidFill>
                <a:latin typeface="Arial" panose="020B0604020202020204" pitchFamily="34" charset="0"/>
                <a:cs typeface="Arial" panose="020B0604020202020204" pitchFamily="34" charset="0"/>
              </a:rPr>
              <a:t>Renewed engagement between the NPHCDA and Gavi has resulted in joint commitment of $120 million dollars to ensure 100% saturation of functional cold chain equipment (refrigerators, freezers, etc.) across the country</a:t>
            </a:r>
          </a:p>
        </p:txBody>
      </p:sp>
      <p:sp>
        <p:nvSpPr>
          <p:cNvPr id="10" name="TextBox 9">
            <a:extLst>
              <a:ext uri="{FF2B5EF4-FFF2-40B4-BE49-F238E27FC236}">
                <a16:creationId xmlns:a16="http://schemas.microsoft.com/office/drawing/2014/main" id="{F05524FD-2952-4CDA-BC54-C521607EF418}"/>
              </a:ext>
            </a:extLst>
          </p:cNvPr>
          <p:cNvSpPr txBox="1"/>
          <p:nvPr/>
        </p:nvSpPr>
        <p:spPr>
          <a:xfrm>
            <a:off x="5399328" y="1121237"/>
            <a:ext cx="6630241" cy="3490220"/>
          </a:xfrm>
          <a:prstGeom prst="rect">
            <a:avLst/>
          </a:prstGeom>
          <a:solidFill>
            <a:schemeClr val="accent6">
              <a:lumMod val="20000"/>
              <a:lumOff val="80000"/>
            </a:schemeClr>
          </a:solidFill>
        </p:spPr>
        <p:txBody>
          <a:bodyPr wrap="square" lIns="179887" tIns="179887" rIns="179887" bIns="45698" rtlCol="0">
            <a:spAutoFit/>
          </a:bodyPr>
          <a:lstStyle/>
          <a:p>
            <a:pPr marL="342754" indent="-342754" algn="just">
              <a:spcBef>
                <a:spcPts val="600"/>
              </a:spcBef>
              <a:buFont typeface="Arial" pitchFamily="34" charset="0"/>
              <a:buChar char="•"/>
            </a:pPr>
            <a:r>
              <a:rPr lang="en-GB" sz="1600" dirty="0">
                <a:solidFill>
                  <a:prstClr val="black"/>
                </a:solidFill>
                <a:latin typeface="Arial" panose="020B0604020202020204" pitchFamily="34" charset="0"/>
                <a:cs typeface="Arial" panose="020B0604020202020204" pitchFamily="34" charset="0"/>
              </a:rPr>
              <a:t>Annually, NPHCDA and partners invest over NGN 90 billion in procuring life-saving vaccines for all the states in Nigeria</a:t>
            </a:r>
          </a:p>
          <a:p>
            <a:pPr marL="342754" indent="-342754" algn="just">
              <a:spcBef>
                <a:spcPts val="600"/>
              </a:spcBef>
              <a:buFont typeface="Arial" pitchFamily="34" charset="0"/>
              <a:buChar char="•"/>
            </a:pPr>
            <a:r>
              <a:rPr lang="en-GB" sz="1600" dirty="0">
                <a:solidFill>
                  <a:prstClr val="black"/>
                </a:solidFill>
                <a:latin typeface="Arial" panose="020B0604020202020204" pitchFamily="34" charset="0"/>
                <a:cs typeface="Arial" panose="020B0604020202020204" pitchFamily="34" charset="0"/>
              </a:rPr>
              <a:t>To ensure availability of these vaccines at all health facilities, there must be functional cold chain equipment for storage within required temperature</a:t>
            </a:r>
          </a:p>
          <a:p>
            <a:pPr marL="342754" indent="-342754" algn="just">
              <a:spcBef>
                <a:spcPts val="600"/>
              </a:spcBef>
              <a:buFont typeface="Arial" pitchFamily="34" charset="0"/>
              <a:buChar char="•"/>
            </a:pPr>
            <a:r>
              <a:rPr lang="en-GB" sz="1600" dirty="0">
                <a:solidFill>
                  <a:prstClr val="black"/>
                </a:solidFill>
                <a:latin typeface="Arial" panose="020B0604020202020204" pitchFamily="34" charset="0"/>
                <a:cs typeface="Arial" panose="020B0604020202020204" pitchFamily="34" charset="0"/>
              </a:rPr>
              <a:t>However, a recent assessment in 2018 showed that only </a:t>
            </a:r>
            <a:r>
              <a:rPr lang="en-GB" sz="1600" dirty="0">
                <a:solidFill>
                  <a:srgbClr val="FF0000"/>
                </a:solidFill>
                <a:latin typeface="Arial" panose="020B0604020202020204" pitchFamily="34" charset="0"/>
                <a:cs typeface="Arial" panose="020B0604020202020204" pitchFamily="34" charset="0"/>
              </a:rPr>
              <a:t>52% </a:t>
            </a:r>
            <a:r>
              <a:rPr lang="en-GB" sz="1600" dirty="0">
                <a:solidFill>
                  <a:prstClr val="black"/>
                </a:solidFill>
                <a:latin typeface="Arial" panose="020B0604020202020204" pitchFamily="34" charset="0"/>
                <a:cs typeface="Arial" panose="020B0604020202020204" pitchFamily="34" charset="0"/>
              </a:rPr>
              <a:t>of wards have functional CCE</a:t>
            </a:r>
          </a:p>
          <a:p>
            <a:pPr marL="342754" indent="-342754" algn="just">
              <a:spcBef>
                <a:spcPts val="600"/>
              </a:spcBef>
              <a:buFont typeface="Arial" pitchFamily="34" charset="0"/>
              <a:buChar char="•"/>
            </a:pPr>
            <a:r>
              <a:rPr lang="en-GB" sz="1600" dirty="0">
                <a:solidFill>
                  <a:prstClr val="black"/>
                </a:solidFill>
                <a:latin typeface="Arial" panose="020B0604020202020204" pitchFamily="34" charset="0"/>
                <a:cs typeface="Arial" panose="020B0604020202020204" pitchFamily="34" charset="0"/>
              </a:rPr>
              <a:t>To bridge the gap in CCE availability across the country, the Federal Government of Nigeria and Gavi, the Vaccine Alliance have jointly committed over </a:t>
            </a:r>
            <a:r>
              <a:rPr lang="en-GB" sz="1600" dirty="0">
                <a:solidFill>
                  <a:srgbClr val="FF0000"/>
                </a:solidFill>
                <a:latin typeface="Arial" panose="020B0604020202020204" pitchFamily="34" charset="0"/>
                <a:cs typeface="Arial" panose="020B0604020202020204" pitchFamily="34" charset="0"/>
              </a:rPr>
              <a:t>$120M to procure over 12,000 CCEs</a:t>
            </a:r>
          </a:p>
          <a:p>
            <a:pPr marL="342754" indent="-342754" algn="just">
              <a:spcBef>
                <a:spcPts val="600"/>
              </a:spcBef>
              <a:buFont typeface="Arial" pitchFamily="34" charset="0"/>
              <a:buChar char="•"/>
            </a:pPr>
            <a:r>
              <a:rPr lang="en-GB" sz="1600" dirty="0">
                <a:solidFill>
                  <a:prstClr val="black"/>
                </a:solidFill>
                <a:latin typeface="Arial" panose="020B0604020202020204" pitchFamily="34" charset="0"/>
                <a:cs typeface="Arial" panose="020B0604020202020204" pitchFamily="34" charset="0"/>
              </a:rPr>
              <a:t>This will ensure that there is at least a functional cold chain equipment in every ward in Nigeria</a:t>
            </a:r>
          </a:p>
        </p:txBody>
      </p:sp>
      <p:sp>
        <p:nvSpPr>
          <p:cNvPr id="2" name="Slide Number Placeholder 1"/>
          <p:cNvSpPr>
            <a:spLocks noGrp="1"/>
          </p:cNvSpPr>
          <p:nvPr>
            <p:ph type="sldNum" sz="quarter" idx="12"/>
          </p:nvPr>
        </p:nvSpPr>
        <p:spPr/>
        <p:txBody>
          <a:bodyPr/>
          <a:lstStyle/>
          <a:p>
            <a:pPr algn="r"/>
            <a:fld id="{978E596B-AA80-4BB2-8707-B351070E738D}" type="slidenum">
              <a:rPr lang="en-US" smtClean="0">
                <a:solidFill>
                  <a:prstClr val="white"/>
                </a:solidFill>
              </a:rPr>
              <a:pPr algn="r"/>
              <a:t>20</a:t>
            </a:fld>
            <a:endParaRPr lang="en-US" dirty="0">
              <a:solidFill>
                <a:prstClr val="white"/>
              </a:solidFill>
            </a:endParaRPr>
          </a:p>
        </p:txBody>
      </p:sp>
      <p:sp>
        <p:nvSpPr>
          <p:cNvPr id="11" name="TextBox 10">
            <a:extLst>
              <a:ext uri="{FF2B5EF4-FFF2-40B4-BE49-F238E27FC236}">
                <a16:creationId xmlns:a16="http://schemas.microsoft.com/office/drawing/2014/main" id="{895682BB-BA57-452B-98EB-7369146A8E4D}"/>
              </a:ext>
            </a:extLst>
          </p:cNvPr>
          <p:cNvSpPr txBox="1"/>
          <p:nvPr/>
        </p:nvSpPr>
        <p:spPr>
          <a:xfrm>
            <a:off x="6836242" y="4887702"/>
            <a:ext cx="4049488" cy="1323403"/>
          </a:xfrm>
          <a:prstGeom prst="rect">
            <a:avLst/>
          </a:prstGeom>
          <a:noFill/>
        </p:spPr>
        <p:txBody>
          <a:bodyPr wrap="square" lIns="91401" tIns="45702" rIns="91401" bIns="45702" rtlCol="0">
            <a:spAutoFit/>
          </a:bodyPr>
          <a:lstStyle/>
          <a:p>
            <a:r>
              <a:rPr lang="en-GB" sz="1600" dirty="0">
                <a:solidFill>
                  <a:prstClr val="black"/>
                </a:solidFill>
                <a:latin typeface="Arial" panose="020B0604020202020204" pitchFamily="34" charset="0"/>
                <a:cs typeface="Arial" panose="020B0604020202020204" pitchFamily="34" charset="0"/>
              </a:rPr>
              <a:t>State Governments need to establish and fund maintenance mechanisms for all cold chain equipment in the state to ensure continued functionality and vaccine availability at the last mile</a:t>
            </a:r>
            <a:endParaRPr lang="x-none" sz="16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37940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8" hidden="1"/>
          <p:cNvGraphicFramePr>
            <a:graphicFrameLocks noChangeAspect="1"/>
          </p:cNvGraphicFramePr>
          <p:nvPr>
            <p:custDataLst>
              <p:tags r:id="rId2"/>
            </p:custDataLst>
            <p:extLst/>
          </p:nvPr>
        </p:nvGraphicFramePr>
        <p:xfrm>
          <a:off x="2668208" y="1501380"/>
          <a:ext cx="1190" cy="1190"/>
        </p:xfrm>
        <a:graphic>
          <a:graphicData uri="http://schemas.openxmlformats.org/presentationml/2006/ole">
            <mc:AlternateContent xmlns:mc="http://schemas.openxmlformats.org/markup-compatibility/2006">
              <mc:Choice xmlns:v="urn:schemas-microsoft-com:vml" Requires="v">
                <p:oleObj spid="_x0000_s657423" name="think-cell Slide" r:id="rId17" imgW="360" imgH="360" progId="TCLayout.ActiveDocument.1">
                  <p:embed/>
                </p:oleObj>
              </mc:Choice>
              <mc:Fallback>
                <p:oleObj name="think-cell Slide" r:id="rId17" imgW="360" imgH="36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668208" y="1501380"/>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Rectangle 31" hidden="1">
            <a:extLst>
              <a:ext uri="{FF2B5EF4-FFF2-40B4-BE49-F238E27FC236}">
                <a16:creationId xmlns:a16="http://schemas.microsoft.com/office/drawing/2014/main" id="{C92E9D56-46AF-4E11-876B-6C3A39DA0D52}"/>
              </a:ext>
            </a:extLst>
          </p:cNvPr>
          <p:cNvSpPr/>
          <p:nvPr>
            <p:custDataLst>
              <p:tags r:id="rId3"/>
            </p:custDataLst>
          </p:nvPr>
        </p:nvSpPr>
        <p:spPr bwMode="auto">
          <a:xfrm>
            <a:off x="2667007" y="1500210"/>
            <a:ext cx="121445" cy="9167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anchor="ctr" anchorCtr="0">
            <a:noAutofit/>
          </a:bodyPr>
          <a:lstStyle/>
          <a:p>
            <a:pPr algn="ctr">
              <a:spcBef>
                <a:spcPct val="0"/>
              </a:spcBef>
              <a:spcAft>
                <a:spcPct val="0"/>
              </a:spcAft>
              <a:defRPr/>
            </a:pPr>
            <a:endParaRPr lang="en-US" sz="1500" dirty="0">
              <a:solidFill>
                <a:prstClr val="black"/>
              </a:solidFill>
              <a:latin typeface="Tw Cen MT" panose="020B0602020104020603" pitchFamily="34" charset="0"/>
              <a:sym typeface="Tw Cen MT" panose="020B0602020104020603" pitchFamily="34" charset="0"/>
            </a:endParaRPr>
          </a:p>
        </p:txBody>
      </p:sp>
      <p:sp>
        <p:nvSpPr>
          <p:cNvPr id="22533" name="5. Source"/>
          <p:cNvSpPr>
            <a:spLocks noChangeArrowheads="1"/>
          </p:cNvSpPr>
          <p:nvPr/>
        </p:nvSpPr>
        <p:spPr bwMode="gray">
          <a:xfrm>
            <a:off x="2903556" y="4882035"/>
            <a:ext cx="519271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marL="357035" indent="-357035" defTabSz="610532">
              <a:tabLst>
                <a:tab pos="378458" algn="l"/>
              </a:tabLst>
              <a:defRPr/>
            </a:pPr>
            <a:r>
              <a:rPr lang="en-US" altLang="en-US" sz="1500">
                <a:solidFill>
                  <a:prstClr val="white"/>
                </a:solidFill>
              </a:rPr>
              <a:t>SOURCE: 	FMoH</a:t>
            </a:r>
          </a:p>
        </p:txBody>
      </p:sp>
      <p:sp>
        <p:nvSpPr>
          <p:cNvPr id="156" name="Rectangle 155">
            <a:extLst>
              <a:ext uri="{FF2B5EF4-FFF2-40B4-BE49-F238E27FC236}">
                <a16:creationId xmlns:a16="http://schemas.microsoft.com/office/drawing/2014/main" id="{8855CAEA-1CDD-4022-90B9-7C4977587D00}"/>
              </a:ext>
            </a:extLst>
          </p:cNvPr>
          <p:cNvSpPr/>
          <p:nvPr/>
        </p:nvSpPr>
        <p:spPr bwMode="auto">
          <a:xfrm>
            <a:off x="695555" y="1711325"/>
            <a:ext cx="4319360" cy="400050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anchor="ctr"/>
          <a:lstStyle/>
          <a:p>
            <a:pPr algn="ctr" defTabSz="914013">
              <a:defRPr/>
            </a:pPr>
            <a:endParaRPr lang="en-US" sz="1500" dirty="0" err="1">
              <a:solidFill>
                <a:prstClr val="black"/>
              </a:solidFill>
            </a:endParaRPr>
          </a:p>
        </p:txBody>
      </p:sp>
      <p:sp>
        <p:nvSpPr>
          <p:cNvPr id="22601" name="TextBox 156"/>
          <p:cNvSpPr txBox="1">
            <a:spLocks noChangeArrowheads="1"/>
          </p:cNvSpPr>
          <p:nvPr/>
        </p:nvSpPr>
        <p:spPr bwMode="auto">
          <a:xfrm>
            <a:off x="663808" y="1711331"/>
            <a:ext cx="4338409" cy="295724"/>
          </a:xfrm>
          <a:prstGeom prst="rect">
            <a:avLst/>
          </a:prstGeom>
          <a:solidFill>
            <a:schemeClr val="accent6">
              <a:lumMod val="75000"/>
            </a:schemeClr>
          </a:solidFill>
          <a:ln w="19050">
            <a:solidFill>
              <a:schemeClr val="bg1">
                <a:lumMod val="85000"/>
              </a:schemeClr>
            </a:solidFill>
            <a:miter lim="800000"/>
            <a:headEnd/>
            <a:tailEnd/>
          </a:ln>
        </p:spPr>
        <p:txBody>
          <a:bodyPr wrap="square" lIns="32132" tIns="32132" rIns="32132" bIns="32132">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srgbClr val="44546A"/>
              </a:buClr>
              <a:buSzPct val="100000"/>
              <a:defRPr/>
            </a:pPr>
            <a:r>
              <a:rPr lang="en-US" altLang="en-US" sz="1500" b="1" dirty="0">
                <a:solidFill>
                  <a:prstClr val="white"/>
                </a:solidFill>
                <a:latin typeface="Tw Cen MT" pitchFamily="34" charset="0"/>
              </a:rPr>
              <a:t>Flow of funds from the 1% CRF</a:t>
            </a:r>
          </a:p>
        </p:txBody>
      </p:sp>
      <p:sp>
        <p:nvSpPr>
          <p:cNvPr id="228" name="Rectangle 227">
            <a:extLst>
              <a:ext uri="{FF2B5EF4-FFF2-40B4-BE49-F238E27FC236}">
                <a16:creationId xmlns:a16="http://schemas.microsoft.com/office/drawing/2014/main" id="{FFBE182D-824C-43FE-A45F-C648BE8ABA77}"/>
              </a:ext>
            </a:extLst>
          </p:cNvPr>
          <p:cNvSpPr/>
          <p:nvPr/>
        </p:nvSpPr>
        <p:spPr bwMode="auto">
          <a:xfrm>
            <a:off x="5261207" y="1711325"/>
            <a:ext cx="5670551" cy="400050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anchor="ctr"/>
          <a:lstStyle/>
          <a:p>
            <a:pPr algn="ctr" defTabSz="914013">
              <a:defRPr/>
            </a:pPr>
            <a:endParaRPr lang="en-US" sz="1500" dirty="0" err="1">
              <a:solidFill>
                <a:prstClr val="black"/>
              </a:solidFill>
            </a:endParaRPr>
          </a:p>
        </p:txBody>
      </p:sp>
      <p:sp>
        <p:nvSpPr>
          <p:cNvPr id="2" name="Freeform 1">
            <a:extLst>
              <a:ext uri="{FF2B5EF4-FFF2-40B4-BE49-F238E27FC236}">
                <a16:creationId xmlns:a16="http://schemas.microsoft.com/office/drawing/2014/main" id="{D605A66C-8E01-4457-A524-776575D0D3D6}"/>
              </a:ext>
            </a:extLst>
          </p:cNvPr>
          <p:cNvSpPr/>
          <p:nvPr/>
        </p:nvSpPr>
        <p:spPr>
          <a:xfrm>
            <a:off x="3062287" y="4019550"/>
            <a:ext cx="2133600" cy="300038"/>
          </a:xfrm>
          <a:custGeom>
            <a:avLst/>
            <a:gdLst>
              <a:gd name="connsiteX0" fmla="*/ 2206171 w 4441371"/>
              <a:gd name="connsiteY0" fmla="*/ 522514 h 522514"/>
              <a:gd name="connsiteX1" fmla="*/ 0 w 4441371"/>
              <a:gd name="connsiteY1" fmla="*/ 0 h 522514"/>
              <a:gd name="connsiteX2" fmla="*/ 4441371 w 4441371"/>
              <a:gd name="connsiteY2" fmla="*/ 0 h 522514"/>
              <a:gd name="connsiteX3" fmla="*/ 2206171 w 4441371"/>
              <a:gd name="connsiteY3" fmla="*/ 522514 h 522514"/>
            </a:gdLst>
            <a:ahLst/>
            <a:cxnLst>
              <a:cxn ang="0">
                <a:pos x="connsiteX0" y="connsiteY0"/>
              </a:cxn>
              <a:cxn ang="0">
                <a:pos x="connsiteX1" y="connsiteY1"/>
              </a:cxn>
              <a:cxn ang="0">
                <a:pos x="connsiteX2" y="connsiteY2"/>
              </a:cxn>
              <a:cxn ang="0">
                <a:pos x="connsiteX3" y="connsiteY3"/>
              </a:cxn>
            </a:cxnLst>
            <a:rect l="l" t="t" r="r" b="b"/>
            <a:pathLst>
              <a:path w="4441371" h="522514">
                <a:moveTo>
                  <a:pt x="2206171" y="522514"/>
                </a:moveTo>
                <a:lnTo>
                  <a:pt x="0" y="0"/>
                </a:lnTo>
                <a:lnTo>
                  <a:pt x="4441371" y="0"/>
                </a:lnTo>
                <a:lnTo>
                  <a:pt x="2206171" y="522514"/>
                </a:lnTo>
                <a:close/>
              </a:path>
            </a:pathLst>
          </a:custGeom>
          <a:gradFill flip="none" rotWithShape="1">
            <a:gsLst>
              <a:gs pos="0">
                <a:schemeClr val="bg1">
                  <a:lumMod val="85000"/>
                </a:schemeClr>
              </a:gs>
              <a:gs pos="100000">
                <a:schemeClr val="bg1"/>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62446" tIns="31223" rIns="62446" bIns="31223" anchor="ctr"/>
          <a:lstStyle/>
          <a:p>
            <a:pPr algn="ctr" defTabSz="914013">
              <a:defRPr/>
            </a:pPr>
            <a:endParaRPr lang="en-ZA" sz="1500" dirty="0" err="1">
              <a:solidFill>
                <a:prstClr val="black"/>
              </a:solidFill>
            </a:endParaRPr>
          </a:p>
        </p:txBody>
      </p:sp>
      <p:cxnSp>
        <p:nvCxnSpPr>
          <p:cNvPr id="51" name="Straight Connector 50">
            <a:extLst>
              <a:ext uri="{FF2B5EF4-FFF2-40B4-BE49-F238E27FC236}">
                <a16:creationId xmlns:a16="http://schemas.microsoft.com/office/drawing/2014/main" id="{15CC531A-EFC8-4968-B897-9E8AA180DB7E}"/>
              </a:ext>
            </a:extLst>
          </p:cNvPr>
          <p:cNvCxnSpPr/>
          <p:nvPr>
            <p:custDataLst>
              <p:tags r:id="rId4"/>
            </p:custDataLst>
          </p:nvPr>
        </p:nvCxnSpPr>
        <p:spPr bwMode="gray">
          <a:xfrm>
            <a:off x="2498730" y="2811463"/>
            <a:ext cx="204789" cy="0"/>
          </a:xfrm>
          <a:prstGeom prst="line">
            <a:avLst/>
          </a:prstGeom>
          <a:ln w="3175">
            <a:solidFill>
              <a:schemeClr val="accent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0163BC-2CCA-478A-B0D7-D2B613F39DE2}"/>
              </a:ext>
            </a:extLst>
          </p:cNvPr>
          <p:cNvCxnSpPr/>
          <p:nvPr>
            <p:custDataLst>
              <p:tags r:id="rId5"/>
            </p:custDataLst>
          </p:nvPr>
        </p:nvCxnSpPr>
        <p:spPr bwMode="gray">
          <a:xfrm>
            <a:off x="1782763" y="2232025"/>
            <a:ext cx="203200" cy="0"/>
          </a:xfrm>
          <a:prstGeom prst="line">
            <a:avLst/>
          </a:prstGeom>
          <a:ln w="3175">
            <a:solidFill>
              <a:schemeClr val="accent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4D90D64-967E-4A43-B01F-D8B7C8496594}"/>
              </a:ext>
            </a:extLst>
          </p:cNvPr>
          <p:cNvCxnSpPr/>
          <p:nvPr>
            <p:custDataLst>
              <p:tags r:id="rId6"/>
            </p:custDataLst>
          </p:nvPr>
        </p:nvCxnSpPr>
        <p:spPr bwMode="gray">
          <a:xfrm>
            <a:off x="3216275" y="3333750"/>
            <a:ext cx="203200" cy="0"/>
          </a:xfrm>
          <a:prstGeom prst="line">
            <a:avLst/>
          </a:prstGeom>
          <a:ln w="3175">
            <a:solidFill>
              <a:schemeClr val="accent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7" name="Chart 96">
            <a:extLst>
              <a:ext uri="{FF2B5EF4-FFF2-40B4-BE49-F238E27FC236}">
                <a16:creationId xmlns:a16="http://schemas.microsoft.com/office/drawing/2014/main" id="{39B0B887-7EEB-4783-A8C7-D22CA06C83CE}"/>
              </a:ext>
            </a:extLst>
          </p:cNvPr>
          <p:cNvGraphicFramePr/>
          <p:nvPr>
            <p:custDataLst>
              <p:tags r:id="rId7"/>
            </p:custDataLst>
            <p:extLst/>
          </p:nvPr>
        </p:nvGraphicFramePr>
        <p:xfrm>
          <a:off x="1085853" y="1971681"/>
          <a:ext cx="3030539" cy="1501775"/>
        </p:xfrm>
        <a:graphic>
          <a:graphicData uri="http://schemas.openxmlformats.org/drawingml/2006/chart">
            <c:chart xmlns:c="http://schemas.openxmlformats.org/drawingml/2006/chart" xmlns:r="http://schemas.openxmlformats.org/officeDocument/2006/relationships" r:id="rId19"/>
          </a:graphicData>
        </a:graphic>
      </p:graphicFrame>
      <p:sp>
        <p:nvSpPr>
          <p:cNvPr id="22543" name="Text Placeholder 2"/>
          <p:cNvSpPr>
            <a:spLocks noGrp="1" noChangeArrowheads="1"/>
          </p:cNvSpPr>
          <p:nvPr>
            <p:custDataLst>
              <p:tags r:id="rId8"/>
            </p:custDataLst>
          </p:nvPr>
        </p:nvSpPr>
        <p:spPr bwMode="auto">
          <a:xfrm>
            <a:off x="1274766" y="3449639"/>
            <a:ext cx="50165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defTabSz="671229">
              <a:buClr>
                <a:srgbClr val="44546A"/>
              </a:buClr>
              <a:buSzPct val="100000"/>
              <a:defRPr/>
            </a:pPr>
            <a:fld id="{E1887BCE-39B5-4356-BB6A-C1FD1DF4835E}" type="datetime'''''''''''''''''B''''''''''''''H''''C''''P''''''''''''''''F'">
              <a:rPr lang="en-US" altLang="en-US" sz="1500" b="1">
                <a:solidFill>
                  <a:prstClr val="black"/>
                </a:solidFill>
                <a:latin typeface="Tw Cen MT" pitchFamily="34" charset="0"/>
              </a:rPr>
              <a:pPr algn="ctr" defTabSz="671229">
                <a:buClr>
                  <a:srgbClr val="44546A"/>
                </a:buClr>
                <a:buSzPct val="100000"/>
                <a:defRPr/>
              </a:pPr>
              <a:t>BHCPF</a:t>
            </a:fld>
            <a:endParaRPr lang="en-US" altLang="en-US" sz="1500" b="1" dirty="0">
              <a:solidFill>
                <a:prstClr val="black"/>
              </a:solidFill>
              <a:latin typeface="Tw Cen MT" pitchFamily="34" charset="0"/>
              <a:sym typeface="+mn-lt"/>
            </a:endParaRPr>
          </a:p>
        </p:txBody>
      </p:sp>
      <p:sp>
        <p:nvSpPr>
          <p:cNvPr id="22542" name="Text Placeholder 2"/>
          <p:cNvSpPr>
            <a:spLocks noGrp="1" noChangeArrowheads="1"/>
          </p:cNvSpPr>
          <p:nvPr>
            <p:custDataLst>
              <p:tags r:id="rId9"/>
            </p:custDataLst>
          </p:nvPr>
        </p:nvSpPr>
        <p:spPr bwMode="auto">
          <a:xfrm>
            <a:off x="2052657" y="3449639"/>
            <a:ext cx="3778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defTabSz="671229">
              <a:buClr>
                <a:srgbClr val="44546A"/>
              </a:buClr>
              <a:buSzPct val="100000"/>
              <a:defRPr/>
            </a:pPr>
            <a:fld id="{AEAC7E8E-F82A-4CDC-AE1E-5E3B150BEF56}" type="datetime'''''''''''''N''''''''''''''''H''''''IS'">
              <a:rPr lang="en-US" altLang="en-US" sz="1500" b="1">
                <a:solidFill>
                  <a:prstClr val="black"/>
                </a:solidFill>
                <a:latin typeface="Tw Cen MT" pitchFamily="34" charset="0"/>
              </a:rPr>
              <a:pPr algn="ctr" defTabSz="671229">
                <a:buClr>
                  <a:srgbClr val="44546A"/>
                </a:buClr>
                <a:buSzPct val="100000"/>
                <a:defRPr/>
              </a:pPr>
              <a:t>NHIS</a:t>
            </a:fld>
            <a:endParaRPr lang="en-US" altLang="en-US" sz="1500" b="1">
              <a:solidFill>
                <a:prstClr val="black"/>
              </a:solidFill>
              <a:latin typeface="Tw Cen MT" pitchFamily="34" charset="0"/>
              <a:sym typeface="+mn-lt"/>
            </a:endParaRPr>
          </a:p>
        </p:txBody>
      </p:sp>
      <p:sp>
        <p:nvSpPr>
          <p:cNvPr id="22541" name="Text Placeholder 2"/>
          <p:cNvSpPr>
            <a:spLocks noGrp="1" noChangeArrowheads="1"/>
          </p:cNvSpPr>
          <p:nvPr>
            <p:custDataLst>
              <p:tags r:id="rId10"/>
            </p:custDataLst>
          </p:nvPr>
        </p:nvSpPr>
        <p:spPr bwMode="auto">
          <a:xfrm>
            <a:off x="2625740" y="3449639"/>
            <a:ext cx="6667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defTabSz="671229">
              <a:buClr>
                <a:srgbClr val="44546A"/>
              </a:buClr>
              <a:buSzPct val="100000"/>
              <a:defRPr/>
            </a:pPr>
            <a:fld id="{4513738D-FB92-4ADE-8CD8-C4EF9B3E4189}" type="datetime'N''''''''P''H''C''''''''''''''''''''''''''''D''''''''''A'''">
              <a:rPr lang="en-US" altLang="en-US" sz="1500" b="1">
                <a:solidFill>
                  <a:prstClr val="black"/>
                </a:solidFill>
                <a:latin typeface="Tw Cen MT" pitchFamily="34" charset="0"/>
              </a:rPr>
              <a:pPr algn="ctr" defTabSz="671229">
                <a:buClr>
                  <a:srgbClr val="44546A"/>
                </a:buClr>
                <a:buSzPct val="100000"/>
                <a:defRPr/>
              </a:pPr>
              <a:t>NPHCDA</a:t>
            </a:fld>
            <a:endParaRPr lang="en-US" altLang="en-US" sz="1500" b="1">
              <a:solidFill>
                <a:prstClr val="black"/>
              </a:solidFill>
              <a:latin typeface="Tw Cen MT" pitchFamily="34" charset="0"/>
              <a:sym typeface="+mn-lt"/>
            </a:endParaRPr>
          </a:p>
        </p:txBody>
      </p:sp>
      <p:sp>
        <p:nvSpPr>
          <p:cNvPr id="22540" name="Text Placeholder 2"/>
          <p:cNvSpPr>
            <a:spLocks noGrp="1" noChangeArrowheads="1"/>
          </p:cNvSpPr>
          <p:nvPr>
            <p:custDataLst>
              <p:tags r:id="rId11"/>
            </p:custDataLst>
          </p:nvPr>
        </p:nvSpPr>
        <p:spPr bwMode="auto">
          <a:xfrm>
            <a:off x="3452813" y="3449639"/>
            <a:ext cx="446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defTabSz="671229">
              <a:buClr>
                <a:srgbClr val="44546A"/>
              </a:buClr>
              <a:buSzPct val="100000"/>
              <a:defRPr/>
            </a:pPr>
            <a:fld id="{EFFF155D-E46C-4B9B-B4ED-20493C8EC54E}" type="datetime'''''''F''''''''''''M''''''''''''o''''''''''''''''''H'''''''">
              <a:rPr lang="en-US" altLang="en-US" sz="1500" b="1">
                <a:solidFill>
                  <a:prstClr val="black"/>
                </a:solidFill>
                <a:latin typeface="Tw Cen MT" pitchFamily="34" charset="0"/>
              </a:rPr>
              <a:pPr algn="ctr" defTabSz="671229">
                <a:buClr>
                  <a:srgbClr val="44546A"/>
                </a:buClr>
                <a:buSzPct val="100000"/>
                <a:defRPr/>
              </a:pPr>
              <a:t>FMoH</a:t>
            </a:fld>
            <a:endParaRPr lang="en-US" altLang="en-US" sz="1500" b="1">
              <a:solidFill>
                <a:prstClr val="black"/>
              </a:solidFill>
              <a:latin typeface="Tw Cen MT" pitchFamily="34" charset="0"/>
              <a:sym typeface="+mn-lt"/>
            </a:endParaRPr>
          </a:p>
        </p:txBody>
      </p:sp>
      <p:graphicFrame>
        <p:nvGraphicFramePr>
          <p:cNvPr id="98" name="Chart 97">
            <a:extLst>
              <a:ext uri="{FF2B5EF4-FFF2-40B4-BE49-F238E27FC236}">
                <a16:creationId xmlns:a16="http://schemas.microsoft.com/office/drawing/2014/main" id="{00D97DD5-076C-4262-9254-EEADD1ADD700}"/>
              </a:ext>
            </a:extLst>
          </p:cNvPr>
          <p:cNvGraphicFramePr/>
          <p:nvPr>
            <p:custDataLst>
              <p:tags r:id="rId12"/>
            </p:custDataLst>
            <p:extLst/>
          </p:nvPr>
        </p:nvGraphicFramePr>
        <p:xfrm>
          <a:off x="1101729" y="4025903"/>
          <a:ext cx="1808163" cy="1747838"/>
        </p:xfrm>
        <a:graphic>
          <a:graphicData uri="http://schemas.openxmlformats.org/drawingml/2006/chart">
            <c:chart xmlns:c="http://schemas.openxmlformats.org/drawingml/2006/chart" xmlns:r="http://schemas.openxmlformats.org/officeDocument/2006/relationships" r:id="rId20"/>
          </a:graphicData>
        </a:graphic>
      </p:graphicFrame>
      <p:sp>
        <p:nvSpPr>
          <p:cNvPr id="22547" name="Text Placeholder 2"/>
          <p:cNvSpPr>
            <a:spLocks noGrp="1" noChangeArrowheads="1"/>
          </p:cNvSpPr>
          <p:nvPr>
            <p:custDataLst>
              <p:tags r:id="rId13"/>
            </p:custDataLst>
          </p:nvPr>
        </p:nvSpPr>
        <p:spPr bwMode="gray">
          <a:xfrm>
            <a:off x="1951053" y="4127508"/>
            <a:ext cx="149225" cy="21272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25389" tIns="0" rIns="25389" bIns="0" anchor="ctr"/>
          <a:lstStyle/>
          <a:p>
            <a:pPr algn="ctr" defTabSz="671229">
              <a:buClr>
                <a:srgbClr val="44546A"/>
              </a:buClr>
              <a:buSzPct val="100000"/>
              <a:defRPr/>
            </a:pPr>
            <a:fld id="{D8672C01-63FD-4D29-96DB-E8E6E511BB2F}" type="datetime'''''''''''''''''''''''''''''''''''''''''''''''''1'''''''">
              <a:rPr lang="en-US" altLang="en-US" sz="1500">
                <a:solidFill>
                  <a:prstClr val="white"/>
                </a:solidFill>
                <a:latin typeface="Tw Cen MT" pitchFamily="34" charset="0"/>
              </a:rPr>
              <a:pPr algn="ctr" defTabSz="671229">
                <a:buClr>
                  <a:srgbClr val="44546A"/>
                </a:buClr>
                <a:buSzPct val="100000"/>
                <a:defRPr/>
              </a:pPr>
              <a:t>1</a:t>
            </a:fld>
            <a:endParaRPr lang="en-US" altLang="en-US" sz="1500">
              <a:solidFill>
                <a:prstClr val="white"/>
              </a:solidFill>
              <a:latin typeface="Tw Cen MT" pitchFamily="34" charset="0"/>
              <a:sym typeface="+mn-lt"/>
            </a:endParaRPr>
          </a:p>
        </p:txBody>
      </p:sp>
      <p:sp>
        <p:nvSpPr>
          <p:cNvPr id="22548" name="Text Placeholder 2"/>
          <p:cNvSpPr>
            <a:spLocks noGrp="1" noChangeArrowheads="1"/>
          </p:cNvSpPr>
          <p:nvPr>
            <p:custDataLst>
              <p:tags r:id="rId14"/>
            </p:custDataLst>
          </p:nvPr>
        </p:nvSpPr>
        <p:spPr bwMode="auto">
          <a:xfrm>
            <a:off x="1420814" y="5721376"/>
            <a:ext cx="11112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algn="r" defTabSz="671229">
              <a:buClr>
                <a:srgbClr val="44546A"/>
              </a:buClr>
              <a:buSzPct val="100000"/>
              <a:defRPr/>
            </a:pPr>
            <a:fld id="{82717ACD-DB1C-4305-90EC-4017A6770042}" type="datetime'''''''O''''''''th''er'' ''i''''''niti''''''a''t''''iv''es'''">
              <a:rPr lang="en-US" altLang="en-US" sz="1500">
                <a:solidFill>
                  <a:prstClr val="black"/>
                </a:solidFill>
                <a:latin typeface="Tw Cen MT" pitchFamily="34" charset="0"/>
              </a:rPr>
              <a:pPr algn="r" defTabSz="671229">
                <a:buClr>
                  <a:srgbClr val="44546A"/>
                </a:buClr>
                <a:buSzPct val="100000"/>
                <a:defRPr/>
              </a:pPr>
              <a:t>Other initiatives</a:t>
            </a:fld>
            <a:endParaRPr lang="en-US" altLang="en-US" sz="1500">
              <a:solidFill>
                <a:prstClr val="black"/>
              </a:solidFill>
              <a:latin typeface="Tw Cen MT" pitchFamily="34" charset="0"/>
              <a:sym typeface="+mn-lt"/>
            </a:endParaRPr>
          </a:p>
        </p:txBody>
      </p:sp>
      <p:sp>
        <p:nvSpPr>
          <p:cNvPr id="22546" name="Text Placeholder 2"/>
          <p:cNvSpPr>
            <a:spLocks noGrp="1" noChangeArrowheads="1"/>
          </p:cNvSpPr>
          <p:nvPr>
            <p:custDataLst>
              <p:tags r:id="rId15"/>
            </p:custDataLst>
          </p:nvPr>
        </p:nvSpPr>
        <p:spPr bwMode="auto">
          <a:xfrm>
            <a:off x="1798640" y="3863979"/>
            <a:ext cx="4714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671229">
              <a:buClr>
                <a:srgbClr val="44546A"/>
              </a:buClr>
              <a:buSzPct val="100000"/>
              <a:defRPr/>
            </a:pPr>
            <a:fld id="{905A96B6-DA8A-4894-9029-8BA06B1E5857}" type="datetime'''''''''''''B''''H''C''''P''''''''''F'''''''''''''''''">
              <a:rPr lang="en-US" altLang="en-US" sz="1500">
                <a:solidFill>
                  <a:prstClr val="black"/>
                </a:solidFill>
                <a:latin typeface="Tw Cen MT" pitchFamily="34" charset="0"/>
              </a:rPr>
              <a:pPr defTabSz="671229">
                <a:buClr>
                  <a:srgbClr val="44546A"/>
                </a:buClr>
                <a:buSzPct val="100000"/>
                <a:defRPr/>
              </a:pPr>
              <a:t>BHCPF</a:t>
            </a:fld>
            <a:endParaRPr lang="en-US" altLang="en-US" sz="1500">
              <a:solidFill>
                <a:prstClr val="black"/>
              </a:solidFill>
              <a:latin typeface="Tw Cen MT" pitchFamily="34" charset="0"/>
              <a:sym typeface="+mn-lt"/>
            </a:endParaRPr>
          </a:p>
        </p:txBody>
      </p:sp>
      <p:sp>
        <p:nvSpPr>
          <p:cNvPr id="22549" name="TextBox 182"/>
          <p:cNvSpPr txBox="1">
            <a:spLocks noChangeArrowheads="1"/>
          </p:cNvSpPr>
          <p:nvPr/>
        </p:nvSpPr>
        <p:spPr bwMode="auto">
          <a:xfrm>
            <a:off x="5475535" y="1738313"/>
            <a:ext cx="7032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srgbClr val="44546A"/>
              </a:buClr>
              <a:buSzPct val="100000"/>
              <a:defRPr/>
            </a:pPr>
            <a:r>
              <a:rPr lang="en-US" altLang="en-US" sz="1500" b="1">
                <a:solidFill>
                  <a:srgbClr val="44546A"/>
                </a:solidFill>
                <a:latin typeface="Tw Cen MT" pitchFamily="34" charset="0"/>
              </a:rPr>
              <a:t>NHIS</a:t>
            </a:r>
          </a:p>
        </p:txBody>
      </p:sp>
      <p:cxnSp>
        <p:nvCxnSpPr>
          <p:cNvPr id="229" name="Straight Connector 228">
            <a:extLst>
              <a:ext uri="{FF2B5EF4-FFF2-40B4-BE49-F238E27FC236}">
                <a16:creationId xmlns:a16="http://schemas.microsoft.com/office/drawing/2014/main" id="{40ED4BA4-DA29-443F-B918-75B9271AB4D0}"/>
              </a:ext>
            </a:extLst>
          </p:cNvPr>
          <p:cNvCxnSpPr/>
          <p:nvPr/>
        </p:nvCxnSpPr>
        <p:spPr>
          <a:xfrm>
            <a:off x="5451709" y="2868613"/>
            <a:ext cx="4187826"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CBB54658-B43E-4F6C-8D96-62D805A03A28}"/>
              </a:ext>
            </a:extLst>
          </p:cNvPr>
          <p:cNvCxnSpPr/>
          <p:nvPr/>
        </p:nvCxnSpPr>
        <p:spPr>
          <a:xfrm>
            <a:off x="5456468" y="4699000"/>
            <a:ext cx="4186239"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pic>
        <p:nvPicPr>
          <p:cNvPr id="22552" name="Picture 158"/>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432670" y="3187723"/>
            <a:ext cx="554039"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3" name="TextBox 161"/>
          <p:cNvSpPr txBox="1">
            <a:spLocks noChangeArrowheads="1"/>
          </p:cNvSpPr>
          <p:nvPr/>
        </p:nvSpPr>
        <p:spPr bwMode="auto">
          <a:xfrm>
            <a:off x="5432671" y="3011501"/>
            <a:ext cx="7032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srgbClr val="44546A"/>
              </a:buClr>
              <a:buSzPct val="100000"/>
              <a:defRPr/>
            </a:pPr>
            <a:r>
              <a:rPr lang="en-US" altLang="en-US" sz="1500" b="1">
                <a:solidFill>
                  <a:srgbClr val="44546A"/>
                </a:solidFill>
                <a:latin typeface="Tw Cen MT" pitchFamily="34" charset="0"/>
              </a:rPr>
              <a:t>NPHCDA</a:t>
            </a:r>
            <a:endParaRPr lang="en-US" altLang="en-US" sz="1500" b="1" dirty="0">
              <a:solidFill>
                <a:srgbClr val="44546A"/>
              </a:solidFill>
              <a:latin typeface="Tw Cen MT" pitchFamily="34" charset="0"/>
            </a:endParaRPr>
          </a:p>
        </p:txBody>
      </p:sp>
      <p:sp>
        <p:nvSpPr>
          <p:cNvPr id="22554" name="TextBox 189"/>
          <p:cNvSpPr txBox="1">
            <a:spLocks noChangeArrowheads="1"/>
          </p:cNvSpPr>
          <p:nvPr/>
        </p:nvSpPr>
        <p:spPr bwMode="auto">
          <a:xfrm>
            <a:off x="6553446" y="3719106"/>
            <a:ext cx="53975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prstClr val="white"/>
              </a:buClr>
              <a:buSzPct val="100000"/>
              <a:defRPr/>
            </a:pPr>
            <a:r>
              <a:rPr lang="en-US" altLang="en-US" sz="1500" b="1" dirty="0">
                <a:solidFill>
                  <a:srgbClr val="44546A"/>
                </a:solidFill>
                <a:latin typeface="Tw Cen MT" pitchFamily="34" charset="0"/>
              </a:rPr>
              <a:t>15%</a:t>
            </a:r>
          </a:p>
        </p:txBody>
      </p:sp>
      <p:sp>
        <p:nvSpPr>
          <p:cNvPr id="22555" name="Oval 214"/>
          <p:cNvSpPr>
            <a:spLocks noChangeArrowheads="1"/>
          </p:cNvSpPr>
          <p:nvPr/>
        </p:nvSpPr>
        <p:spPr bwMode="auto">
          <a:xfrm>
            <a:off x="6304196" y="3746502"/>
            <a:ext cx="201613" cy="130175"/>
          </a:xfrm>
          <a:prstGeom prst="ellipse">
            <a:avLst/>
          </a:prstGeom>
          <a:solidFill>
            <a:srgbClr val="FFCC03"/>
          </a:solidFill>
          <a:ln w="57150">
            <a:solidFill>
              <a:srgbClr val="3D8A64"/>
            </a:solidFill>
            <a:round/>
            <a:headEnd/>
            <a:tailEnd/>
          </a:ln>
        </p:spPr>
        <p:txBody>
          <a:bodyPr wrap="none" lIns="49177" tIns="49177" rIns="49177" bIns="49177" anchor="ctr"/>
          <a:lstStyle/>
          <a:p>
            <a:pPr algn="ctr" defTabSz="610532">
              <a:buClr>
                <a:srgbClr val="44546A"/>
              </a:buClr>
              <a:buSzPct val="100000"/>
              <a:defRPr/>
            </a:pPr>
            <a:endParaRPr lang="en-US" altLang="en-US" sz="1500" b="1">
              <a:solidFill>
                <a:srgbClr val="44546A"/>
              </a:solidFill>
            </a:endParaRPr>
          </a:p>
        </p:txBody>
      </p:sp>
      <p:sp>
        <p:nvSpPr>
          <p:cNvPr id="22556" name="TextBox 224"/>
          <p:cNvSpPr txBox="1">
            <a:spLocks noChangeArrowheads="1"/>
          </p:cNvSpPr>
          <p:nvPr/>
        </p:nvSpPr>
        <p:spPr bwMode="auto">
          <a:xfrm>
            <a:off x="7283677" y="3522667"/>
            <a:ext cx="325913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srgbClr val="44546A"/>
              </a:buClr>
              <a:buSzPct val="100000"/>
              <a:defRPr/>
            </a:pPr>
            <a:r>
              <a:rPr lang="en-US" altLang="en-US" sz="1500" dirty="0">
                <a:solidFill>
                  <a:prstClr val="black"/>
                </a:solidFill>
                <a:latin typeface="Arial (Body)"/>
              </a:rPr>
              <a:t>Provision &amp; Maintenance of Facilities, Equipment &amp; Transportation in PHCs</a:t>
            </a:r>
          </a:p>
        </p:txBody>
      </p:sp>
      <p:sp>
        <p:nvSpPr>
          <p:cNvPr id="22597" name="Oval 213"/>
          <p:cNvSpPr>
            <a:spLocks noChangeArrowheads="1"/>
          </p:cNvSpPr>
          <p:nvPr/>
        </p:nvSpPr>
        <p:spPr bwMode="auto">
          <a:xfrm>
            <a:off x="6272443" y="3160713"/>
            <a:ext cx="249239" cy="160338"/>
          </a:xfrm>
          <a:prstGeom prst="ellipse">
            <a:avLst/>
          </a:prstGeom>
          <a:solidFill>
            <a:srgbClr val="FFCC03"/>
          </a:solidFill>
          <a:ln w="57150">
            <a:solidFill>
              <a:srgbClr val="3D8A64"/>
            </a:solidFill>
            <a:round/>
            <a:headEnd/>
            <a:tailEnd/>
          </a:ln>
        </p:spPr>
        <p:txBody>
          <a:bodyPr wrap="none" lIns="40489" tIns="40489" rIns="40489" bIns="40489" anchor="ctr"/>
          <a:lstStyle/>
          <a:p>
            <a:pPr algn="ctr" defTabSz="610532">
              <a:buClr>
                <a:srgbClr val="44546A"/>
              </a:buClr>
              <a:buSzPct val="100000"/>
              <a:defRPr/>
            </a:pPr>
            <a:endParaRPr lang="en-US" altLang="en-US" sz="1500" b="1">
              <a:solidFill>
                <a:srgbClr val="44546A"/>
              </a:solidFill>
            </a:endParaRPr>
          </a:p>
        </p:txBody>
      </p:sp>
      <p:sp>
        <p:nvSpPr>
          <p:cNvPr id="22598" name="TextBox 191"/>
          <p:cNvSpPr txBox="1">
            <a:spLocks noChangeArrowheads="1"/>
          </p:cNvSpPr>
          <p:nvPr/>
        </p:nvSpPr>
        <p:spPr bwMode="auto">
          <a:xfrm rot="10800000" flipH="1" flipV="1">
            <a:off x="6553446" y="3130808"/>
            <a:ext cx="41275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prstClr val="white"/>
              </a:buClr>
              <a:buSzPct val="100000"/>
              <a:defRPr/>
            </a:pPr>
            <a:r>
              <a:rPr lang="en-US" altLang="en-US" sz="1500" b="1" dirty="0">
                <a:solidFill>
                  <a:srgbClr val="44546A"/>
                </a:solidFill>
                <a:latin typeface="Tw Cen MT" pitchFamily="34" charset="0"/>
              </a:rPr>
              <a:t>20%</a:t>
            </a:r>
          </a:p>
        </p:txBody>
      </p:sp>
      <p:sp>
        <p:nvSpPr>
          <p:cNvPr id="22599" name="TextBox 225"/>
          <p:cNvSpPr txBox="1">
            <a:spLocks noChangeArrowheads="1"/>
          </p:cNvSpPr>
          <p:nvPr/>
        </p:nvSpPr>
        <p:spPr bwMode="auto">
          <a:xfrm>
            <a:off x="7283677" y="2976588"/>
            <a:ext cx="283845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srgbClr val="44546A"/>
              </a:buClr>
              <a:buSzPct val="100000"/>
              <a:defRPr/>
            </a:pPr>
            <a:r>
              <a:rPr lang="en-US" altLang="en-US" sz="1500" dirty="0">
                <a:solidFill>
                  <a:prstClr val="black"/>
                </a:solidFill>
                <a:latin typeface="Arial (Body)"/>
              </a:rPr>
              <a:t>Essential Drugs, Vaccines &amp; Consumables in PHCs</a:t>
            </a:r>
          </a:p>
        </p:txBody>
      </p:sp>
      <p:cxnSp>
        <p:nvCxnSpPr>
          <p:cNvPr id="6" name="Straight Connector 5">
            <a:extLst>
              <a:ext uri="{FF2B5EF4-FFF2-40B4-BE49-F238E27FC236}">
                <a16:creationId xmlns:a16="http://schemas.microsoft.com/office/drawing/2014/main" id="{C8EDD70F-778C-4512-9FCB-981815889DD8}"/>
              </a:ext>
            </a:extLst>
          </p:cNvPr>
          <p:cNvCxnSpPr/>
          <p:nvPr/>
        </p:nvCxnSpPr>
        <p:spPr>
          <a:xfrm>
            <a:off x="6080353" y="3476625"/>
            <a:ext cx="3546476"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2593" name="TextBox 187"/>
          <p:cNvSpPr txBox="1">
            <a:spLocks noChangeArrowheads="1"/>
          </p:cNvSpPr>
          <p:nvPr/>
        </p:nvSpPr>
        <p:spPr bwMode="auto">
          <a:xfrm>
            <a:off x="6553446" y="4289018"/>
            <a:ext cx="53975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prstClr val="white"/>
              </a:buClr>
              <a:buSzPct val="100000"/>
              <a:defRPr/>
            </a:pPr>
            <a:r>
              <a:rPr lang="en-US" altLang="en-US" sz="1500" b="1" dirty="0">
                <a:solidFill>
                  <a:srgbClr val="44546A"/>
                </a:solidFill>
                <a:latin typeface="Tw Cen MT" pitchFamily="34" charset="0"/>
              </a:rPr>
              <a:t>10%</a:t>
            </a:r>
          </a:p>
        </p:txBody>
      </p:sp>
      <p:sp>
        <p:nvSpPr>
          <p:cNvPr id="22594" name="Oval 215"/>
          <p:cNvSpPr>
            <a:spLocks noChangeArrowheads="1"/>
          </p:cNvSpPr>
          <p:nvPr/>
        </p:nvSpPr>
        <p:spPr bwMode="auto">
          <a:xfrm>
            <a:off x="6340705" y="4330700"/>
            <a:ext cx="150812" cy="96838"/>
          </a:xfrm>
          <a:prstGeom prst="ellipse">
            <a:avLst/>
          </a:prstGeom>
          <a:solidFill>
            <a:srgbClr val="FFCC03"/>
          </a:solidFill>
          <a:ln w="57150">
            <a:solidFill>
              <a:srgbClr val="3D8A64"/>
            </a:solidFill>
            <a:round/>
            <a:headEnd/>
            <a:tailEnd/>
          </a:ln>
        </p:spPr>
        <p:txBody>
          <a:bodyPr wrap="none" lIns="40489" tIns="40489" rIns="40489" bIns="40489" anchor="ctr"/>
          <a:lstStyle/>
          <a:p>
            <a:pPr algn="ctr" defTabSz="610532">
              <a:buClr>
                <a:srgbClr val="44546A"/>
              </a:buClr>
              <a:buSzPct val="100000"/>
              <a:defRPr/>
            </a:pPr>
            <a:endParaRPr lang="en-US" altLang="en-US" sz="1500" b="1">
              <a:solidFill>
                <a:srgbClr val="44546A"/>
              </a:solidFill>
            </a:endParaRPr>
          </a:p>
        </p:txBody>
      </p:sp>
      <p:sp>
        <p:nvSpPr>
          <p:cNvPr id="22595" name="TextBox 223"/>
          <p:cNvSpPr txBox="1">
            <a:spLocks noChangeArrowheads="1"/>
          </p:cNvSpPr>
          <p:nvPr/>
        </p:nvSpPr>
        <p:spPr bwMode="auto">
          <a:xfrm>
            <a:off x="7283695" y="4140210"/>
            <a:ext cx="2840039"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srgbClr val="44546A"/>
              </a:buClr>
              <a:buSzPct val="100000"/>
              <a:defRPr/>
            </a:pPr>
            <a:r>
              <a:rPr lang="en-US" altLang="en-US" sz="1500" dirty="0">
                <a:solidFill>
                  <a:prstClr val="black"/>
                </a:solidFill>
                <a:latin typeface="Arial (Body)"/>
              </a:rPr>
              <a:t>Development of Human Resources in Primary Health Centers </a:t>
            </a:r>
          </a:p>
        </p:txBody>
      </p:sp>
      <p:cxnSp>
        <p:nvCxnSpPr>
          <p:cNvPr id="252" name="Straight Connector 251">
            <a:extLst>
              <a:ext uri="{FF2B5EF4-FFF2-40B4-BE49-F238E27FC236}">
                <a16:creationId xmlns:a16="http://schemas.microsoft.com/office/drawing/2014/main" id="{3F909EA0-4747-4BC5-AA92-ADE43AC95046}"/>
              </a:ext>
            </a:extLst>
          </p:cNvPr>
          <p:cNvCxnSpPr/>
          <p:nvPr/>
        </p:nvCxnSpPr>
        <p:spPr>
          <a:xfrm>
            <a:off x="6007347" y="4102100"/>
            <a:ext cx="354806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pic>
        <p:nvPicPr>
          <p:cNvPr id="22583" name="Picture 157"/>
          <p:cNvPicPr>
            <a:picLocks noChangeArrowheads="1"/>
          </p:cNvPicPr>
          <p:nvPr/>
        </p:nvPicPr>
        <p:blipFill>
          <a:blip r:embed="rId22">
            <a:extLst>
              <a:ext uri="{28A0092B-C50C-407E-A947-70E740481C1C}">
                <a14:useLocalDpi xmlns:a14="http://schemas.microsoft.com/office/drawing/2010/main" val="0"/>
              </a:ext>
            </a:extLst>
          </a:blip>
          <a:srcRect t="5791"/>
          <a:stretch>
            <a:fillRect/>
          </a:stretch>
        </p:blipFill>
        <p:spPr bwMode="auto">
          <a:xfrm>
            <a:off x="5537446" y="5033989"/>
            <a:ext cx="554039"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84" name="TextBox 164"/>
          <p:cNvSpPr txBox="1">
            <a:spLocks noChangeArrowheads="1"/>
          </p:cNvSpPr>
          <p:nvPr/>
        </p:nvSpPr>
        <p:spPr bwMode="auto">
          <a:xfrm>
            <a:off x="5543797" y="4878388"/>
            <a:ext cx="7032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srgbClr val="44546A"/>
              </a:buClr>
              <a:buSzPct val="100000"/>
              <a:defRPr/>
            </a:pPr>
            <a:r>
              <a:rPr lang="en-US" altLang="en-US" sz="1500" b="1">
                <a:solidFill>
                  <a:srgbClr val="44546A"/>
                </a:solidFill>
                <a:latin typeface="Tw Cen MT" pitchFamily="34" charset="0"/>
              </a:rPr>
              <a:t>FMoH</a:t>
            </a:r>
          </a:p>
        </p:txBody>
      </p:sp>
      <p:sp>
        <p:nvSpPr>
          <p:cNvPr id="22585" name="TextBox 184"/>
          <p:cNvSpPr txBox="1">
            <a:spLocks noChangeArrowheads="1"/>
          </p:cNvSpPr>
          <p:nvPr/>
        </p:nvSpPr>
        <p:spPr bwMode="auto">
          <a:xfrm>
            <a:off x="6354991" y="5033973"/>
            <a:ext cx="28733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prstClr val="white"/>
              </a:buClr>
              <a:buSzPct val="100000"/>
              <a:defRPr/>
            </a:pPr>
            <a:r>
              <a:rPr lang="en-US" altLang="en-US" sz="1500" b="1">
                <a:solidFill>
                  <a:srgbClr val="44546A"/>
                </a:solidFill>
                <a:latin typeface="Tw Cen MT" pitchFamily="34" charset="0"/>
              </a:rPr>
              <a:t>5%</a:t>
            </a:r>
          </a:p>
        </p:txBody>
      </p:sp>
      <p:sp>
        <p:nvSpPr>
          <p:cNvPr id="22586" name="Oval 216"/>
          <p:cNvSpPr>
            <a:spLocks noChangeArrowheads="1"/>
          </p:cNvSpPr>
          <p:nvPr/>
        </p:nvSpPr>
        <p:spPr bwMode="auto">
          <a:xfrm>
            <a:off x="6435956" y="5186389"/>
            <a:ext cx="122239" cy="79375"/>
          </a:xfrm>
          <a:prstGeom prst="ellipse">
            <a:avLst/>
          </a:prstGeom>
          <a:solidFill>
            <a:srgbClr val="FFCC03"/>
          </a:solidFill>
          <a:ln w="57150">
            <a:solidFill>
              <a:srgbClr val="3D8A64"/>
            </a:solidFill>
            <a:round/>
            <a:headEnd/>
            <a:tailEnd/>
          </a:ln>
        </p:spPr>
        <p:txBody>
          <a:bodyPr wrap="none" lIns="40489" tIns="40489" rIns="40489" bIns="40489" anchor="ctr"/>
          <a:lstStyle/>
          <a:p>
            <a:pPr algn="ctr" defTabSz="610532">
              <a:buClr>
                <a:srgbClr val="44546A"/>
              </a:buClr>
              <a:buSzPct val="100000"/>
              <a:defRPr/>
            </a:pPr>
            <a:endParaRPr lang="en-US" altLang="en-US" sz="1500" b="1">
              <a:solidFill>
                <a:srgbClr val="44546A"/>
              </a:solidFill>
            </a:endParaRPr>
          </a:p>
        </p:txBody>
      </p:sp>
      <p:sp>
        <p:nvSpPr>
          <p:cNvPr id="22587" name="TextBox 222"/>
          <p:cNvSpPr txBox="1">
            <a:spLocks noChangeArrowheads="1"/>
          </p:cNvSpPr>
          <p:nvPr/>
        </p:nvSpPr>
        <p:spPr bwMode="auto">
          <a:xfrm>
            <a:off x="7283677" y="5033973"/>
            <a:ext cx="28384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srgbClr val="44546A"/>
              </a:buClr>
              <a:buSzPct val="100000"/>
              <a:defRPr/>
            </a:pPr>
            <a:r>
              <a:rPr lang="en-US" altLang="en-US" sz="1500">
                <a:solidFill>
                  <a:prstClr val="black"/>
                </a:solidFill>
                <a:latin typeface="Arial (Body)"/>
              </a:rPr>
              <a:t>Emergency Medical Treatment</a:t>
            </a:r>
          </a:p>
        </p:txBody>
      </p:sp>
      <p:pic>
        <p:nvPicPr>
          <p:cNvPr id="22566" name="Picture 160"/>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380271" y="1979616"/>
            <a:ext cx="608012"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67" name="TextBox 195"/>
          <p:cNvSpPr txBox="1">
            <a:spLocks noChangeArrowheads="1"/>
          </p:cNvSpPr>
          <p:nvPr/>
        </p:nvSpPr>
        <p:spPr bwMode="auto">
          <a:xfrm>
            <a:off x="6231171" y="1819282"/>
            <a:ext cx="3143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prstClr val="white"/>
              </a:buClr>
              <a:buSzPct val="100000"/>
              <a:defRPr/>
            </a:pPr>
            <a:r>
              <a:rPr lang="en-US" altLang="en-US" sz="1500" b="1">
                <a:solidFill>
                  <a:srgbClr val="44546A"/>
                </a:solidFill>
                <a:latin typeface="Tw Cen MT" pitchFamily="34" charset="0"/>
              </a:rPr>
              <a:t>50%</a:t>
            </a:r>
          </a:p>
        </p:txBody>
      </p:sp>
      <p:sp>
        <p:nvSpPr>
          <p:cNvPr id="22568" name="Oval 206"/>
          <p:cNvSpPr>
            <a:spLocks noChangeArrowheads="1"/>
          </p:cNvSpPr>
          <p:nvPr/>
        </p:nvSpPr>
        <p:spPr bwMode="auto">
          <a:xfrm>
            <a:off x="6020030" y="2027238"/>
            <a:ext cx="690563" cy="317500"/>
          </a:xfrm>
          <a:prstGeom prst="ellipse">
            <a:avLst/>
          </a:prstGeom>
          <a:solidFill>
            <a:srgbClr val="FFCC03"/>
          </a:solidFill>
          <a:ln w="57150">
            <a:solidFill>
              <a:srgbClr val="3D8A64"/>
            </a:solidFill>
            <a:round/>
            <a:headEnd/>
            <a:tailEnd/>
          </a:ln>
        </p:spPr>
        <p:txBody>
          <a:bodyPr wrap="none" lIns="40489" tIns="40489" rIns="40489" bIns="40489" anchor="ctr"/>
          <a:lstStyle/>
          <a:p>
            <a:pPr algn="ctr" defTabSz="610532">
              <a:buClr>
                <a:srgbClr val="44546A"/>
              </a:buClr>
              <a:buSzPct val="100000"/>
              <a:defRPr/>
            </a:pPr>
            <a:endParaRPr lang="en-US" altLang="en-US" sz="1500" b="1">
              <a:solidFill>
                <a:srgbClr val="44546A"/>
              </a:solidFill>
            </a:endParaRPr>
          </a:p>
        </p:txBody>
      </p:sp>
      <p:sp>
        <p:nvSpPr>
          <p:cNvPr id="22569" name="TextBox 226"/>
          <p:cNvSpPr txBox="1">
            <a:spLocks noChangeArrowheads="1"/>
          </p:cNvSpPr>
          <p:nvPr/>
        </p:nvSpPr>
        <p:spPr bwMode="auto">
          <a:xfrm>
            <a:off x="7283681" y="1649415"/>
            <a:ext cx="3113088" cy="115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itchFamily="34" charset="0"/>
                <a:cs typeface="Arial" pitchFamily="34" charset="0"/>
              </a:defRPr>
            </a:lvl1pPr>
            <a:lvl2pPr marL="193675" indent="-192088" defTabSz="895350">
              <a:defRPr>
                <a:solidFill>
                  <a:schemeClr val="tx1"/>
                </a:solidFill>
                <a:latin typeface="Arial" pitchFamily="34" charset="0"/>
                <a:cs typeface="Arial" pitchFamily="34" charset="0"/>
              </a:defRPr>
            </a:lvl2pPr>
            <a:lvl3pPr marL="457200" indent="-261938" defTabSz="895350">
              <a:defRPr>
                <a:solidFill>
                  <a:schemeClr val="tx1"/>
                </a:solidFill>
                <a:latin typeface="Arial" pitchFamily="34" charset="0"/>
                <a:cs typeface="Arial" pitchFamily="34" charset="0"/>
              </a:defRPr>
            </a:lvl3pPr>
            <a:lvl4pPr marL="614363" indent="-155575" defTabSz="895350">
              <a:defRPr>
                <a:solidFill>
                  <a:schemeClr val="tx1"/>
                </a:solidFill>
                <a:latin typeface="Arial" pitchFamily="34" charset="0"/>
                <a:cs typeface="Arial" pitchFamily="34" charset="0"/>
              </a:defRPr>
            </a:lvl4pPr>
            <a:lvl5pPr marL="749300" indent="-130175" defTabSz="895350">
              <a:defRPr>
                <a:solidFill>
                  <a:schemeClr val="tx1"/>
                </a:solidFill>
                <a:latin typeface="Arial" pitchFamily="34" charset="0"/>
                <a:cs typeface="Arial" pitchFamily="34" charset="0"/>
              </a:defRPr>
            </a:lvl5pPr>
            <a:lvl6pPr marL="1206500" indent="-130175" defTabSz="895350" eaLnBrk="0" fontAlgn="base" hangingPunct="0">
              <a:spcBef>
                <a:spcPct val="0"/>
              </a:spcBef>
              <a:spcAft>
                <a:spcPct val="0"/>
              </a:spcAft>
              <a:defRPr>
                <a:solidFill>
                  <a:schemeClr val="tx1"/>
                </a:solidFill>
                <a:latin typeface="Arial" pitchFamily="34" charset="0"/>
                <a:cs typeface="Arial" pitchFamily="34" charset="0"/>
              </a:defRPr>
            </a:lvl6pPr>
            <a:lvl7pPr marL="1663700" indent="-130175" defTabSz="895350" eaLnBrk="0" fontAlgn="base" hangingPunct="0">
              <a:spcBef>
                <a:spcPct val="0"/>
              </a:spcBef>
              <a:spcAft>
                <a:spcPct val="0"/>
              </a:spcAft>
              <a:defRPr>
                <a:solidFill>
                  <a:schemeClr val="tx1"/>
                </a:solidFill>
                <a:latin typeface="Arial" pitchFamily="34" charset="0"/>
                <a:cs typeface="Arial" pitchFamily="34" charset="0"/>
              </a:defRPr>
            </a:lvl7pPr>
            <a:lvl8pPr marL="2120900" indent="-130175" defTabSz="895350" eaLnBrk="0" fontAlgn="base" hangingPunct="0">
              <a:spcBef>
                <a:spcPct val="0"/>
              </a:spcBef>
              <a:spcAft>
                <a:spcPct val="0"/>
              </a:spcAft>
              <a:defRPr>
                <a:solidFill>
                  <a:schemeClr val="tx1"/>
                </a:solidFill>
                <a:latin typeface="Arial" pitchFamily="34" charset="0"/>
                <a:cs typeface="Arial" pitchFamily="34" charset="0"/>
              </a:defRPr>
            </a:lvl8pPr>
            <a:lvl9pPr marL="2578100" indent="-130175" defTabSz="895350" eaLnBrk="0" fontAlgn="base" hangingPunct="0">
              <a:spcBef>
                <a:spcPct val="0"/>
              </a:spcBef>
              <a:spcAft>
                <a:spcPct val="0"/>
              </a:spcAft>
              <a:defRPr>
                <a:solidFill>
                  <a:schemeClr val="tx1"/>
                </a:solidFill>
                <a:latin typeface="Arial" pitchFamily="34" charset="0"/>
                <a:cs typeface="Arial" pitchFamily="34" charset="0"/>
              </a:defRPr>
            </a:lvl9pPr>
          </a:lstStyle>
          <a:p>
            <a:pPr defTabSz="894971">
              <a:buClr>
                <a:srgbClr val="44546A"/>
              </a:buClr>
              <a:buSzPct val="100000"/>
              <a:defRPr/>
            </a:pPr>
            <a:endParaRPr lang="en-US" altLang="en-US" sz="1500" dirty="0">
              <a:solidFill>
                <a:prstClr val="black"/>
              </a:solidFill>
              <a:latin typeface="Arial (Body)"/>
            </a:endParaRPr>
          </a:p>
          <a:p>
            <a:pPr defTabSz="894971">
              <a:buClr>
                <a:srgbClr val="44546A"/>
              </a:buClr>
              <a:buSzPct val="100000"/>
              <a:defRPr/>
            </a:pPr>
            <a:r>
              <a:rPr lang="en-US" altLang="en-US" sz="1500" dirty="0">
                <a:solidFill>
                  <a:prstClr val="black"/>
                </a:solidFill>
                <a:latin typeface="Arial (Body)"/>
              </a:rPr>
              <a:t>Basic Minimum Package of Health Services (BMPHS) to be provided in primary and secondary levels of care</a:t>
            </a:r>
          </a:p>
        </p:txBody>
      </p:sp>
      <p:sp>
        <p:nvSpPr>
          <p:cNvPr id="118" name="Title 1">
            <a:extLst>
              <a:ext uri="{FF2B5EF4-FFF2-40B4-BE49-F238E27FC236}">
                <a16:creationId xmlns:a16="http://schemas.microsoft.com/office/drawing/2014/main" id="{874728F7-4584-4EE2-8BE5-481C49AE9779}"/>
              </a:ext>
            </a:extLst>
          </p:cNvPr>
          <p:cNvSpPr txBox="1">
            <a:spLocks/>
          </p:cNvSpPr>
          <p:nvPr/>
        </p:nvSpPr>
        <p:spPr>
          <a:xfrm>
            <a:off x="1276358" y="136758"/>
            <a:ext cx="9369878" cy="7016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1" tIns="45702" rIns="91401" bIns="45702" rtlCol="0" anchor="ctr">
            <a:spAutoFit/>
          </a:bodyPr>
          <a:lstStyle>
            <a:defPPr>
              <a:defRPr lang="en-US"/>
            </a:defPPr>
            <a:lvl1pPr marR="0" lvl="0" indent="0" fontAlgn="auto">
              <a:lnSpc>
                <a:spcPct val="90000"/>
              </a:lnSpc>
              <a:spcBef>
                <a:spcPct val="0"/>
              </a:spcBef>
              <a:spcAft>
                <a:spcPts val="0"/>
              </a:spcAft>
              <a:buClrTx/>
              <a:buSzTx/>
              <a:buFontTx/>
              <a:buNone/>
              <a:tabLst/>
              <a:defRPr kumimoji="0" sz="2200" b="1" i="0" u="none" strike="noStrike" cap="none" spc="0" normalizeH="0" baseline="0">
                <a:ln>
                  <a:noFill/>
                </a:ln>
                <a:solidFill>
                  <a:schemeClr val="accent6">
                    <a:lumMod val="50000"/>
                  </a:schemeClr>
                </a:solidFill>
                <a:effectLst/>
                <a:uLnTx/>
                <a:uFillTx/>
                <a:latin typeface="Arial (Body)"/>
                <a:ea typeface="+mj-ea"/>
                <a:cs typeface="+mj-cs"/>
              </a:defRPr>
            </a:lvl1pPr>
            <a:lvl2pPr defTabSz="669832">
              <a:defRPr sz="1397" b="1">
                <a:solidFill>
                  <a:schemeClr val="tx2"/>
                </a:solidFill>
                <a:latin typeface="Arial" panose="020B0604020202020204" pitchFamily="34" charset="0"/>
              </a:defRPr>
            </a:lvl2pPr>
            <a:lvl3pPr defTabSz="669832">
              <a:defRPr sz="1397" b="1">
                <a:solidFill>
                  <a:schemeClr val="tx2"/>
                </a:solidFill>
                <a:latin typeface="Arial" panose="020B0604020202020204" pitchFamily="34" charset="0"/>
              </a:defRPr>
            </a:lvl3pPr>
            <a:lvl4pPr defTabSz="669832">
              <a:defRPr sz="1397" b="1">
                <a:solidFill>
                  <a:schemeClr val="tx2"/>
                </a:solidFill>
                <a:latin typeface="Arial" panose="020B0604020202020204" pitchFamily="34" charset="0"/>
              </a:defRPr>
            </a:lvl4pPr>
            <a:lvl5pPr defTabSz="669832">
              <a:defRPr sz="1397" b="1">
                <a:solidFill>
                  <a:schemeClr val="tx2"/>
                </a:solidFill>
                <a:latin typeface="Arial" panose="020B0604020202020204" pitchFamily="34" charset="0"/>
              </a:defRPr>
            </a:lvl5pPr>
            <a:lvl6pPr marL="342042" defTabSz="669832" fontAlgn="base">
              <a:spcBef>
                <a:spcPct val="0"/>
              </a:spcBef>
              <a:spcAft>
                <a:spcPct val="0"/>
              </a:spcAft>
              <a:defRPr sz="1397" b="1">
                <a:solidFill>
                  <a:schemeClr val="tx2"/>
                </a:solidFill>
                <a:latin typeface="Arial" panose="020B0604020202020204" pitchFamily="34" charset="0"/>
              </a:defRPr>
            </a:lvl6pPr>
            <a:lvl7pPr marL="684086" defTabSz="669832" fontAlgn="base">
              <a:spcBef>
                <a:spcPct val="0"/>
              </a:spcBef>
              <a:spcAft>
                <a:spcPct val="0"/>
              </a:spcAft>
              <a:defRPr sz="1397" b="1">
                <a:solidFill>
                  <a:schemeClr val="tx2"/>
                </a:solidFill>
                <a:latin typeface="Arial" panose="020B0604020202020204" pitchFamily="34" charset="0"/>
              </a:defRPr>
            </a:lvl7pPr>
            <a:lvl8pPr marL="1026120" defTabSz="669832" fontAlgn="base">
              <a:spcBef>
                <a:spcPct val="0"/>
              </a:spcBef>
              <a:spcAft>
                <a:spcPct val="0"/>
              </a:spcAft>
              <a:defRPr sz="1397" b="1">
                <a:solidFill>
                  <a:schemeClr val="tx2"/>
                </a:solidFill>
                <a:latin typeface="Arial" panose="020B0604020202020204" pitchFamily="34" charset="0"/>
              </a:defRPr>
            </a:lvl8pPr>
            <a:lvl9pPr marL="1368168" defTabSz="669832" fontAlgn="base">
              <a:spcBef>
                <a:spcPct val="0"/>
              </a:spcBef>
              <a:spcAft>
                <a:spcPct val="0"/>
              </a:spcAft>
              <a:defRPr sz="1397" b="1">
                <a:solidFill>
                  <a:schemeClr val="tx2"/>
                </a:solidFill>
                <a:latin typeface="Arial" panose="020B0604020202020204" pitchFamily="34" charset="0"/>
              </a:defRPr>
            </a:lvl9pPr>
          </a:lstStyle>
          <a:p>
            <a:r>
              <a:rPr lang="en-US" sz="2400" baseline="30000" dirty="0">
                <a:solidFill>
                  <a:srgbClr val="015F32"/>
                </a:solidFill>
                <a:latin typeface="Arial"/>
              </a:rPr>
              <a:t>4</a:t>
            </a:r>
            <a:r>
              <a:rPr lang="en-US" dirty="0">
                <a:solidFill>
                  <a:srgbClr val="70AD47">
                    <a:lumMod val="50000"/>
                  </a:srgbClr>
                </a:solidFill>
              </a:rPr>
              <a:t>The National Health Act established the Basic Health Care Provision Fund, which is 1% of Consolidated Revenue Funding (CRF)</a:t>
            </a:r>
            <a:endParaRPr lang="en-GB" dirty="0">
              <a:solidFill>
                <a:srgbClr val="70AD47">
                  <a:lumMod val="50000"/>
                </a:srgbClr>
              </a:solidFill>
            </a:endParaRPr>
          </a:p>
        </p:txBody>
      </p:sp>
      <p:sp>
        <p:nvSpPr>
          <p:cNvPr id="4" name="Rectangle 3">
            <a:extLst>
              <a:ext uri="{FF2B5EF4-FFF2-40B4-BE49-F238E27FC236}">
                <a16:creationId xmlns:a16="http://schemas.microsoft.com/office/drawing/2014/main" id="{71BE3C04-16FE-4DCD-9D73-664AF5A10AF9}"/>
              </a:ext>
            </a:extLst>
          </p:cNvPr>
          <p:cNvSpPr/>
          <p:nvPr/>
        </p:nvSpPr>
        <p:spPr>
          <a:xfrm>
            <a:off x="5261207" y="5819801"/>
            <a:ext cx="5670551" cy="512761"/>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r>
              <a:rPr lang="en-GB" dirty="0">
                <a:solidFill>
                  <a:prstClr val="white"/>
                </a:solidFill>
              </a:rPr>
              <a:t>The president officially launched the BHCPF on January 8, 2019</a:t>
            </a:r>
            <a:endParaRPr lang="x-none" dirty="0">
              <a:solidFill>
                <a:prstClr val="white"/>
              </a:solidFill>
            </a:endParaRPr>
          </a:p>
        </p:txBody>
      </p:sp>
      <p:sp>
        <p:nvSpPr>
          <p:cNvPr id="49"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21</a:t>
            </a:fld>
            <a:endParaRPr lang="en-US" sz="1400" b="1" dirty="0">
              <a:solidFill>
                <a:schemeClr val="bg1"/>
              </a:solidFill>
            </a:endParaRPr>
          </a:p>
        </p:txBody>
      </p:sp>
    </p:spTree>
    <p:extLst>
      <p:ext uri="{BB962C8B-B14F-4D97-AF65-F5344CB8AC3E}">
        <p14:creationId xmlns:p14="http://schemas.microsoft.com/office/powerpoint/2010/main" val="3470162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A27A4-D493-4C68-B8F2-80286AC3A60F}"/>
              </a:ext>
            </a:extLst>
          </p:cNvPr>
          <p:cNvSpPr>
            <a:spLocks noGrp="1"/>
          </p:cNvSpPr>
          <p:nvPr>
            <p:ph type="title"/>
          </p:nvPr>
        </p:nvSpPr>
        <p:spPr>
          <a:xfrm>
            <a:off x="2136648" y="1422828"/>
            <a:ext cx="8153400" cy="742950"/>
          </a:xfrm>
        </p:spPr>
        <p:txBody>
          <a:bodyPr/>
          <a:lstStyle/>
          <a:p>
            <a:endParaRPr lang="en-GB"/>
          </a:p>
        </p:txBody>
      </p:sp>
      <p:sp>
        <p:nvSpPr>
          <p:cNvPr id="4" name="Slide Number Placeholder 3">
            <a:extLst>
              <a:ext uri="{FF2B5EF4-FFF2-40B4-BE49-F238E27FC236}">
                <a16:creationId xmlns:a16="http://schemas.microsoft.com/office/drawing/2014/main" id="{9FE3979F-576E-4E28-957F-12FBC93D5F7D}"/>
              </a:ext>
            </a:extLst>
          </p:cNvPr>
          <p:cNvSpPr>
            <a:spLocks noGrp="1"/>
          </p:cNvSpPr>
          <p:nvPr>
            <p:ph type="sldNum" sz="quarter" idx="12"/>
          </p:nvPr>
        </p:nvSpPr>
        <p:spPr>
          <a:xfrm>
            <a:off x="1524001" y="2205070"/>
            <a:ext cx="533400" cy="183356"/>
          </a:xfrm>
        </p:spPr>
        <p:txBody>
          <a:bodyPr>
            <a:normAutofit fontScale="55000" lnSpcReduction="20000"/>
          </a:bodyPr>
          <a:lstStyle/>
          <a:p>
            <a:pPr defTabSz="914013">
              <a:defRPr/>
            </a:pPr>
            <a:fld id="{724B4A68-E1C0-46BF-82CC-A2D6140231D7}" type="slidenum">
              <a:rPr lang="en-US" altLang="en-US">
                <a:solidFill>
                  <a:prstClr val="black">
                    <a:tint val="75000"/>
                  </a:prstClr>
                </a:solidFill>
              </a:rPr>
              <a:pPr defTabSz="914013">
                <a:defRPr/>
              </a:pPr>
              <a:t>22</a:t>
            </a:fld>
            <a:endParaRPr lang="en-US" altLang="en-US">
              <a:solidFill>
                <a:prstClr val="black">
                  <a:tint val="75000"/>
                </a:prstClr>
              </a:solidFill>
            </a:endParaRPr>
          </a:p>
        </p:txBody>
      </p:sp>
      <p:graphicFrame>
        <p:nvGraphicFramePr>
          <p:cNvPr id="8" name="Content Placeholder 7">
            <a:extLst>
              <a:ext uri="{FF2B5EF4-FFF2-40B4-BE49-F238E27FC236}">
                <a16:creationId xmlns:a16="http://schemas.microsoft.com/office/drawing/2014/main" id="{8B306D25-F9CD-4D3F-8522-86EE1740AB23}"/>
              </a:ext>
            </a:extLst>
          </p:cNvPr>
          <p:cNvGraphicFramePr>
            <a:graphicFrameLocks noGrp="1"/>
          </p:cNvGraphicFramePr>
          <p:nvPr>
            <p:ph sz="quarter" idx="1"/>
            <p:extLst>
              <p:ext uri="{D42A27DB-BD31-4B8C-83A1-F6EECF244321}">
                <p14:modId xmlns:p14="http://schemas.microsoft.com/office/powerpoint/2010/main" val="1362633113"/>
              </p:ext>
            </p:extLst>
          </p:nvPr>
        </p:nvGraphicFramePr>
        <p:xfrm>
          <a:off x="751562" y="910684"/>
          <a:ext cx="10546916" cy="5335305"/>
        </p:xfrm>
        <a:graphic>
          <a:graphicData uri="http://schemas.openxmlformats.org/drawingml/2006/table">
            <a:tbl>
              <a:tblPr firstRow="1" bandRow="1">
                <a:tableStyleId>{7DF18680-E054-41AD-8BC1-D1AEF772440D}</a:tableStyleId>
              </a:tblPr>
              <a:tblGrid>
                <a:gridCol w="1442227">
                  <a:extLst>
                    <a:ext uri="{9D8B030D-6E8A-4147-A177-3AD203B41FA5}">
                      <a16:colId xmlns:a16="http://schemas.microsoft.com/office/drawing/2014/main" val="733923412"/>
                    </a:ext>
                  </a:extLst>
                </a:gridCol>
                <a:gridCol w="859789">
                  <a:extLst>
                    <a:ext uri="{9D8B030D-6E8A-4147-A177-3AD203B41FA5}">
                      <a16:colId xmlns:a16="http://schemas.microsoft.com/office/drawing/2014/main" val="3840776698"/>
                    </a:ext>
                  </a:extLst>
                </a:gridCol>
                <a:gridCol w="1816651">
                  <a:extLst>
                    <a:ext uri="{9D8B030D-6E8A-4147-A177-3AD203B41FA5}">
                      <a16:colId xmlns:a16="http://schemas.microsoft.com/office/drawing/2014/main" val="2826538955"/>
                    </a:ext>
                  </a:extLst>
                </a:gridCol>
                <a:gridCol w="1012333">
                  <a:extLst>
                    <a:ext uri="{9D8B030D-6E8A-4147-A177-3AD203B41FA5}">
                      <a16:colId xmlns:a16="http://schemas.microsoft.com/office/drawing/2014/main" val="2772662028"/>
                    </a:ext>
                  </a:extLst>
                </a:gridCol>
                <a:gridCol w="970730">
                  <a:extLst>
                    <a:ext uri="{9D8B030D-6E8A-4147-A177-3AD203B41FA5}">
                      <a16:colId xmlns:a16="http://schemas.microsoft.com/office/drawing/2014/main" val="2622462005"/>
                    </a:ext>
                  </a:extLst>
                </a:gridCol>
                <a:gridCol w="873658">
                  <a:extLst>
                    <a:ext uri="{9D8B030D-6E8A-4147-A177-3AD203B41FA5}">
                      <a16:colId xmlns:a16="http://schemas.microsoft.com/office/drawing/2014/main" val="1192273721"/>
                    </a:ext>
                  </a:extLst>
                </a:gridCol>
                <a:gridCol w="3571528">
                  <a:extLst>
                    <a:ext uri="{9D8B030D-6E8A-4147-A177-3AD203B41FA5}">
                      <a16:colId xmlns:a16="http://schemas.microsoft.com/office/drawing/2014/main" val="3747691330"/>
                    </a:ext>
                  </a:extLst>
                </a:gridCol>
              </a:tblGrid>
              <a:tr h="241710">
                <a:tc gridSpan="3">
                  <a:txBody>
                    <a:bodyPr/>
                    <a:lstStyle/>
                    <a:p>
                      <a:pPr algn="ctr"/>
                      <a:r>
                        <a:rPr lang="en-GB" sz="1400"/>
                        <a:t>NPHCDA </a:t>
                      </a:r>
                      <a:r>
                        <a:rPr lang="en-GB" sz="1400" dirty="0"/>
                        <a:t>Gateway</a:t>
                      </a:r>
                      <a:endParaRPr lang="en-GB" sz="1400" b="1" dirty="0"/>
                    </a:p>
                  </a:txBody>
                  <a:tcPr marL="68580" marR="68580" marT="34290" marB="34290" anchor="ctr">
                    <a:solidFill>
                      <a:srgbClr val="008000"/>
                    </a:solidFill>
                  </a:tcPr>
                </a:tc>
                <a:tc hMerge="1">
                  <a:txBody>
                    <a:bodyPr/>
                    <a:lstStyle/>
                    <a:p>
                      <a:endParaRPr lang="en-GB" dirty="0"/>
                    </a:p>
                  </a:txBody>
                  <a:tcPr/>
                </a:tc>
                <a:tc hMerge="1">
                  <a:txBody>
                    <a:bodyPr/>
                    <a:lstStyle/>
                    <a:p>
                      <a:endParaRPr lang="en-GB" dirty="0"/>
                    </a:p>
                  </a:txBody>
                  <a:tcPr/>
                </a:tc>
                <a:tc gridSpan="3">
                  <a:txBody>
                    <a:bodyPr/>
                    <a:lstStyle/>
                    <a:p>
                      <a:pPr algn="ctr"/>
                      <a:r>
                        <a:rPr lang="en-GB" sz="1400" dirty="0"/>
                        <a:t>Disbursed to which level</a:t>
                      </a:r>
                      <a:endParaRPr lang="en-GB" sz="1400" b="1" dirty="0"/>
                    </a:p>
                  </a:txBody>
                  <a:tcPr marL="68580" marR="68580" marT="34290" marB="34290" anchor="ctr">
                    <a:solidFill>
                      <a:srgbClr val="008000"/>
                    </a:solidFill>
                  </a:tcPr>
                </a:tc>
                <a:tc hMerge="1">
                  <a:txBody>
                    <a:bodyPr/>
                    <a:lstStyle/>
                    <a:p>
                      <a:endParaRPr lang="en-GB" dirty="0"/>
                    </a:p>
                  </a:txBody>
                  <a:tcPr/>
                </a:tc>
                <a:tc hMerge="1">
                  <a:txBody>
                    <a:bodyPr/>
                    <a:lstStyle/>
                    <a:p>
                      <a:endParaRPr lang="en-GB" dirty="0"/>
                    </a:p>
                  </a:txBody>
                  <a:tcPr/>
                </a:tc>
                <a:tc rowSpan="2">
                  <a:txBody>
                    <a:bodyPr/>
                    <a:lstStyle/>
                    <a:p>
                      <a:pPr algn="ctr"/>
                      <a:r>
                        <a:rPr lang="en-GB" sz="1400" dirty="0"/>
                        <a:t>Purpose &amp; Mode of Payment</a:t>
                      </a:r>
                      <a:endParaRPr lang="en-GB" sz="1400" b="1" dirty="0"/>
                    </a:p>
                  </a:txBody>
                  <a:tcPr marL="68580" marR="68580" marT="34290" marB="34290" anchor="ctr">
                    <a:lnB w="12700" cap="flat" cmpd="sng" algn="ctr">
                      <a:solidFill>
                        <a:schemeClr val="tx1"/>
                      </a:solidFill>
                      <a:prstDash val="solid"/>
                      <a:round/>
                      <a:headEnd type="none" w="med" len="med"/>
                      <a:tailEnd type="none" w="med" len="med"/>
                    </a:lnB>
                    <a:solidFill>
                      <a:srgbClr val="008000"/>
                    </a:solidFill>
                  </a:tcPr>
                </a:tc>
                <a:extLst>
                  <a:ext uri="{0D108BD9-81ED-4DB2-BD59-A6C34878D82A}">
                    <a16:rowId xmlns:a16="http://schemas.microsoft.com/office/drawing/2014/main" val="4029297095"/>
                  </a:ext>
                </a:extLst>
              </a:tr>
              <a:tr h="335551">
                <a:tc>
                  <a:txBody>
                    <a:bodyPr/>
                    <a:lstStyle/>
                    <a:p>
                      <a:r>
                        <a:rPr lang="en-GB" sz="1200" b="1" dirty="0"/>
                        <a:t>NHAct Item</a:t>
                      </a:r>
                    </a:p>
                  </a:txBody>
                  <a:tcPr marL="68580" marR="68580" marT="34290" marB="34290" anchor="b">
                    <a:lnB w="12700" cap="flat" cmpd="sng" algn="ctr">
                      <a:solidFill>
                        <a:schemeClr val="tx1"/>
                      </a:solidFill>
                      <a:prstDash val="solid"/>
                      <a:round/>
                      <a:headEnd type="none" w="med" len="med"/>
                      <a:tailEnd type="none" w="med" len="med"/>
                    </a:lnB>
                  </a:tcPr>
                </a:tc>
                <a:tc>
                  <a:txBody>
                    <a:bodyPr/>
                    <a:lstStyle/>
                    <a:p>
                      <a:pPr algn="ctr"/>
                      <a:r>
                        <a:rPr lang="en-GB" sz="1200" b="1" dirty="0"/>
                        <a:t>%</a:t>
                      </a:r>
                    </a:p>
                  </a:txBody>
                  <a:tcPr marL="68580" marR="68580" marT="34290" marB="34290" anchor="b">
                    <a:lnB w="12700" cap="flat" cmpd="sng" algn="ctr">
                      <a:solidFill>
                        <a:schemeClr val="tx1"/>
                      </a:solidFill>
                      <a:prstDash val="solid"/>
                      <a:round/>
                      <a:headEnd type="none" w="med" len="med"/>
                      <a:tailEnd type="none" w="med" len="med"/>
                    </a:lnB>
                  </a:tcPr>
                </a:tc>
                <a:tc>
                  <a:txBody>
                    <a:bodyPr/>
                    <a:lstStyle/>
                    <a:p>
                      <a:r>
                        <a:rPr lang="en-GB" sz="1200" b="1" dirty="0"/>
                        <a:t>Proposed Channel</a:t>
                      </a:r>
                    </a:p>
                  </a:txBody>
                  <a:tcPr marL="68580" marR="68580" marT="34290" marB="34290" anchor="b">
                    <a:lnB w="12700" cap="flat" cmpd="sng" algn="ctr">
                      <a:solidFill>
                        <a:schemeClr val="tx1"/>
                      </a:solidFill>
                      <a:prstDash val="solid"/>
                      <a:round/>
                      <a:headEnd type="none" w="med" len="med"/>
                      <a:tailEnd type="none" w="med" len="med"/>
                    </a:lnB>
                  </a:tcPr>
                </a:tc>
                <a:tc>
                  <a:txBody>
                    <a:bodyPr/>
                    <a:lstStyle/>
                    <a:p>
                      <a:pPr algn="ctr"/>
                      <a:r>
                        <a:rPr lang="en-GB" sz="1200" b="1"/>
                        <a:t>NPHCDA</a:t>
                      </a:r>
                      <a:endParaRPr lang="en-GB" sz="1200" b="1" dirty="0"/>
                    </a:p>
                  </a:txBody>
                  <a:tcPr marL="68580" marR="68580" marT="34290" marB="34290" anchor="b">
                    <a:lnB w="12700" cap="flat" cmpd="sng" algn="ctr">
                      <a:solidFill>
                        <a:schemeClr val="tx1"/>
                      </a:solidFill>
                      <a:prstDash val="solid"/>
                      <a:round/>
                      <a:headEnd type="none" w="med" len="med"/>
                      <a:tailEnd type="none" w="med" len="med"/>
                    </a:lnB>
                  </a:tcPr>
                </a:tc>
                <a:tc>
                  <a:txBody>
                    <a:bodyPr/>
                    <a:lstStyle/>
                    <a:p>
                      <a:pPr algn="ctr"/>
                      <a:r>
                        <a:rPr lang="en-GB" sz="1200" b="1"/>
                        <a:t>SPHCDA   </a:t>
                      </a:r>
                      <a:r>
                        <a:rPr lang="en-GB" sz="1200" b="1" dirty="0"/>
                        <a:t>&amp; LHA</a:t>
                      </a:r>
                    </a:p>
                  </a:txBody>
                  <a:tcPr marL="68580" marR="68580" marT="34290" marB="34290" anchor="b">
                    <a:lnB w="12700" cap="flat" cmpd="sng" algn="ctr">
                      <a:solidFill>
                        <a:schemeClr val="tx1"/>
                      </a:solidFill>
                      <a:prstDash val="solid"/>
                      <a:round/>
                      <a:headEnd type="none" w="med" len="med"/>
                      <a:tailEnd type="none" w="med" len="med"/>
                    </a:lnB>
                  </a:tcPr>
                </a:tc>
                <a:tc>
                  <a:txBody>
                    <a:bodyPr/>
                    <a:lstStyle/>
                    <a:p>
                      <a:pPr algn="ctr"/>
                      <a:r>
                        <a:rPr lang="en-GB" sz="1200" b="1"/>
                        <a:t>PHC </a:t>
                      </a:r>
                      <a:r>
                        <a:rPr lang="en-GB" sz="1200" b="1" dirty="0"/>
                        <a:t>Facility</a:t>
                      </a:r>
                    </a:p>
                  </a:txBody>
                  <a:tcPr marL="68580" marR="68580" marT="34290" marB="34290" anchor="b">
                    <a:lnB w="12700" cap="flat" cmpd="sng" algn="ctr">
                      <a:solidFill>
                        <a:schemeClr val="tx1"/>
                      </a:solidFill>
                      <a:prstDash val="solid"/>
                      <a:round/>
                      <a:headEnd type="none" w="med" len="med"/>
                      <a:tailEnd type="none" w="med" len="med"/>
                    </a:lnB>
                  </a:tcPr>
                </a:tc>
                <a:tc vMerge="1">
                  <a:txBody>
                    <a:bodyPr/>
                    <a:lstStyle/>
                    <a:p>
                      <a:endParaRPr lang="en-GB" dirty="0"/>
                    </a:p>
                  </a:txBody>
                  <a:tcPr/>
                </a:tc>
                <a:extLst>
                  <a:ext uri="{0D108BD9-81ED-4DB2-BD59-A6C34878D82A}">
                    <a16:rowId xmlns:a16="http://schemas.microsoft.com/office/drawing/2014/main" val="2307826039"/>
                  </a:ext>
                </a:extLst>
              </a:tr>
              <a:tr h="489934">
                <a:tc rowSpan="2">
                  <a:txBody>
                    <a:bodyPr/>
                    <a:lstStyle/>
                    <a:p>
                      <a:r>
                        <a:rPr lang="en-GB" sz="1200" b="1" u="none" dirty="0"/>
                        <a:t>Vaccine, Drugs &amp; Consumables</a:t>
                      </a:r>
                      <a:endParaRPr lang="en-GB" sz="1200" b="1" u="none" dirty="0">
                        <a:latin typeface="+mn-lt"/>
                      </a:endParaRPr>
                    </a:p>
                  </a:txBody>
                  <a:tcPr marL="68580" marR="68580" marT="34290" marB="3429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r>
                        <a:rPr lang="en-GB" sz="1200" b="1" dirty="0"/>
                        <a:t>20%</a:t>
                      </a:r>
                      <a:endParaRPr lang="en-GB" sz="1200" b="1" dirty="0">
                        <a:latin typeface="+mn-lt"/>
                      </a:endParaRPr>
                    </a:p>
                  </a:txBody>
                  <a:tcPr marL="68580" marR="68580" marT="34290" marB="3429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a:t>Vaccines</a:t>
                      </a:r>
                      <a:endParaRPr lang="en-GB" sz="1200" dirty="0">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pPr algn="ctr"/>
                      <a:r>
                        <a:rPr lang="en-GB" sz="1200" b="1" dirty="0"/>
                        <a:t>10%</a:t>
                      </a:r>
                      <a:endParaRPr lang="en-GB" sz="1200" b="1" dirty="0">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pPr algn="ctr"/>
                      <a:r>
                        <a:rPr lang="en-GB" sz="1200" dirty="0">
                          <a:solidFill>
                            <a:srgbClr val="FF0000"/>
                          </a:solidFill>
                          <a:latin typeface="+mn-lt"/>
                        </a:rPr>
                        <a:t>–</a:t>
                      </a:r>
                    </a:p>
                  </a:txBody>
                  <a:tcPr marL="68580" marR="68580" marT="34290" marB="3429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GB" sz="1200" dirty="0">
                          <a:solidFill>
                            <a:srgbClr val="FF0000"/>
                          </a:solidFill>
                          <a:latin typeface="+mn-lt"/>
                        </a:rPr>
                        <a:t>–</a:t>
                      </a:r>
                    </a:p>
                  </a:txBody>
                  <a:tcPr marL="68580" marR="68580" marT="34290" marB="3429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just">
                        <a:spcAft>
                          <a:spcPts val="0"/>
                        </a:spcAft>
                      </a:pPr>
                      <a:r>
                        <a:rPr lang="en-GB" sz="1200" dirty="0">
                          <a:effectLst/>
                        </a:rPr>
                        <a:t>TSA Transfer as additional funding for Procurement of Bundled Vaccines</a:t>
                      </a:r>
                      <a:endParaRPr lang="en-GB" sz="1200" dirty="0">
                        <a:effectLst/>
                        <a:latin typeface="+mn-lt"/>
                        <a:ea typeface="Calibri" panose="020F0502020204030204" pitchFamily="34" charset="0"/>
                        <a:cs typeface="Times New Roman" panose="02020603050405020304" pitchFamily="18" charset="0"/>
                      </a:endParaRPr>
                    </a:p>
                  </a:txBody>
                  <a:tcPr marL="51435" marR="51435" marT="0" marB="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857453827"/>
                  </a:ext>
                </a:extLst>
              </a:tr>
              <a:tr h="300014">
                <a:tc vMerge="1">
                  <a:txBody>
                    <a:bodyPr/>
                    <a:lstStyle/>
                    <a:p>
                      <a:endParaRPr lang="en-GB" dirty="0"/>
                    </a:p>
                  </a:txBody>
                  <a:tcPr/>
                </a:tc>
                <a:tc vMerge="1">
                  <a:txBody>
                    <a:bodyPr/>
                    <a:lstStyle/>
                    <a:p>
                      <a:endParaRPr lang="en-GB" dirty="0"/>
                    </a:p>
                  </a:txBody>
                  <a:tcPr/>
                </a:tc>
                <a:tc>
                  <a:txBody>
                    <a:bodyPr/>
                    <a:lstStyle/>
                    <a:p>
                      <a:r>
                        <a:rPr lang="en-GB" sz="1200" dirty="0"/>
                        <a:t>Drugs &amp; Consumables</a:t>
                      </a:r>
                      <a:endParaRPr lang="en-GB" sz="1200" dirty="0">
                        <a:latin typeface="+mn-lt"/>
                      </a:endParaRPr>
                    </a:p>
                  </a:txBody>
                  <a:tcPr marL="68580" marR="68580" marT="34290" marB="34290" anchor="ctr">
                    <a:lnB w="12700" cap="flat" cmpd="sng" algn="ctr">
                      <a:solidFill>
                        <a:schemeClr val="tx1"/>
                      </a:solidFill>
                      <a:prstDash val="solid"/>
                      <a:round/>
                      <a:headEnd type="none" w="med" len="med"/>
                      <a:tailEnd type="none" w="med" len="med"/>
                    </a:lnB>
                  </a:tcP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lnB w="12700" cap="flat" cmpd="sng" algn="ctr">
                      <a:solidFill>
                        <a:schemeClr val="tx1"/>
                      </a:solidFill>
                      <a:prstDash val="solid"/>
                      <a:round/>
                      <a:headEnd type="none" w="med" len="med"/>
                      <a:tailEnd type="none" w="med" len="med"/>
                    </a:lnB>
                  </a:tcP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lnB w="12700" cap="flat" cmpd="sng" algn="ctr">
                      <a:solidFill>
                        <a:schemeClr val="tx1"/>
                      </a:solidFill>
                      <a:prstDash val="solid"/>
                      <a:round/>
                      <a:headEnd type="none" w="med" len="med"/>
                      <a:tailEnd type="none" w="med" len="med"/>
                    </a:lnB>
                  </a:tcPr>
                </a:tc>
                <a:tc>
                  <a:txBody>
                    <a:bodyPr/>
                    <a:lstStyle/>
                    <a:p>
                      <a:pPr algn="ctr"/>
                      <a:r>
                        <a:rPr lang="en-GB" sz="1200" b="1" dirty="0"/>
                        <a:t>10%</a:t>
                      </a:r>
                      <a:endParaRPr lang="en-GB" sz="1200" b="1" dirty="0">
                        <a:latin typeface="+mn-lt"/>
                      </a:endParaRPr>
                    </a:p>
                  </a:txBody>
                  <a:tcPr marL="68580" marR="68580" marT="34290" marB="34290" anchor="ctr">
                    <a:lnB w="12700" cap="flat" cmpd="sng" algn="ctr">
                      <a:solidFill>
                        <a:schemeClr val="tx1"/>
                      </a:solidFill>
                      <a:prstDash val="solid"/>
                      <a:round/>
                      <a:headEnd type="none" w="med" len="med"/>
                      <a:tailEnd type="none" w="med" len="med"/>
                    </a:lnB>
                  </a:tcPr>
                </a:tc>
                <a:tc>
                  <a:txBody>
                    <a:bodyPr/>
                    <a:lstStyle/>
                    <a:p>
                      <a:r>
                        <a:rPr lang="en-GB" sz="1200" dirty="0"/>
                        <a:t>DFF </a:t>
                      </a:r>
                      <a:r>
                        <a:rPr lang="en-GB" sz="1200"/>
                        <a:t>to PHC </a:t>
                      </a:r>
                      <a:r>
                        <a:rPr lang="en-GB" sz="1200" dirty="0"/>
                        <a:t>Facilities </a:t>
                      </a:r>
                      <a:r>
                        <a:rPr lang="en-GB" sz="1200"/>
                        <a:t>through SPHCDB </a:t>
                      </a:r>
                      <a:r>
                        <a:rPr lang="en-GB" sz="1200" dirty="0"/>
                        <a:t>(TSA)</a:t>
                      </a:r>
                      <a:endParaRPr lang="en-GB" sz="1200" dirty="0">
                        <a:latin typeface="+mn-lt"/>
                      </a:endParaRPr>
                    </a:p>
                  </a:txBody>
                  <a:tcPr marL="68580" marR="68580" marT="34290" marB="3429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5842250"/>
                  </a:ext>
                </a:extLst>
              </a:tr>
              <a:tr h="551756">
                <a:tc rowSpan="3">
                  <a:txBody>
                    <a:bodyPr/>
                    <a:lstStyle/>
                    <a:p>
                      <a:r>
                        <a:rPr lang="en-GB" sz="1200" b="1" u="none" dirty="0"/>
                        <a:t>Infrastructure, Equipment and Transport</a:t>
                      </a:r>
                      <a:endParaRPr lang="en-GB" sz="1200" b="1" u="none" dirty="0">
                        <a:latin typeface="+mn-lt"/>
                      </a:endParaRPr>
                    </a:p>
                  </a:txBody>
                  <a:tcPr marL="68580" marR="68580" marT="34290" marB="3429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ctr"/>
                      <a:r>
                        <a:rPr lang="en-GB" sz="1200" b="1" dirty="0"/>
                        <a:t>15%</a:t>
                      </a:r>
                      <a:endParaRPr lang="en-GB" sz="1200" b="1" dirty="0">
                        <a:latin typeface="+mn-lt"/>
                      </a:endParaRPr>
                    </a:p>
                  </a:txBody>
                  <a:tcPr marL="68580" marR="68580" marT="34290" marB="3429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a:t>Infrastructure Development</a:t>
                      </a:r>
                      <a:endParaRPr lang="en-GB" sz="1200" dirty="0">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pPr algn="ctr"/>
                      <a:r>
                        <a:rPr lang="en-GB" sz="1200" b="1" dirty="0"/>
                        <a:t>7.5%</a:t>
                      </a:r>
                      <a:endParaRPr lang="en-GB" sz="1200" b="1" dirty="0">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r>
                        <a:rPr lang="en-GB" sz="1200" dirty="0"/>
                        <a:t>TSA transfer for Infrastructural development (new constructions and renovations).</a:t>
                      </a:r>
                      <a:endParaRPr lang="en-GB" sz="1200" dirty="0">
                        <a:latin typeface="+mn-lt"/>
                      </a:endParaRPr>
                    </a:p>
                  </a:txBody>
                  <a:tcPr marL="68580" marR="68580" marT="34290" marB="3429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5356677"/>
                  </a:ext>
                </a:extLst>
              </a:tr>
              <a:tr h="628363">
                <a:tc vMerge="1">
                  <a:txBody>
                    <a:bodyPr/>
                    <a:lstStyle/>
                    <a:p>
                      <a:endParaRPr lang="en-GB"/>
                    </a:p>
                  </a:txBody>
                  <a:tcPr/>
                </a:tc>
                <a:tc vMerge="1">
                  <a:txBody>
                    <a:bodyPr/>
                    <a:lstStyle/>
                    <a:p>
                      <a:endParaRPr lang="en-GB"/>
                    </a:p>
                  </a:txBody>
                  <a:tcPr/>
                </a:tc>
                <a:tc>
                  <a:txBody>
                    <a:bodyPr/>
                    <a:lstStyle/>
                    <a:p>
                      <a:r>
                        <a:rPr lang="en-GB" sz="1200" dirty="0"/>
                        <a:t>Medical Equipment (&amp; Cold Chain) </a:t>
                      </a:r>
                      <a:endParaRPr lang="en-GB" sz="1200" dirty="0">
                        <a:latin typeface="+mn-lt"/>
                      </a:endParaRPr>
                    </a:p>
                  </a:txBody>
                  <a:tcPr marL="68580" marR="68580" marT="34290" marB="34290" anchor="ct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tc>
                <a:tc>
                  <a:txBody>
                    <a:bodyPr/>
                    <a:lstStyle/>
                    <a:p>
                      <a:pPr algn="ctr"/>
                      <a:r>
                        <a:rPr lang="en-GB" sz="1200" b="1" dirty="0"/>
                        <a:t>2.5%</a:t>
                      </a:r>
                      <a:endParaRPr lang="en-GB" sz="1200" b="1" dirty="0">
                        <a:latin typeface="+mn-lt"/>
                      </a:endParaRPr>
                    </a:p>
                  </a:txBody>
                  <a:tcPr marL="68580" marR="68580" marT="34290" marB="34290" anchor="ct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tc>
                <a:tc>
                  <a:txBody>
                    <a:bodyPr/>
                    <a:lstStyle/>
                    <a:p>
                      <a:r>
                        <a:rPr lang="en-GB" sz="1200" dirty="0"/>
                        <a:t>TSA transfer for Medical Equipment to elevate </a:t>
                      </a:r>
                      <a:r>
                        <a:rPr lang="en-GB" sz="1200"/>
                        <a:t>1 PHC </a:t>
                      </a:r>
                      <a:r>
                        <a:rPr lang="en-GB" sz="1200" dirty="0"/>
                        <a:t>per Ward to Minimum Standard</a:t>
                      </a:r>
                      <a:endParaRPr lang="en-GB" sz="1200" dirty="0">
                        <a:latin typeface="+mn-lt"/>
                      </a:endParaRPr>
                    </a:p>
                  </a:txBody>
                  <a:tcPr marL="68580" marR="68580" marT="34290" marB="34290"/>
                </a:tc>
                <a:extLst>
                  <a:ext uri="{0D108BD9-81ED-4DB2-BD59-A6C34878D82A}">
                    <a16:rowId xmlns:a16="http://schemas.microsoft.com/office/drawing/2014/main" val="3766073983"/>
                  </a:ext>
                </a:extLst>
              </a:tr>
              <a:tr h="862234">
                <a:tc vMerge="1">
                  <a:txBody>
                    <a:bodyPr/>
                    <a:lstStyle/>
                    <a:p>
                      <a:endParaRPr lang="en-GB" dirty="0"/>
                    </a:p>
                  </a:txBody>
                  <a:tcPr/>
                </a:tc>
                <a:tc vMerge="1">
                  <a:txBody>
                    <a:bodyPr/>
                    <a:lstStyle/>
                    <a:p>
                      <a:endParaRPr lang="en-GB" dirty="0"/>
                    </a:p>
                  </a:txBody>
                  <a:tcPr/>
                </a:tc>
                <a:tc>
                  <a:txBody>
                    <a:bodyPr/>
                    <a:lstStyle/>
                    <a:p>
                      <a:r>
                        <a:rPr lang="en-GB" sz="1200" dirty="0"/>
                        <a:t>Transport &amp; Maintenance</a:t>
                      </a:r>
                      <a:endParaRPr lang="en-GB" sz="1200" dirty="0">
                        <a:latin typeface="+mn-lt"/>
                      </a:endParaRPr>
                    </a:p>
                  </a:txBody>
                  <a:tcPr marL="68580" marR="68580" marT="34290" marB="34290" anchor="ctr">
                    <a:lnB w="12700" cap="flat" cmpd="sng" algn="ctr">
                      <a:solidFill>
                        <a:schemeClr val="tx1"/>
                      </a:solidFill>
                      <a:prstDash val="solid"/>
                      <a:round/>
                      <a:headEnd type="none" w="med" len="med"/>
                      <a:tailEnd type="none" w="med" len="med"/>
                    </a:lnB>
                  </a:tcP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lnB w="12700" cap="flat" cmpd="sng" algn="ctr">
                      <a:solidFill>
                        <a:schemeClr val="tx1"/>
                      </a:solidFill>
                      <a:prstDash val="solid"/>
                      <a:round/>
                      <a:headEnd type="none" w="med" len="med"/>
                      <a:tailEnd type="none" w="med" len="med"/>
                    </a:lnB>
                  </a:tcPr>
                </a:tc>
                <a:tc>
                  <a:txBody>
                    <a:bodyPr/>
                    <a:lstStyle/>
                    <a:p>
                      <a:pPr algn="ctr"/>
                      <a:r>
                        <a:rPr lang="en-GB" sz="1200" b="1" dirty="0"/>
                        <a:t>2.5%</a:t>
                      </a:r>
                      <a:endParaRPr lang="en-GB" sz="1200" b="1" dirty="0">
                        <a:latin typeface="+mn-lt"/>
                      </a:endParaRPr>
                    </a:p>
                  </a:txBody>
                  <a:tcPr marL="68580" marR="68580" marT="34290" marB="34290" anchor="ctr">
                    <a:lnB w="12700" cap="flat" cmpd="sng" algn="ctr">
                      <a:solidFill>
                        <a:schemeClr val="tx1"/>
                      </a:solidFill>
                      <a:prstDash val="solid"/>
                      <a:round/>
                      <a:headEnd type="none" w="med" len="med"/>
                      <a:tailEnd type="none" w="med" len="med"/>
                    </a:lnB>
                  </a:tcPr>
                </a:tc>
                <a:tc>
                  <a:txBody>
                    <a:bodyPr/>
                    <a:lstStyle/>
                    <a:p>
                      <a:pPr algn="ctr"/>
                      <a:r>
                        <a:rPr lang="en-GB" sz="1200" b="1" dirty="0"/>
                        <a:t>2.5%</a:t>
                      </a:r>
                      <a:endParaRPr lang="en-GB" sz="1200" b="1" dirty="0">
                        <a:latin typeface="+mn-lt"/>
                      </a:endParaRPr>
                    </a:p>
                  </a:txBody>
                  <a:tcPr marL="68580" marR="68580" marT="34290" marB="34290" anchor="ctr">
                    <a:lnB w="12700" cap="flat" cmpd="sng" algn="ctr">
                      <a:solidFill>
                        <a:schemeClr val="tx1"/>
                      </a:solidFill>
                      <a:prstDash val="solid"/>
                      <a:round/>
                      <a:headEnd type="none" w="med" len="med"/>
                      <a:tailEnd type="none" w="med" len="med"/>
                    </a:lnB>
                  </a:tcPr>
                </a:tc>
                <a:tc>
                  <a:txBody>
                    <a:bodyPr/>
                    <a:lstStyle/>
                    <a:p>
                      <a:r>
                        <a:rPr lang="en-GB" sz="1200" b="1"/>
                        <a:t>SPHCB</a:t>
                      </a:r>
                      <a:r>
                        <a:rPr lang="en-GB" sz="1200" b="1" dirty="0"/>
                        <a:t>:</a:t>
                      </a:r>
                      <a:r>
                        <a:rPr lang="en-GB" sz="1200" dirty="0"/>
                        <a:t> TSA transfer to support Vaccine push/pull; Ambulance Service etc </a:t>
                      </a:r>
                    </a:p>
                    <a:p>
                      <a:endParaRPr lang="en-GB" sz="1200" dirty="0"/>
                    </a:p>
                    <a:p>
                      <a:r>
                        <a:rPr lang="en-GB" sz="1200" b="1"/>
                        <a:t>PHC:</a:t>
                      </a:r>
                      <a:r>
                        <a:rPr lang="en-GB" sz="1200"/>
                        <a:t> </a:t>
                      </a:r>
                      <a:r>
                        <a:rPr lang="en-GB" sz="1200" dirty="0"/>
                        <a:t>Minor infrastructural and equipment maintenance and out-reach transportation </a:t>
                      </a:r>
                      <a:endParaRPr lang="en-GB" sz="1200" dirty="0">
                        <a:latin typeface="+mn-lt"/>
                      </a:endParaRPr>
                    </a:p>
                  </a:txBody>
                  <a:tcPr marL="68580" marR="68580" marT="34290" marB="3429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2178887"/>
                  </a:ext>
                </a:extLst>
              </a:tr>
              <a:tr h="1188147">
                <a:tc rowSpan="2">
                  <a:txBody>
                    <a:bodyPr/>
                    <a:lstStyle/>
                    <a:p>
                      <a:r>
                        <a:rPr lang="en-GB" sz="1200" b="1" u="none"/>
                        <a:t>PHC </a:t>
                      </a:r>
                      <a:r>
                        <a:rPr lang="en-GB" sz="1200" b="1" u="none" dirty="0"/>
                        <a:t>Human Resource Development</a:t>
                      </a:r>
                      <a:endParaRPr lang="en-GB" sz="1200" b="1" u="none" dirty="0">
                        <a:latin typeface="+mn-lt"/>
                      </a:endParaRPr>
                    </a:p>
                  </a:txBody>
                  <a:tcPr marL="68580" marR="68580" marT="34290" marB="34290" anchor="ctr">
                    <a:lnT w="12700" cap="flat" cmpd="sng" algn="ctr">
                      <a:solidFill>
                        <a:schemeClr val="tx1"/>
                      </a:solidFill>
                      <a:prstDash val="solid"/>
                      <a:round/>
                      <a:headEnd type="none" w="med" len="med"/>
                      <a:tailEnd type="none" w="med" len="med"/>
                    </a:lnT>
                    <a:solidFill>
                      <a:srgbClr val="EDEEE8"/>
                    </a:solidFill>
                  </a:tcPr>
                </a:tc>
                <a:tc rowSpan="2">
                  <a:txBody>
                    <a:bodyPr/>
                    <a:lstStyle/>
                    <a:p>
                      <a:pPr algn="ctr"/>
                      <a:r>
                        <a:rPr lang="en-GB" sz="1200" b="1" dirty="0"/>
                        <a:t>10%</a:t>
                      </a:r>
                      <a:endParaRPr lang="en-GB" sz="1200" b="1" dirty="0">
                        <a:latin typeface="+mn-lt"/>
                      </a:endParaRPr>
                    </a:p>
                  </a:txBody>
                  <a:tcPr marL="68580" marR="68580" marT="34290" marB="34290" anchor="ctr">
                    <a:lnT w="12700" cap="flat" cmpd="sng" algn="ctr">
                      <a:solidFill>
                        <a:schemeClr val="tx1"/>
                      </a:solidFill>
                      <a:prstDash val="solid"/>
                      <a:round/>
                      <a:headEnd type="none" w="med" len="med"/>
                      <a:tailEnd type="none" w="med" len="med"/>
                    </a:lnT>
                    <a:solidFill>
                      <a:srgbClr val="EDEEE8"/>
                    </a:solidFill>
                  </a:tcPr>
                </a:tc>
                <a:tc>
                  <a:txBody>
                    <a:bodyPr/>
                    <a:lstStyle/>
                    <a:p>
                      <a:r>
                        <a:rPr lang="en-GB" sz="1200" dirty="0"/>
                        <a:t>Dev. of Training Institutions, Support for Midwives &amp; CHEWs</a:t>
                      </a:r>
                      <a:endParaRPr lang="en-GB" sz="1200" dirty="0">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pPr algn="ctr"/>
                      <a:r>
                        <a:rPr lang="en-GB" sz="1200" b="1" dirty="0"/>
                        <a:t>5%</a:t>
                      </a:r>
                      <a:endParaRPr lang="en-GB" sz="1200" b="1" dirty="0">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lnT w="12700" cap="flat" cmpd="sng" algn="ctr">
                      <a:solidFill>
                        <a:schemeClr val="tx1"/>
                      </a:solidFill>
                      <a:prstDash val="solid"/>
                      <a:round/>
                      <a:headEnd type="none" w="med" len="med"/>
                      <a:tailEnd type="none" w="med" len="med"/>
                    </a:lnT>
                  </a:tcPr>
                </a:tc>
                <a:tc>
                  <a:txBody>
                    <a:bodyPr/>
                    <a:lstStyle/>
                    <a:p>
                      <a:pPr marL="285750" indent="-285750">
                        <a:buFont typeface="Arial" pitchFamily="34" charset="0"/>
                        <a:buChar char="•"/>
                      </a:pPr>
                      <a:r>
                        <a:rPr lang="en-GB" sz="1200" dirty="0"/>
                        <a:t>Development of Training Institutions and support recruitment of Midwives and CHEWs </a:t>
                      </a:r>
                      <a:r>
                        <a:rPr lang="en-GB" sz="1200"/>
                        <a:t>for PHC </a:t>
                      </a:r>
                      <a:r>
                        <a:rPr lang="en-GB" sz="1200" dirty="0"/>
                        <a:t>deployment</a:t>
                      </a:r>
                      <a:endParaRPr lang="en-GB" sz="1200" baseline="0" dirty="0"/>
                    </a:p>
                    <a:p>
                      <a:pPr marL="285750" indent="-285750">
                        <a:buFont typeface="Arial" pitchFamily="34" charset="0"/>
                        <a:buChar char="•"/>
                      </a:pPr>
                      <a:r>
                        <a:rPr lang="en-GB" sz="1200" baseline="0" dirty="0">
                          <a:latin typeface="+mn-lt"/>
                        </a:rPr>
                        <a:t>Training on financial and operational mgt.</a:t>
                      </a:r>
                      <a:endParaRPr lang="en-GB" sz="1200" dirty="0">
                        <a:latin typeface="+mn-lt"/>
                      </a:endParaRPr>
                    </a:p>
                  </a:txBody>
                  <a:tcPr marL="68580" marR="68580" marT="34290" marB="3429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68584557"/>
                  </a:ext>
                </a:extLst>
              </a:tr>
              <a:tr h="477831">
                <a:tc vMerge="1">
                  <a:txBody>
                    <a:bodyPr/>
                    <a:lstStyle/>
                    <a:p>
                      <a:endParaRPr lang="en-GB" dirty="0"/>
                    </a:p>
                  </a:txBody>
                  <a:tcPr/>
                </a:tc>
                <a:tc vMerge="1">
                  <a:txBody>
                    <a:bodyPr/>
                    <a:lstStyle/>
                    <a:p>
                      <a:endParaRPr lang="en-GB" sz="1600" dirty="0">
                        <a:latin typeface="+mn-lt"/>
                      </a:endParaRPr>
                    </a:p>
                  </a:txBody>
                  <a:tcPr/>
                </a:tc>
                <a:tc>
                  <a:txBody>
                    <a:bodyPr/>
                    <a:lstStyle/>
                    <a:p>
                      <a:r>
                        <a:rPr lang="en-GB" sz="1200" dirty="0"/>
                        <a:t>Support for CHIPS Agents</a:t>
                      </a:r>
                      <a:endParaRPr lang="en-GB" sz="1200" dirty="0">
                        <a:latin typeface="+mn-lt"/>
                      </a:endParaRPr>
                    </a:p>
                  </a:txBody>
                  <a:tcPr marL="68580" marR="68580" marT="34290" marB="34290" anchor="ct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tc>
                <a:tc>
                  <a:txBody>
                    <a:bodyPr/>
                    <a:lstStyle/>
                    <a:p>
                      <a:pPr algn="ctr"/>
                      <a:r>
                        <a:rPr lang="en-GB" sz="1200" b="1" dirty="0"/>
                        <a:t>5%</a:t>
                      </a:r>
                      <a:endParaRPr lang="en-GB" sz="1200" b="1" dirty="0">
                        <a:latin typeface="+mn-lt"/>
                      </a:endParaRPr>
                    </a:p>
                  </a:txBody>
                  <a:tcPr marL="68580" marR="68580" marT="34290" marB="34290" anchor="ctr"/>
                </a:tc>
                <a:tc>
                  <a:txBody>
                    <a:bodyPr/>
                    <a:lstStyle/>
                    <a:p>
                      <a:pPr algn="ctr"/>
                      <a:r>
                        <a:rPr kumimoji="0" lang="en-GB" sz="1200" b="0" i="0" u="none" strike="noStrike" kern="1200" cap="none" spc="0" normalizeH="0" baseline="0" noProof="0" dirty="0">
                          <a:ln>
                            <a:noFill/>
                          </a:ln>
                          <a:solidFill>
                            <a:srgbClr val="FF0000"/>
                          </a:solidFill>
                          <a:effectLst/>
                          <a:uLnTx/>
                          <a:uFillTx/>
                          <a:latin typeface="Tw Cen MT"/>
                          <a:ea typeface="+mn-ea"/>
                          <a:cs typeface="+mn-cs"/>
                        </a:rPr>
                        <a:t>–</a:t>
                      </a:r>
                      <a:endParaRPr lang="en-GB" sz="1200" dirty="0">
                        <a:solidFill>
                          <a:srgbClr val="FF0000"/>
                        </a:solidFill>
                        <a:latin typeface="+mn-lt"/>
                      </a:endParaRPr>
                    </a:p>
                  </a:txBody>
                  <a:tcPr marL="68580" marR="68580" marT="34290" marB="34290" anchor="ctr"/>
                </a:tc>
                <a:tc>
                  <a:txBody>
                    <a:bodyPr/>
                    <a:lstStyle/>
                    <a:p>
                      <a:r>
                        <a:rPr lang="en-GB" sz="1200" dirty="0"/>
                        <a:t>CHIPS Agents: mobilisation, training and payment of stipends</a:t>
                      </a:r>
                      <a:endParaRPr lang="en-GB" sz="1200" dirty="0">
                        <a:latin typeface="+mn-lt"/>
                      </a:endParaRPr>
                    </a:p>
                  </a:txBody>
                  <a:tcPr marL="68580" marR="68580" marT="34290" marB="34290"/>
                </a:tc>
                <a:extLst>
                  <a:ext uri="{0D108BD9-81ED-4DB2-BD59-A6C34878D82A}">
                    <a16:rowId xmlns:a16="http://schemas.microsoft.com/office/drawing/2014/main" val="1287543422"/>
                  </a:ext>
                </a:extLst>
              </a:tr>
            </a:tbl>
          </a:graphicData>
        </a:graphic>
      </p:graphicFrame>
      <p:sp>
        <p:nvSpPr>
          <p:cNvPr id="5" name="Title 1">
            <a:extLst>
              <a:ext uri="{FF2B5EF4-FFF2-40B4-BE49-F238E27FC236}">
                <a16:creationId xmlns:a16="http://schemas.microsoft.com/office/drawing/2014/main" id="{C9C3C03C-DA5F-4C92-800E-46A2DACEB1C0}"/>
              </a:ext>
            </a:extLst>
          </p:cNvPr>
          <p:cNvSpPr txBox="1">
            <a:spLocks/>
          </p:cNvSpPr>
          <p:nvPr/>
        </p:nvSpPr>
        <p:spPr>
          <a:xfrm>
            <a:off x="1139868" y="46152"/>
            <a:ext cx="9983243" cy="7570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1" tIns="45702" rIns="91401" bIns="45702" rtlCol="0" anchor="ctr">
            <a:spAutoFit/>
          </a:bodyPr>
          <a:lstStyle>
            <a:defPPr>
              <a:defRPr lang="en-US"/>
            </a:defPPr>
            <a:lvl1pPr>
              <a:lnSpc>
                <a:spcPct val="90000"/>
              </a:lnSpc>
              <a:spcBef>
                <a:spcPct val="0"/>
              </a:spcBef>
              <a:buNone/>
              <a:defRPr sz="2000" b="1">
                <a:solidFill>
                  <a:srgbClr val="204024"/>
                </a:solidFill>
                <a:latin typeface="+mj-lt"/>
                <a:ea typeface="+mj-ea"/>
                <a:cs typeface="+mj-cs"/>
              </a:defRPr>
            </a:lvl1pPr>
            <a:lvl2pPr defTabSz="669832">
              <a:defRPr sz="1397" b="1">
                <a:solidFill>
                  <a:schemeClr val="tx2"/>
                </a:solidFill>
                <a:latin typeface="Arial" panose="020B0604020202020204" pitchFamily="34" charset="0"/>
              </a:defRPr>
            </a:lvl2pPr>
            <a:lvl3pPr defTabSz="669832">
              <a:defRPr sz="1397" b="1">
                <a:solidFill>
                  <a:schemeClr val="tx2"/>
                </a:solidFill>
                <a:latin typeface="Arial" panose="020B0604020202020204" pitchFamily="34" charset="0"/>
              </a:defRPr>
            </a:lvl3pPr>
            <a:lvl4pPr defTabSz="669832">
              <a:defRPr sz="1397" b="1">
                <a:solidFill>
                  <a:schemeClr val="tx2"/>
                </a:solidFill>
                <a:latin typeface="Arial" panose="020B0604020202020204" pitchFamily="34" charset="0"/>
              </a:defRPr>
            </a:lvl4pPr>
            <a:lvl5pPr defTabSz="669832">
              <a:defRPr sz="1397" b="1">
                <a:solidFill>
                  <a:schemeClr val="tx2"/>
                </a:solidFill>
                <a:latin typeface="Arial" panose="020B0604020202020204" pitchFamily="34" charset="0"/>
              </a:defRPr>
            </a:lvl5pPr>
            <a:lvl6pPr marL="342042" defTabSz="669832" fontAlgn="base">
              <a:spcBef>
                <a:spcPct val="0"/>
              </a:spcBef>
              <a:spcAft>
                <a:spcPct val="0"/>
              </a:spcAft>
              <a:defRPr sz="1397" b="1">
                <a:solidFill>
                  <a:schemeClr val="tx2"/>
                </a:solidFill>
                <a:latin typeface="Arial" panose="020B0604020202020204" pitchFamily="34" charset="0"/>
              </a:defRPr>
            </a:lvl6pPr>
            <a:lvl7pPr marL="684086" defTabSz="669832" fontAlgn="base">
              <a:spcBef>
                <a:spcPct val="0"/>
              </a:spcBef>
              <a:spcAft>
                <a:spcPct val="0"/>
              </a:spcAft>
              <a:defRPr sz="1397" b="1">
                <a:solidFill>
                  <a:schemeClr val="tx2"/>
                </a:solidFill>
                <a:latin typeface="Arial" panose="020B0604020202020204" pitchFamily="34" charset="0"/>
              </a:defRPr>
            </a:lvl7pPr>
            <a:lvl8pPr marL="1026120" defTabSz="669832" fontAlgn="base">
              <a:spcBef>
                <a:spcPct val="0"/>
              </a:spcBef>
              <a:spcAft>
                <a:spcPct val="0"/>
              </a:spcAft>
              <a:defRPr sz="1397" b="1">
                <a:solidFill>
                  <a:schemeClr val="tx2"/>
                </a:solidFill>
                <a:latin typeface="Arial" panose="020B0604020202020204" pitchFamily="34" charset="0"/>
              </a:defRPr>
            </a:lvl8pPr>
            <a:lvl9pPr marL="1368168" defTabSz="669832" fontAlgn="base">
              <a:spcBef>
                <a:spcPct val="0"/>
              </a:spcBef>
              <a:spcAft>
                <a:spcPct val="0"/>
              </a:spcAft>
              <a:defRPr sz="1397" b="1">
                <a:solidFill>
                  <a:schemeClr val="tx2"/>
                </a:solidFill>
                <a:latin typeface="Arial" panose="020B0604020202020204" pitchFamily="34" charset="0"/>
              </a:defRPr>
            </a:lvl9pPr>
          </a:lstStyle>
          <a:p>
            <a:pPr defTabSz="914013">
              <a:defRPr/>
            </a:pPr>
            <a:r>
              <a:rPr lang="en-US" sz="2400" baseline="30000" dirty="0">
                <a:solidFill>
                  <a:srgbClr val="015F32"/>
                </a:solidFill>
                <a:latin typeface="Arial"/>
              </a:rPr>
              <a:t>4</a:t>
            </a:r>
            <a:r>
              <a:rPr lang="en-US" sz="2400" dirty="0">
                <a:latin typeface="Arial (Body)"/>
                <a:cs typeface="Arial" panose="020B0604020202020204" pitchFamily="34" charset="0"/>
              </a:rPr>
              <a:t>Implementation of the BHCPF will ensure adequate availability of funds to Primary Health care facilities across the country</a:t>
            </a:r>
            <a:endParaRPr lang="en-GB" sz="2400" dirty="0">
              <a:latin typeface="Arial (Body)"/>
              <a:cs typeface="Arial" panose="020B0604020202020204" pitchFamily="34" charset="0"/>
            </a:endParaRPr>
          </a:p>
        </p:txBody>
      </p:sp>
      <p:sp>
        <p:nvSpPr>
          <p:cNvPr id="6" name="Slide Number Placeholder 3">
            <a:extLst>
              <a:ext uri="{FF2B5EF4-FFF2-40B4-BE49-F238E27FC236}">
                <a16:creationId xmlns:a16="http://schemas.microsoft.com/office/drawing/2014/main" id="{26065248-0690-42FD-867D-7199A5CC08FC}"/>
              </a:ext>
            </a:extLst>
          </p:cNvPr>
          <p:cNvSpPr txBox="1">
            <a:spLocks/>
          </p:cNvSpPr>
          <p:nvPr/>
        </p:nvSpPr>
        <p:spPr>
          <a:xfrm>
            <a:off x="9337100" y="6492875"/>
            <a:ext cx="2743201" cy="365125"/>
          </a:xfrm>
          <a:prstGeom prst="rect">
            <a:avLst/>
          </a:prstGeom>
        </p:spPr>
        <p:txBody>
          <a:bodyPr vert="horz" lIns="91199" tIns="45607" rIns="91199" bIns="45607" rtlCol="0" anchor="ctr"/>
          <a:lstStyle>
            <a:defPPr>
              <a:defRPr lang="en-US"/>
            </a:defPPr>
            <a:lvl1pPr marL="0" algn="r" defTabSz="913809" rtl="0" eaLnBrk="1" latinLnBrk="0" hangingPunct="1">
              <a:defRPr sz="1200" kern="1200">
                <a:solidFill>
                  <a:schemeClr val="tx1">
                    <a:tint val="75000"/>
                  </a:schemeClr>
                </a:solidFill>
                <a:latin typeface="+mn-lt"/>
                <a:ea typeface="+mn-ea"/>
                <a:cs typeface="+mn-cs"/>
              </a:defRPr>
            </a:lvl1pPr>
            <a:lvl2pPr marL="456902" algn="l" defTabSz="913809" rtl="0" eaLnBrk="1" latinLnBrk="0" hangingPunct="1">
              <a:defRPr sz="1900" kern="1200">
                <a:solidFill>
                  <a:schemeClr val="tx1"/>
                </a:solidFill>
                <a:latin typeface="+mn-lt"/>
                <a:ea typeface="+mn-ea"/>
                <a:cs typeface="+mn-cs"/>
              </a:defRPr>
            </a:lvl2pPr>
            <a:lvl3pPr marL="913809" algn="l" defTabSz="913809" rtl="0" eaLnBrk="1" latinLnBrk="0" hangingPunct="1">
              <a:defRPr sz="1900" kern="1200">
                <a:solidFill>
                  <a:schemeClr val="tx1"/>
                </a:solidFill>
                <a:latin typeface="+mn-lt"/>
                <a:ea typeface="+mn-ea"/>
                <a:cs typeface="+mn-cs"/>
              </a:defRPr>
            </a:lvl3pPr>
            <a:lvl4pPr marL="1370714" algn="l" defTabSz="913809" rtl="0" eaLnBrk="1" latinLnBrk="0" hangingPunct="1">
              <a:defRPr sz="1900" kern="1200">
                <a:solidFill>
                  <a:schemeClr val="tx1"/>
                </a:solidFill>
                <a:latin typeface="+mn-lt"/>
                <a:ea typeface="+mn-ea"/>
                <a:cs typeface="+mn-cs"/>
              </a:defRPr>
            </a:lvl4pPr>
            <a:lvl5pPr marL="1827617" algn="l" defTabSz="913809" rtl="0" eaLnBrk="1" latinLnBrk="0" hangingPunct="1">
              <a:defRPr sz="1900" kern="1200">
                <a:solidFill>
                  <a:schemeClr val="tx1"/>
                </a:solidFill>
                <a:latin typeface="+mn-lt"/>
                <a:ea typeface="+mn-ea"/>
                <a:cs typeface="+mn-cs"/>
              </a:defRPr>
            </a:lvl5pPr>
            <a:lvl6pPr marL="2284528" algn="l" defTabSz="913809" rtl="0" eaLnBrk="1" latinLnBrk="0" hangingPunct="1">
              <a:defRPr sz="1900" kern="1200">
                <a:solidFill>
                  <a:schemeClr val="tx1"/>
                </a:solidFill>
                <a:latin typeface="+mn-lt"/>
                <a:ea typeface="+mn-ea"/>
                <a:cs typeface="+mn-cs"/>
              </a:defRPr>
            </a:lvl6pPr>
            <a:lvl7pPr marL="2741424" algn="l" defTabSz="913809" rtl="0" eaLnBrk="1" latinLnBrk="0" hangingPunct="1">
              <a:defRPr sz="1900" kern="1200">
                <a:solidFill>
                  <a:schemeClr val="tx1"/>
                </a:solidFill>
                <a:latin typeface="+mn-lt"/>
                <a:ea typeface="+mn-ea"/>
                <a:cs typeface="+mn-cs"/>
              </a:defRPr>
            </a:lvl7pPr>
            <a:lvl8pPr marL="3198324" algn="l" defTabSz="913809" rtl="0" eaLnBrk="1" latinLnBrk="0" hangingPunct="1">
              <a:defRPr sz="1900" kern="1200">
                <a:solidFill>
                  <a:schemeClr val="tx1"/>
                </a:solidFill>
                <a:latin typeface="+mn-lt"/>
                <a:ea typeface="+mn-ea"/>
                <a:cs typeface="+mn-cs"/>
              </a:defRPr>
            </a:lvl8pPr>
            <a:lvl9pPr marL="3655226" algn="l" defTabSz="913809" rtl="0" eaLnBrk="1" latinLnBrk="0" hangingPunct="1">
              <a:defRPr sz="1900" kern="1200">
                <a:solidFill>
                  <a:schemeClr val="tx1"/>
                </a:solidFill>
                <a:latin typeface="+mn-lt"/>
                <a:ea typeface="+mn-ea"/>
                <a:cs typeface="+mn-cs"/>
              </a:defRPr>
            </a:lvl9pPr>
          </a:lstStyle>
          <a:p>
            <a:pPr defTabSz="912173"/>
            <a:fld id="{978E596B-AA80-4BB2-8707-B351070E738D}" type="slidenum">
              <a:rPr lang="en-US" sz="1400" b="1" smtClean="0">
                <a:solidFill>
                  <a:schemeClr val="bg1"/>
                </a:solidFill>
              </a:rPr>
              <a:pPr defTabSz="912173"/>
              <a:t>22</a:t>
            </a:fld>
            <a:endParaRPr lang="en-US" sz="1400" b="1" dirty="0">
              <a:solidFill>
                <a:schemeClr val="bg1"/>
              </a:solidFill>
            </a:endParaRPr>
          </a:p>
        </p:txBody>
      </p:sp>
    </p:spTree>
    <p:extLst>
      <p:ext uri="{BB962C8B-B14F-4D97-AF65-F5344CB8AC3E}">
        <p14:creationId xmlns:p14="http://schemas.microsoft.com/office/powerpoint/2010/main" val="18840474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A483230-8FC9-4A03-A0EA-5450B16D329E}"/>
              </a:ext>
            </a:extLst>
          </p:cNvPr>
          <p:cNvGraphicFramePr>
            <a:graphicFrameLocks noChangeAspect="1"/>
          </p:cNvGraphicFramePr>
          <p:nvPr>
            <p:custDataLst>
              <p:tags r:id="rId2"/>
            </p:custDataLst>
            <p:extLst>
              <p:ext uri="{D42A27DB-BD31-4B8C-83A1-F6EECF244321}">
                <p14:modId xmlns:p14="http://schemas.microsoft.com/office/powerpoint/2010/main" val="3772427703"/>
              </p:ext>
            </p:extLst>
          </p:nvPr>
        </p:nvGraphicFramePr>
        <p:xfrm>
          <a:off x="1525591" y="1588"/>
          <a:ext cx="1588" cy="1588"/>
        </p:xfrm>
        <a:graphic>
          <a:graphicData uri="http://schemas.openxmlformats.org/presentationml/2006/ole">
            <mc:AlternateContent xmlns:mc="http://schemas.openxmlformats.org/markup-compatibility/2006">
              <mc:Choice xmlns:v="urn:schemas-microsoft-com:vml" Requires="v">
                <p:oleObj spid="_x0000_s665614"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25591" y="1588"/>
                        <a:ext cx="1588" cy="1588"/>
                      </a:xfrm>
                      <a:prstGeom prst="rect">
                        <a:avLst/>
                      </a:prstGeom>
                    </p:spPr>
                  </p:pic>
                </p:oleObj>
              </mc:Fallback>
            </mc:AlternateContent>
          </a:graphicData>
        </a:graphic>
      </p:graphicFrame>
      <p:sp>
        <p:nvSpPr>
          <p:cNvPr id="26626" name="Content Placeholder 2"/>
          <p:cNvSpPr>
            <a:spLocks noGrp="1"/>
          </p:cNvSpPr>
          <p:nvPr>
            <p:ph idx="1"/>
          </p:nvPr>
        </p:nvSpPr>
        <p:spPr>
          <a:xfrm>
            <a:off x="1269852" y="1546743"/>
            <a:ext cx="3691767" cy="2604907"/>
          </a:xfrm>
          <a:solidFill>
            <a:schemeClr val="bg1">
              <a:lumMod val="95000"/>
            </a:schemeClr>
          </a:solidFill>
        </p:spPr>
        <p:txBody>
          <a:bodyPr>
            <a:noAutofit/>
          </a:bodyPr>
          <a:lstStyle/>
          <a:p>
            <a:pPr marL="0" indent="0">
              <a:buNone/>
            </a:pPr>
            <a:r>
              <a:rPr lang="en-US" altLang="en-US" sz="1600" dirty="0">
                <a:latin typeface="Arial" panose="020B0604020202020204" pitchFamily="34" charset="0"/>
                <a:ea typeface="Century Gothic" charset="0"/>
                <a:cs typeface="Arial" panose="020B0604020202020204" pitchFamily="34" charset="0"/>
              </a:rPr>
              <a:t>NSHIP seeks to provide managerial autonomy to health facilities whilst strengthening accountability mechanisms at the LGA Primary Healthcare Authority and State Primary Healthcare Development Agencies through a collective package of institutional and operational level results based financing approaches. </a:t>
            </a:r>
          </a:p>
        </p:txBody>
      </p:sp>
      <p:sp>
        <p:nvSpPr>
          <p:cNvPr id="9" name="Title 1">
            <a:extLst>
              <a:ext uri="{FF2B5EF4-FFF2-40B4-BE49-F238E27FC236}">
                <a16:creationId xmlns:a16="http://schemas.microsoft.com/office/drawing/2014/main" id="{BE7F4654-1217-4F19-AFB8-FF8FD814BF85}"/>
              </a:ext>
            </a:extLst>
          </p:cNvPr>
          <p:cNvSpPr txBox="1">
            <a:spLocks/>
          </p:cNvSpPr>
          <p:nvPr/>
        </p:nvSpPr>
        <p:spPr>
          <a:xfrm>
            <a:off x="1102290" y="211682"/>
            <a:ext cx="9935714" cy="7016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1" tIns="45702" rIns="91401" bIns="45702"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GB" sz="2400" b="1" baseline="30000" dirty="0">
                <a:latin typeface="Arial" panose="020B0604020202020204" pitchFamily="34" charset="0"/>
                <a:cs typeface="Arial" panose="020B0604020202020204" pitchFamily="34" charset="0"/>
              </a:rPr>
              <a:t>4</a:t>
            </a:r>
            <a:r>
              <a:rPr lang="en-US" sz="2200" b="1" dirty="0">
                <a:solidFill>
                  <a:srgbClr val="204024"/>
                </a:solidFill>
                <a:latin typeface="Arial" panose="020B0604020202020204" pitchFamily="34" charset="0"/>
                <a:cs typeface="Arial" panose="020B0604020202020204" pitchFamily="34" charset="0"/>
              </a:rPr>
              <a:t>Nigerian State Health Investment Program (NSHIP) is a performance-focused approach to strengthen service delivery at the health facilities</a:t>
            </a:r>
          </a:p>
        </p:txBody>
      </p:sp>
      <p:sp>
        <p:nvSpPr>
          <p:cNvPr id="11" name="Content Placeholder 2">
            <a:extLst>
              <a:ext uri="{FF2B5EF4-FFF2-40B4-BE49-F238E27FC236}">
                <a16:creationId xmlns:a16="http://schemas.microsoft.com/office/drawing/2014/main" id="{DBD1CE56-85D7-4674-9A98-0D2862406B86}"/>
              </a:ext>
            </a:extLst>
          </p:cNvPr>
          <p:cNvSpPr txBox="1">
            <a:spLocks/>
          </p:cNvSpPr>
          <p:nvPr/>
        </p:nvSpPr>
        <p:spPr>
          <a:xfrm>
            <a:off x="1269852" y="4663820"/>
            <a:ext cx="3691767" cy="1439268"/>
          </a:xfrm>
          <a:prstGeom prst="rect">
            <a:avLst/>
          </a:prstGeom>
          <a:solidFill>
            <a:schemeClr val="bg1">
              <a:lumMod val="95000"/>
            </a:schemeClr>
          </a:solidFill>
        </p:spPr>
        <p:txBody>
          <a:bodyPr vert="horz" lIns="91401" tIns="45702" rIns="91401" bIns="4570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defRPr/>
            </a:pPr>
            <a:r>
              <a:rPr lang="en-US" sz="1600" dirty="0">
                <a:solidFill>
                  <a:prstClr val="black"/>
                </a:solidFill>
                <a:latin typeface="Arial" panose="020B0604020202020204" pitchFamily="34" charset="0"/>
                <a:ea typeface="Century Gothic" charset="0"/>
                <a:cs typeface="Arial" panose="020B0604020202020204" pitchFamily="34" charset="0"/>
              </a:rPr>
              <a:t>To increase the delivery and use of high impact maternal and child health interventions and to improve the quality of care at selected health facilities in participating States.</a:t>
            </a:r>
            <a:endParaRPr lang="en-US" sz="1600" dirty="0">
              <a:solidFill>
                <a:prstClr val="black"/>
              </a:solidFill>
              <a:latin typeface="Arial" panose="020B0604020202020204" pitchFamily="34" charset="0"/>
              <a:ea typeface="Cambria" charset="0"/>
              <a:cs typeface="Arial" panose="020B0604020202020204" pitchFamily="34" charset="0"/>
            </a:endParaRPr>
          </a:p>
        </p:txBody>
      </p:sp>
      <p:graphicFrame>
        <p:nvGraphicFramePr>
          <p:cNvPr id="5" name="Table 4">
            <a:extLst>
              <a:ext uri="{FF2B5EF4-FFF2-40B4-BE49-F238E27FC236}">
                <a16:creationId xmlns:a16="http://schemas.microsoft.com/office/drawing/2014/main" id="{E2B39E9B-3646-410A-B5B8-CF21A9F657AD}"/>
              </a:ext>
            </a:extLst>
          </p:cNvPr>
          <p:cNvGraphicFramePr>
            <a:graphicFrameLocks noGrp="1"/>
          </p:cNvGraphicFramePr>
          <p:nvPr>
            <p:extLst/>
          </p:nvPr>
        </p:nvGraphicFramePr>
        <p:xfrm>
          <a:off x="5830192" y="1227882"/>
          <a:ext cx="5331261" cy="5140740"/>
        </p:xfrm>
        <a:graphic>
          <a:graphicData uri="http://schemas.openxmlformats.org/drawingml/2006/table">
            <a:tbl>
              <a:tblPr firstRow="1" bandRow="1">
                <a:tableStyleId>{5C22544A-7EE6-4342-B048-85BDC9FD1C3A}</a:tableStyleId>
              </a:tblPr>
              <a:tblGrid>
                <a:gridCol w="1587125">
                  <a:extLst>
                    <a:ext uri="{9D8B030D-6E8A-4147-A177-3AD203B41FA5}">
                      <a16:colId xmlns:a16="http://schemas.microsoft.com/office/drawing/2014/main" val="608512727"/>
                    </a:ext>
                  </a:extLst>
                </a:gridCol>
                <a:gridCol w="1719385">
                  <a:extLst>
                    <a:ext uri="{9D8B030D-6E8A-4147-A177-3AD203B41FA5}">
                      <a16:colId xmlns:a16="http://schemas.microsoft.com/office/drawing/2014/main" val="173299776"/>
                    </a:ext>
                  </a:extLst>
                </a:gridCol>
                <a:gridCol w="2024751">
                  <a:extLst>
                    <a:ext uri="{9D8B030D-6E8A-4147-A177-3AD203B41FA5}">
                      <a16:colId xmlns:a16="http://schemas.microsoft.com/office/drawing/2014/main" val="1690301313"/>
                    </a:ext>
                  </a:extLst>
                </a:gridCol>
              </a:tblGrid>
              <a:tr h="386837">
                <a:tc>
                  <a:txBody>
                    <a:bodyPr/>
                    <a:lstStyle/>
                    <a:p>
                      <a:r>
                        <a:rPr lang="en-GB" sz="1600" dirty="0">
                          <a:latin typeface="Arial" panose="020B0604020202020204" pitchFamily="34" charset="0"/>
                          <a:cs typeface="Arial" panose="020B0604020202020204" pitchFamily="34" charset="0"/>
                        </a:rPr>
                        <a:t>Area</a:t>
                      </a:r>
                      <a:endParaRPr lang="x-none" sz="1600" dirty="0">
                        <a:latin typeface="Arial" panose="020B0604020202020204" pitchFamily="34" charset="0"/>
                        <a:cs typeface="Arial" panose="020B0604020202020204" pitchFamily="34" charset="0"/>
                      </a:endParaRPr>
                    </a:p>
                  </a:txBody>
                  <a:tcPr marL="36000" marR="36000">
                    <a:solidFill>
                      <a:schemeClr val="accent6">
                        <a:lumMod val="75000"/>
                      </a:schemeClr>
                    </a:solidFill>
                  </a:tcPr>
                </a:tc>
                <a:tc>
                  <a:txBody>
                    <a:bodyPr/>
                    <a:lstStyle/>
                    <a:p>
                      <a:r>
                        <a:rPr lang="en-GB" sz="1600" dirty="0">
                          <a:latin typeface="Arial" panose="020B0604020202020204" pitchFamily="34" charset="0"/>
                          <a:cs typeface="Arial" panose="020B0604020202020204" pitchFamily="34" charset="0"/>
                        </a:rPr>
                        <a:t>From…</a:t>
                      </a:r>
                      <a:endParaRPr lang="x-none" sz="1600" dirty="0">
                        <a:latin typeface="Arial" panose="020B0604020202020204" pitchFamily="34" charset="0"/>
                        <a:cs typeface="Arial" panose="020B0604020202020204" pitchFamily="34" charset="0"/>
                      </a:endParaRPr>
                    </a:p>
                  </a:txBody>
                  <a:tcPr marL="36000" marR="36000">
                    <a:solidFill>
                      <a:schemeClr val="accent6">
                        <a:lumMod val="75000"/>
                      </a:schemeClr>
                    </a:solidFill>
                  </a:tcPr>
                </a:tc>
                <a:tc>
                  <a:txBody>
                    <a:bodyPr/>
                    <a:lstStyle/>
                    <a:p>
                      <a:r>
                        <a:rPr lang="en-GB" sz="1600" dirty="0">
                          <a:latin typeface="Arial" panose="020B0604020202020204" pitchFamily="34" charset="0"/>
                          <a:cs typeface="Arial" panose="020B0604020202020204" pitchFamily="34" charset="0"/>
                        </a:rPr>
                        <a:t>To…</a:t>
                      </a:r>
                      <a:endParaRPr lang="x-none" sz="1600" dirty="0">
                        <a:latin typeface="Arial" panose="020B0604020202020204" pitchFamily="34" charset="0"/>
                        <a:cs typeface="Arial" panose="020B0604020202020204" pitchFamily="34" charset="0"/>
                      </a:endParaRPr>
                    </a:p>
                  </a:txBody>
                  <a:tcPr marL="36000" marR="36000">
                    <a:solidFill>
                      <a:schemeClr val="accent6">
                        <a:lumMod val="75000"/>
                      </a:schemeClr>
                    </a:solidFill>
                  </a:tcPr>
                </a:tc>
                <a:extLst>
                  <a:ext uri="{0D108BD9-81ED-4DB2-BD59-A6C34878D82A}">
                    <a16:rowId xmlns:a16="http://schemas.microsoft.com/office/drawing/2014/main" val="4230168540"/>
                  </a:ext>
                </a:extLst>
              </a:tr>
              <a:tr h="386837">
                <a:tc>
                  <a:txBody>
                    <a:bodyPr/>
                    <a:lstStyle/>
                    <a:p>
                      <a:r>
                        <a:rPr lang="en-GB" sz="1600" dirty="0">
                          <a:latin typeface="Arial" panose="020B0604020202020204" pitchFamily="34" charset="0"/>
                          <a:cs typeface="Arial" panose="020B0604020202020204" pitchFamily="34" charset="0"/>
                        </a:rPr>
                        <a:t>Financing</a:t>
                      </a:r>
                      <a:endParaRPr lang="x-none" sz="1600" dirty="0">
                        <a:latin typeface="Arial" panose="020B0604020202020204" pitchFamily="34" charset="0"/>
                        <a:cs typeface="Arial" panose="020B0604020202020204" pitchFamily="34" charset="0"/>
                      </a:endParaRPr>
                    </a:p>
                  </a:txBody>
                  <a:tcPr marL="36000" marR="36000">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Input-based</a:t>
                      </a:r>
                      <a:endParaRPr lang="x-none" sz="1600" dirty="0">
                        <a:latin typeface="Arial" panose="020B0604020202020204" pitchFamily="34" charset="0"/>
                        <a:cs typeface="Arial" panose="020B0604020202020204" pitchFamily="34" charset="0"/>
                      </a:endParaRPr>
                    </a:p>
                  </a:txBody>
                  <a:tcPr marL="36000" marR="36000">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Result-based</a:t>
                      </a:r>
                      <a:endParaRPr lang="x-none" sz="1600" dirty="0">
                        <a:latin typeface="Arial" panose="020B0604020202020204" pitchFamily="34" charset="0"/>
                        <a:cs typeface="Arial" panose="020B0604020202020204" pitchFamily="34" charset="0"/>
                      </a:endParaRPr>
                    </a:p>
                  </a:txBody>
                  <a:tcPr marL="36000" marR="36000">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78629114"/>
                  </a:ext>
                </a:extLst>
              </a:tr>
              <a:tr h="953845">
                <a:tc>
                  <a:txBody>
                    <a:bodyPr/>
                    <a:lstStyle/>
                    <a:p>
                      <a:r>
                        <a:rPr lang="en-GB" sz="1600" dirty="0">
                          <a:latin typeface="Arial" panose="020B0604020202020204" pitchFamily="34" charset="0"/>
                          <a:cs typeface="Arial" panose="020B0604020202020204" pitchFamily="34" charset="0"/>
                        </a:rPr>
                        <a:t>Accountability</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Fragmented and unclear</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Defined with indicators and monitored</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30215045"/>
                  </a:ext>
                </a:extLst>
              </a:tr>
              <a:tr h="837819">
                <a:tc>
                  <a:txBody>
                    <a:bodyPr/>
                    <a:lstStyle/>
                    <a:p>
                      <a:r>
                        <a:rPr lang="en-GB" sz="1600" dirty="0">
                          <a:latin typeface="Arial" panose="020B0604020202020204" pitchFamily="34" charset="0"/>
                          <a:cs typeface="Arial" panose="020B0604020202020204" pitchFamily="34" charset="0"/>
                        </a:rPr>
                        <a:t>Investments (Autonomy)</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By LGA (top down)</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By health facilities (bottom-up)</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31354890"/>
                  </a:ext>
                </a:extLst>
              </a:tr>
              <a:tr h="1335404">
                <a:tc>
                  <a:txBody>
                    <a:bodyPr/>
                    <a:lstStyle/>
                    <a:p>
                      <a:r>
                        <a:rPr lang="en-GB" sz="1600" dirty="0">
                          <a:latin typeface="Arial" panose="020B0604020202020204" pitchFamily="34" charset="0"/>
                          <a:cs typeface="Arial" panose="020B0604020202020204" pitchFamily="34" charset="0"/>
                        </a:rPr>
                        <a:t>Drug supply</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Distributed from central stores (mainly push)</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Purchased by health facilities (mainly pull)</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0644477"/>
                  </a:ext>
                </a:extLst>
              </a:tr>
              <a:tr h="1239998">
                <a:tc>
                  <a:txBody>
                    <a:bodyPr/>
                    <a:lstStyle/>
                    <a:p>
                      <a:r>
                        <a:rPr lang="en-GB" sz="1600" dirty="0">
                          <a:latin typeface="Arial" panose="020B0604020202020204" pitchFamily="34" charset="0"/>
                          <a:cs typeface="Arial" panose="020B0604020202020204" pitchFamily="34" charset="0"/>
                        </a:rPr>
                        <a:t>Performance</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No verification</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r>
                        <a:rPr lang="en-GB" sz="1600" dirty="0">
                          <a:latin typeface="Arial" panose="020B0604020202020204" pitchFamily="34" charset="0"/>
                          <a:cs typeface="Arial" panose="020B0604020202020204" pitchFamily="34" charset="0"/>
                        </a:rPr>
                        <a:t>Independent verification and counter verification</a:t>
                      </a:r>
                      <a:endParaRPr lang="x-none" sz="1600" dirty="0">
                        <a:latin typeface="Arial" panose="020B0604020202020204" pitchFamily="34" charset="0"/>
                        <a:cs typeface="Arial" panose="020B0604020202020204" pitchFamily="34" charset="0"/>
                      </a:endParaRPr>
                    </a:p>
                  </a:txBody>
                  <a:tcPr marL="36000" marR="36000">
                    <a:lnT w="12700" cap="flat" cmpd="sng" algn="ctr">
                      <a:solidFill>
                        <a:schemeClr val="bg1">
                          <a:lumMod val="7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5338121"/>
                  </a:ext>
                </a:extLst>
              </a:tr>
            </a:tbl>
          </a:graphicData>
        </a:graphic>
      </p:graphicFrame>
      <p:sp>
        <p:nvSpPr>
          <p:cNvPr id="81" name="Rectangle 80">
            <a:extLst>
              <a:ext uri="{FF2B5EF4-FFF2-40B4-BE49-F238E27FC236}">
                <a16:creationId xmlns:a16="http://schemas.microsoft.com/office/drawing/2014/main" id="{2101DDD7-8021-4314-A833-638A6CDC0F42}"/>
              </a:ext>
            </a:extLst>
          </p:cNvPr>
          <p:cNvSpPr/>
          <p:nvPr/>
        </p:nvSpPr>
        <p:spPr>
          <a:xfrm>
            <a:off x="1269845" y="1227905"/>
            <a:ext cx="757176" cy="271309"/>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r>
              <a:rPr lang="en-GB" sz="1600" dirty="0">
                <a:solidFill>
                  <a:prstClr val="white"/>
                </a:solidFill>
                <a:latin typeface="Arial" panose="020B0604020202020204" pitchFamily="34" charset="0"/>
                <a:cs typeface="Arial" panose="020B0604020202020204" pitchFamily="34" charset="0"/>
              </a:rPr>
              <a:t>Aim</a:t>
            </a:r>
            <a:endParaRPr lang="x-none" sz="1600" dirty="0">
              <a:solidFill>
                <a:prstClr val="white"/>
              </a:solidFill>
              <a:latin typeface="Arial" panose="020B0604020202020204" pitchFamily="34" charset="0"/>
              <a:cs typeface="Arial" panose="020B0604020202020204" pitchFamily="34" charset="0"/>
            </a:endParaRPr>
          </a:p>
        </p:txBody>
      </p:sp>
      <p:sp>
        <p:nvSpPr>
          <p:cNvPr id="85" name="Rectangle 84">
            <a:extLst>
              <a:ext uri="{FF2B5EF4-FFF2-40B4-BE49-F238E27FC236}">
                <a16:creationId xmlns:a16="http://schemas.microsoft.com/office/drawing/2014/main" id="{1BB36693-D159-41DC-9DE9-305B754EA65B}"/>
              </a:ext>
            </a:extLst>
          </p:cNvPr>
          <p:cNvSpPr/>
          <p:nvPr/>
        </p:nvSpPr>
        <p:spPr>
          <a:xfrm>
            <a:off x="1269849" y="4338475"/>
            <a:ext cx="1629046" cy="322397"/>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r>
              <a:rPr lang="en-GB" sz="1600" dirty="0">
                <a:solidFill>
                  <a:prstClr val="white"/>
                </a:solidFill>
                <a:latin typeface="Arial" panose="020B0604020202020204" pitchFamily="34" charset="0"/>
                <a:cs typeface="Arial" panose="020B0604020202020204" pitchFamily="34" charset="0"/>
              </a:rPr>
              <a:t>Objective</a:t>
            </a:r>
            <a:endParaRPr lang="x-none" sz="1600" dirty="0">
              <a:solidFill>
                <a:prstClr val="white"/>
              </a:solidFill>
              <a:latin typeface="Arial" panose="020B0604020202020204" pitchFamily="34" charset="0"/>
              <a:cs typeface="Arial" panose="020B0604020202020204" pitchFamily="34" charset="0"/>
            </a:endParaRPr>
          </a:p>
        </p:txBody>
      </p:sp>
      <p:cxnSp>
        <p:nvCxnSpPr>
          <p:cNvPr id="86" name="Straight Connector 85">
            <a:extLst>
              <a:ext uri="{FF2B5EF4-FFF2-40B4-BE49-F238E27FC236}">
                <a16:creationId xmlns:a16="http://schemas.microsoft.com/office/drawing/2014/main" id="{50BCB178-0249-4E65-AF01-716D18C4E5AC}"/>
              </a:ext>
            </a:extLst>
          </p:cNvPr>
          <p:cNvCxnSpPr>
            <a:cxnSpLocks/>
          </p:cNvCxnSpPr>
          <p:nvPr/>
        </p:nvCxnSpPr>
        <p:spPr>
          <a:xfrm flipH="1">
            <a:off x="5318696" y="1329071"/>
            <a:ext cx="7294" cy="4774018"/>
          </a:xfrm>
          <a:prstGeom prst="line">
            <a:avLst/>
          </a:prstGeom>
          <a:ln>
            <a:solidFill>
              <a:schemeClr val="bg1">
                <a:lumMod val="65000"/>
              </a:schemeClr>
            </a:solidFill>
            <a:prstDash val="solid"/>
          </a:ln>
        </p:spPr>
        <p:style>
          <a:lnRef idx="1">
            <a:schemeClr val="dk1"/>
          </a:lnRef>
          <a:fillRef idx="0">
            <a:schemeClr val="dk1"/>
          </a:fillRef>
          <a:effectRef idx="0">
            <a:schemeClr val="dk1"/>
          </a:effectRef>
          <a:fontRef idx="minor">
            <a:schemeClr val="tx1"/>
          </a:fontRef>
        </p:style>
      </p:cxnSp>
      <p:grpSp>
        <p:nvGrpSpPr>
          <p:cNvPr id="87" name="Group 86">
            <a:extLst>
              <a:ext uri="{FF2B5EF4-FFF2-40B4-BE49-F238E27FC236}">
                <a16:creationId xmlns:a16="http://schemas.microsoft.com/office/drawing/2014/main" id="{9BD493D1-C064-4087-81F2-C652443196A9}"/>
              </a:ext>
            </a:extLst>
          </p:cNvPr>
          <p:cNvGrpSpPr/>
          <p:nvPr/>
        </p:nvGrpSpPr>
        <p:grpSpPr>
          <a:xfrm>
            <a:off x="4976199" y="3282175"/>
            <a:ext cx="758291" cy="869470"/>
            <a:chOff x="6257196" y="708743"/>
            <a:chExt cx="504000" cy="529428"/>
          </a:xfrm>
        </p:grpSpPr>
        <p:sp>
          <p:nvSpPr>
            <p:cNvPr id="88" name="Oval 87">
              <a:extLst>
                <a:ext uri="{FF2B5EF4-FFF2-40B4-BE49-F238E27FC236}">
                  <a16:creationId xmlns:a16="http://schemas.microsoft.com/office/drawing/2014/main" id="{5BC66C31-336C-40D4-9AC7-1933B6459266}"/>
                </a:ext>
              </a:extLst>
            </p:cNvPr>
            <p:cNvSpPr/>
            <p:nvPr/>
          </p:nvSpPr>
          <p:spPr>
            <a:xfrm>
              <a:off x="6257196" y="708743"/>
              <a:ext cx="504000" cy="5294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13">
                <a:defRPr/>
              </a:pPr>
              <a:endParaRPr lang="en-GB" sz="1500" dirty="0" err="1">
                <a:solidFill>
                  <a:srgbClr val="1F1F1F"/>
                </a:solidFill>
                <a:latin typeface="Arial" panose="020B0604020202020204" pitchFamily="34" charset="0"/>
                <a:cs typeface="Arial" panose="020B0604020202020204" pitchFamily="34" charset="0"/>
              </a:endParaRPr>
            </a:p>
          </p:txBody>
        </p:sp>
        <p:grpSp>
          <p:nvGrpSpPr>
            <p:cNvPr id="89" name="Group 88">
              <a:extLst>
                <a:ext uri="{FF2B5EF4-FFF2-40B4-BE49-F238E27FC236}">
                  <a16:creationId xmlns:a16="http://schemas.microsoft.com/office/drawing/2014/main" id="{F7436D19-3998-4D22-A9D9-89986A3C5A51}"/>
                </a:ext>
              </a:extLst>
            </p:cNvPr>
            <p:cNvGrpSpPr/>
            <p:nvPr/>
          </p:nvGrpSpPr>
          <p:grpSpPr>
            <a:xfrm>
              <a:off x="6407243" y="820943"/>
              <a:ext cx="216000" cy="340346"/>
              <a:chOff x="3497015" y="231106"/>
              <a:chExt cx="216000" cy="324000"/>
            </a:xfrm>
          </p:grpSpPr>
          <p:sp>
            <p:nvSpPr>
              <p:cNvPr id="90" name="Chevron 59">
                <a:extLst>
                  <a:ext uri="{FF2B5EF4-FFF2-40B4-BE49-F238E27FC236}">
                    <a16:creationId xmlns:a16="http://schemas.microsoft.com/office/drawing/2014/main" id="{C079CBD5-0FC6-47CA-9D5C-AEC49B4D6312}"/>
                  </a:ext>
                </a:extLst>
              </p:cNvPr>
              <p:cNvSpPr/>
              <p:nvPr/>
            </p:nvSpPr>
            <p:spPr bwMode="gray">
              <a:xfrm>
                <a:off x="3562143" y="231106"/>
                <a:ext cx="150872" cy="324000"/>
              </a:xfrm>
              <a:prstGeom prst="chevron">
                <a:avLst/>
              </a:prstGeom>
              <a:solidFill>
                <a:srgbClr val="DAF2E6">
                  <a:lumMod val="50000"/>
                </a:srgbClr>
              </a:solidFill>
              <a:ln w="9525" cap="flat" cmpd="sng" algn="ctr">
                <a:noFill/>
                <a:prstDash val="solid"/>
              </a:ln>
              <a:effectLst/>
            </p:spPr>
            <p:txBody>
              <a:bodyPr rtlCol="0" anchor="ctr"/>
              <a:lstStyle/>
              <a:p>
                <a:pPr algn="ctr" defTabSz="914013">
                  <a:defRPr/>
                </a:pPr>
                <a:endParaRPr lang="en-US" sz="1500" kern="0" dirty="0">
                  <a:solidFill>
                    <a:srgbClr val="000000"/>
                  </a:solidFill>
                  <a:latin typeface="Arial" panose="020B0604020202020204" pitchFamily="34" charset="0"/>
                  <a:cs typeface="Arial" panose="020B0604020202020204" pitchFamily="34" charset="0"/>
                </a:endParaRPr>
              </a:p>
            </p:txBody>
          </p:sp>
          <p:sp>
            <p:nvSpPr>
              <p:cNvPr id="91" name="Chevron 62">
                <a:extLst>
                  <a:ext uri="{FF2B5EF4-FFF2-40B4-BE49-F238E27FC236}">
                    <a16:creationId xmlns:a16="http://schemas.microsoft.com/office/drawing/2014/main" id="{AC3F8C8F-E006-40E0-B0AD-57F21ECE4E2B}"/>
                  </a:ext>
                </a:extLst>
              </p:cNvPr>
              <p:cNvSpPr/>
              <p:nvPr/>
            </p:nvSpPr>
            <p:spPr bwMode="gray">
              <a:xfrm>
                <a:off x="3497015" y="275505"/>
                <a:ext cx="109523" cy="235200"/>
              </a:xfrm>
              <a:prstGeom prst="chevron">
                <a:avLst/>
              </a:prstGeom>
              <a:solidFill>
                <a:srgbClr val="DAF2E6">
                  <a:lumMod val="50000"/>
                  <a:alpha val="54000"/>
                </a:srgbClr>
              </a:solidFill>
              <a:ln w="9525" cap="flat" cmpd="sng" algn="ctr">
                <a:noFill/>
                <a:prstDash val="solid"/>
              </a:ln>
              <a:effectLst/>
            </p:spPr>
            <p:txBody>
              <a:bodyPr rtlCol="0" anchor="ctr"/>
              <a:lstStyle/>
              <a:p>
                <a:pPr algn="ctr" defTabSz="914013">
                  <a:defRPr/>
                </a:pPr>
                <a:endParaRPr lang="en-US" sz="1500" kern="0" dirty="0">
                  <a:solidFill>
                    <a:srgbClr val="000000"/>
                  </a:solidFill>
                  <a:latin typeface="Arial" panose="020B0604020202020204" pitchFamily="34" charset="0"/>
                  <a:cs typeface="Arial" panose="020B0604020202020204" pitchFamily="34" charset="0"/>
                </a:endParaRPr>
              </a:p>
            </p:txBody>
          </p:sp>
        </p:grpSp>
      </p:grpSp>
      <p:sp>
        <p:nvSpPr>
          <p:cNvPr id="16"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23</a:t>
            </a:fld>
            <a:endParaRPr lang="en-US" sz="1400" b="1" dirty="0">
              <a:solidFill>
                <a:schemeClr val="bg1"/>
              </a:solidFill>
            </a:endParaRPr>
          </a:p>
        </p:txBody>
      </p:sp>
    </p:spTree>
    <p:extLst>
      <p:ext uri="{BB962C8B-B14F-4D97-AF65-F5344CB8AC3E}">
        <p14:creationId xmlns:p14="http://schemas.microsoft.com/office/powerpoint/2010/main" val="2587063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E528F-B60F-AE42-9AF1-2A41B3B97896}"/>
              </a:ext>
            </a:extLst>
          </p:cNvPr>
          <p:cNvSpPr>
            <a:spLocks noGrp="1"/>
          </p:cNvSpPr>
          <p:nvPr>
            <p:ph type="title"/>
          </p:nvPr>
        </p:nvSpPr>
        <p:spPr>
          <a:xfrm>
            <a:off x="171449" y="89025"/>
            <a:ext cx="11734800" cy="873125"/>
          </a:xfrm>
        </p:spPr>
        <p:txBody>
          <a:bodyPr/>
          <a:lstStyle/>
          <a:p>
            <a:r>
              <a:rPr lang="en-GB" sz="2400" baseline="30000" dirty="0">
                <a:solidFill>
                  <a:schemeClr val="tx1"/>
                </a:solidFill>
                <a:latin typeface="Arial" panose="020B0604020202020204" pitchFamily="34" charset="0"/>
                <a:cs typeface="Arial" panose="020B0604020202020204" pitchFamily="34" charset="0"/>
              </a:rPr>
              <a:t>4</a:t>
            </a:r>
            <a:r>
              <a:rPr lang="en-US" sz="2400" dirty="0">
                <a:latin typeface="Optima" panose="02000503060000020004" pitchFamily="2" charset="0"/>
              </a:rPr>
              <a:t>Current Health Facility Coverage (1,866 PHCs in 8 States)</a:t>
            </a:r>
          </a:p>
        </p:txBody>
      </p:sp>
      <p:sp>
        <p:nvSpPr>
          <p:cNvPr id="3" name="Content Placeholder 2">
            <a:extLst>
              <a:ext uri="{FF2B5EF4-FFF2-40B4-BE49-F238E27FC236}">
                <a16:creationId xmlns:a16="http://schemas.microsoft.com/office/drawing/2014/main" id="{7473192F-A40A-9940-A7CB-3944B8471F7B}"/>
              </a:ext>
            </a:extLst>
          </p:cNvPr>
          <p:cNvSpPr>
            <a:spLocks noGrp="1"/>
          </p:cNvSpPr>
          <p:nvPr>
            <p:ph idx="1"/>
          </p:nvPr>
        </p:nvSpPr>
        <p:spPr>
          <a:xfrm>
            <a:off x="63340" y="1128156"/>
            <a:ext cx="12017831" cy="5672694"/>
          </a:xfrm>
        </p:spPr>
        <p:txBody>
          <a:bodyPr/>
          <a:lstStyle/>
          <a:p>
            <a:pPr algn="just"/>
            <a:r>
              <a:rPr lang="en-US" sz="1700" dirty="0">
                <a:latin typeface="Optima" panose="02000503060000020004" pitchFamily="2" charset="0"/>
                <a:ea typeface="Ayuthaya" pitchFamily="2" charset="-34"/>
                <a:cs typeface="Ayuthaya" pitchFamily="2" charset="-34"/>
              </a:rPr>
              <a:t>PHC Infrastructure improvements in the Short-Term (6 months to 1 year)</a:t>
            </a:r>
          </a:p>
          <a:p>
            <a:pPr algn="just"/>
            <a:r>
              <a:rPr lang="en-US" sz="1700" dirty="0">
                <a:latin typeface="Optima" panose="02000503060000020004" pitchFamily="2" charset="0"/>
                <a:ea typeface="Ayuthaya" pitchFamily="2" charset="-34"/>
                <a:cs typeface="Ayuthaya" pitchFamily="2" charset="-34"/>
              </a:rPr>
              <a:t>At least one functional PHC per ward in implementing LGAs(</a:t>
            </a:r>
            <a:r>
              <a:rPr lang="en-US" sz="1700" dirty="0"/>
              <a:t>maternal and child care, curative care, laboratory services, community outreach in a well maintained facility with qualified  friendly staff and adequate drugs &amp; health commodities, improved referral system</a:t>
            </a:r>
            <a:endParaRPr lang="en-US" sz="1700" dirty="0">
              <a:latin typeface="Optima" panose="02000503060000020004" pitchFamily="2" charset="0"/>
              <a:ea typeface="Ayuthaya" pitchFamily="2" charset="-34"/>
              <a:cs typeface="Ayuthaya" pitchFamily="2" charset="-34"/>
            </a:endParaRPr>
          </a:p>
          <a:p>
            <a:pPr algn="just"/>
            <a:r>
              <a:rPr lang="en-US" sz="1700" dirty="0">
                <a:latin typeface="Optima" panose="02000503060000020004" pitchFamily="2" charset="0"/>
                <a:ea typeface="Ayuthaya" pitchFamily="2" charset="-34"/>
                <a:cs typeface="Ayuthaya" pitchFamily="2" charset="-34"/>
              </a:rPr>
              <a:t>Aim of revitalizing at least 2000 HFs by the end of the year</a:t>
            </a:r>
          </a:p>
          <a:p>
            <a:endParaRPr lang="en-US" dirty="0">
              <a:latin typeface="Optima" panose="02000503060000020004" pitchFamily="2" charset="0"/>
              <a:ea typeface="Ayuthaya" pitchFamily="2" charset="-34"/>
              <a:cs typeface="Ayuthaya" pitchFamily="2" charset="-34"/>
            </a:endParaRPr>
          </a:p>
          <a:p>
            <a:endParaRPr lang="en-US" dirty="0">
              <a:latin typeface="Optima" panose="02000503060000020004" pitchFamily="2" charset="0"/>
              <a:ea typeface="Ayuthaya" pitchFamily="2" charset="-34"/>
              <a:cs typeface="Ayuthaya" pitchFamily="2" charset="-34"/>
            </a:endParaRPr>
          </a:p>
        </p:txBody>
      </p:sp>
      <p:pic>
        <p:nvPicPr>
          <p:cNvPr id="4" name="Picture 3">
            <a:extLst>
              <a:ext uri="{FF2B5EF4-FFF2-40B4-BE49-F238E27FC236}">
                <a16:creationId xmlns:a16="http://schemas.microsoft.com/office/drawing/2014/main" id="{390CF588-B3E3-8C46-9423-02EE5E193B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335" y="2801929"/>
            <a:ext cx="3669565" cy="3721541"/>
          </a:xfrm>
          <a:prstGeom prst="rect">
            <a:avLst/>
          </a:prstGeom>
        </p:spPr>
      </p:pic>
      <p:pic>
        <p:nvPicPr>
          <p:cNvPr id="5" name="Content Placeholder 13">
            <a:extLst>
              <a:ext uri="{FF2B5EF4-FFF2-40B4-BE49-F238E27FC236}">
                <a16:creationId xmlns:a16="http://schemas.microsoft.com/office/drawing/2014/main" id="{28973A11-3836-9347-B12B-3017465BB63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03789" y="2801926"/>
            <a:ext cx="3693199" cy="3721544"/>
          </a:xfrm>
          <a:prstGeom prst="rect">
            <a:avLst/>
          </a:prstGeom>
        </p:spPr>
      </p:pic>
      <p:graphicFrame>
        <p:nvGraphicFramePr>
          <p:cNvPr id="7" name="Table 6">
            <a:extLst>
              <a:ext uri="{FF2B5EF4-FFF2-40B4-BE49-F238E27FC236}">
                <a16:creationId xmlns:a16="http://schemas.microsoft.com/office/drawing/2014/main" id="{560A215D-65F6-9F4B-942A-0881B7FB6E07}"/>
              </a:ext>
            </a:extLst>
          </p:cNvPr>
          <p:cNvGraphicFramePr>
            <a:graphicFrameLocks noGrp="1"/>
          </p:cNvGraphicFramePr>
          <p:nvPr>
            <p:extLst/>
          </p:nvPr>
        </p:nvGraphicFramePr>
        <p:xfrm>
          <a:off x="7617528" y="2801926"/>
          <a:ext cx="4305301" cy="3721546"/>
        </p:xfrm>
        <a:graphic>
          <a:graphicData uri="http://schemas.openxmlformats.org/drawingml/2006/table">
            <a:tbl>
              <a:tblPr firstRow="1" bandRow="1">
                <a:tableStyleId>{5C22544A-7EE6-4342-B048-85BDC9FD1C3A}</a:tableStyleId>
              </a:tblPr>
              <a:tblGrid>
                <a:gridCol w="1360220">
                  <a:extLst>
                    <a:ext uri="{9D8B030D-6E8A-4147-A177-3AD203B41FA5}">
                      <a16:colId xmlns:a16="http://schemas.microsoft.com/office/drawing/2014/main" val="3435791828"/>
                    </a:ext>
                  </a:extLst>
                </a:gridCol>
                <a:gridCol w="1694212">
                  <a:extLst>
                    <a:ext uri="{9D8B030D-6E8A-4147-A177-3AD203B41FA5}">
                      <a16:colId xmlns:a16="http://schemas.microsoft.com/office/drawing/2014/main" val="834142044"/>
                    </a:ext>
                  </a:extLst>
                </a:gridCol>
                <a:gridCol w="1250869">
                  <a:extLst>
                    <a:ext uri="{9D8B030D-6E8A-4147-A177-3AD203B41FA5}">
                      <a16:colId xmlns:a16="http://schemas.microsoft.com/office/drawing/2014/main" val="861672126"/>
                    </a:ext>
                  </a:extLst>
                </a:gridCol>
              </a:tblGrid>
              <a:tr h="1001752">
                <a:tc>
                  <a:txBody>
                    <a:bodyPr/>
                    <a:lstStyle/>
                    <a:p>
                      <a:pPr algn="l">
                        <a:lnSpc>
                          <a:spcPct val="115000"/>
                        </a:lnSpc>
                        <a:spcBef>
                          <a:spcPts val="600"/>
                        </a:spcBef>
                        <a:spcAft>
                          <a:spcPts val="0"/>
                        </a:spcAft>
                      </a:pPr>
                      <a:r>
                        <a:rPr lang="en-GB" sz="1600" dirty="0">
                          <a:effectLst/>
                          <a:latin typeface="Optima" panose="02000503060000020004" pitchFamily="2" charset="0"/>
                        </a:rPr>
                        <a:t>State</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rPr>
                        <a:t># of Contracted PHCs</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rPr>
                        <a:t># of Wards</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4721893"/>
                  </a:ext>
                </a:extLst>
              </a:tr>
              <a:tr h="333918">
                <a:tc>
                  <a:txBody>
                    <a:bodyPr/>
                    <a:lstStyle/>
                    <a:p>
                      <a:pPr algn="just">
                        <a:lnSpc>
                          <a:spcPct val="115000"/>
                        </a:lnSpc>
                        <a:spcBef>
                          <a:spcPts val="600"/>
                        </a:spcBef>
                        <a:spcAft>
                          <a:spcPts val="0"/>
                        </a:spcAft>
                      </a:pPr>
                      <a:r>
                        <a:rPr lang="en-GB" sz="1600" dirty="0">
                          <a:effectLst/>
                          <a:latin typeface="Optima" panose="02000503060000020004" pitchFamily="2" charset="0"/>
                        </a:rPr>
                        <a:t>Adamawa </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rPr>
                        <a:t>403</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rPr>
                        <a:t>226</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38430965"/>
                  </a:ext>
                </a:extLst>
              </a:tr>
              <a:tr h="333918">
                <a:tc>
                  <a:txBody>
                    <a:bodyPr/>
                    <a:lstStyle/>
                    <a:p>
                      <a:pPr algn="just">
                        <a:lnSpc>
                          <a:spcPct val="115000"/>
                        </a:lnSpc>
                        <a:spcBef>
                          <a:spcPts val="600"/>
                        </a:spcBef>
                        <a:spcAft>
                          <a:spcPts val="0"/>
                        </a:spcAft>
                      </a:pPr>
                      <a:r>
                        <a:rPr lang="en-GB" sz="1600" dirty="0" err="1">
                          <a:effectLst/>
                          <a:latin typeface="Optima" panose="02000503060000020004" pitchFamily="2" charset="0"/>
                        </a:rPr>
                        <a:t>Nasarawa</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rPr>
                        <a:t>467</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US" sz="1600" dirty="0">
                          <a:effectLst/>
                          <a:latin typeface="Optima" panose="02000503060000020004" pitchFamily="2" charset="0"/>
                          <a:ea typeface="Times New Roman" panose="02020603050405020304" pitchFamily="18" charset="0"/>
                          <a:cs typeface="Times New Roman" panose="02020603050405020304" pitchFamily="18" charset="0"/>
                        </a:rPr>
                        <a:t>147</a:t>
                      </a:r>
                    </a:p>
                  </a:txBody>
                  <a:tcPr marL="68580" marR="68580" marT="0" marB="0"/>
                </a:tc>
                <a:extLst>
                  <a:ext uri="{0D108BD9-81ED-4DB2-BD59-A6C34878D82A}">
                    <a16:rowId xmlns:a16="http://schemas.microsoft.com/office/drawing/2014/main" val="1652285262"/>
                  </a:ext>
                </a:extLst>
              </a:tr>
              <a:tr h="333918">
                <a:tc>
                  <a:txBody>
                    <a:bodyPr/>
                    <a:lstStyle/>
                    <a:p>
                      <a:pPr algn="just">
                        <a:lnSpc>
                          <a:spcPct val="115000"/>
                        </a:lnSpc>
                        <a:spcBef>
                          <a:spcPts val="600"/>
                        </a:spcBef>
                        <a:spcAft>
                          <a:spcPts val="0"/>
                        </a:spcAft>
                      </a:pPr>
                      <a:r>
                        <a:rPr lang="en-US" sz="1600" dirty="0">
                          <a:effectLst/>
                          <a:latin typeface="Optima" panose="02000503060000020004" pitchFamily="2" charset="0"/>
                          <a:ea typeface="Times New Roman" panose="02020603050405020304" pitchFamily="18" charset="0"/>
                          <a:cs typeface="Times New Roman" panose="02020603050405020304" pitchFamily="18" charset="0"/>
                        </a:rPr>
                        <a:t>Ondo</a:t>
                      </a:r>
                    </a:p>
                  </a:txBody>
                  <a:tcPr marL="68580" marR="68580" marT="0" marB="0"/>
                </a:tc>
                <a:tc>
                  <a:txBody>
                    <a:bodyPr/>
                    <a:lstStyle/>
                    <a:p>
                      <a:pPr algn="ctr">
                        <a:lnSpc>
                          <a:spcPct val="115000"/>
                        </a:lnSpc>
                        <a:spcBef>
                          <a:spcPts val="600"/>
                        </a:spcBef>
                        <a:spcAft>
                          <a:spcPts val="0"/>
                        </a:spcAft>
                      </a:pPr>
                      <a:r>
                        <a:rPr lang="en-US" sz="1600" dirty="0">
                          <a:effectLst/>
                          <a:latin typeface="Optima" panose="02000503060000020004" pitchFamily="2" charset="0"/>
                          <a:ea typeface="Times New Roman" panose="02020603050405020304" pitchFamily="18" charset="0"/>
                          <a:cs typeface="Times New Roman" panose="02020603050405020304" pitchFamily="18" charset="0"/>
                        </a:rPr>
                        <a:t>516</a:t>
                      </a:r>
                    </a:p>
                  </a:txBody>
                  <a:tcPr marL="68580" marR="68580" marT="0" marB="0"/>
                </a:tc>
                <a:tc>
                  <a:txBody>
                    <a:bodyPr/>
                    <a:lstStyle/>
                    <a:p>
                      <a:pPr algn="ctr">
                        <a:lnSpc>
                          <a:spcPct val="115000"/>
                        </a:lnSpc>
                        <a:spcBef>
                          <a:spcPts val="600"/>
                        </a:spcBef>
                        <a:spcAft>
                          <a:spcPts val="0"/>
                        </a:spcAft>
                      </a:pPr>
                      <a:r>
                        <a:rPr lang="en-US" sz="1600" dirty="0">
                          <a:effectLst/>
                          <a:latin typeface="Optima" panose="02000503060000020004" pitchFamily="2" charset="0"/>
                          <a:ea typeface="Times New Roman" panose="02020603050405020304" pitchFamily="18" charset="0"/>
                          <a:cs typeface="Times New Roman" panose="02020603050405020304" pitchFamily="18" charset="0"/>
                        </a:rPr>
                        <a:t>203</a:t>
                      </a:r>
                    </a:p>
                  </a:txBody>
                  <a:tcPr marL="68580" marR="68580" marT="0" marB="0"/>
                </a:tc>
                <a:extLst>
                  <a:ext uri="{0D108BD9-81ED-4DB2-BD59-A6C34878D82A}">
                    <a16:rowId xmlns:a16="http://schemas.microsoft.com/office/drawing/2014/main" val="3665231868"/>
                  </a:ext>
                </a:extLst>
              </a:tr>
              <a:tr h="333918">
                <a:tc>
                  <a:txBody>
                    <a:bodyPr/>
                    <a:lstStyle/>
                    <a:p>
                      <a:pPr algn="just">
                        <a:lnSpc>
                          <a:spcPct val="115000"/>
                        </a:lnSpc>
                        <a:spcBef>
                          <a:spcPts val="600"/>
                        </a:spcBef>
                        <a:spcAft>
                          <a:spcPts val="0"/>
                        </a:spcAft>
                      </a:pPr>
                      <a:r>
                        <a:rPr lang="en-GB" sz="1600">
                          <a:effectLst/>
                          <a:latin typeface="Optima" panose="02000503060000020004" pitchFamily="2" charset="0"/>
                        </a:rPr>
                        <a:t>Bauchi</a:t>
                      </a:r>
                      <a:endParaRPr lang="en-US" sz="160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ea typeface="Times New Roman" panose="02020603050405020304" pitchFamily="18" charset="0"/>
                          <a:cs typeface="Times New Roman" panose="02020603050405020304" pitchFamily="18" charset="0"/>
                        </a:rPr>
                        <a:t>133</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US" sz="1600" dirty="0">
                          <a:effectLst/>
                          <a:latin typeface="Optima" panose="02000503060000020004" pitchFamily="2" charset="0"/>
                          <a:ea typeface="Times New Roman" panose="02020603050405020304" pitchFamily="18" charset="0"/>
                          <a:cs typeface="Times New Roman" panose="02020603050405020304" pitchFamily="18" charset="0"/>
                        </a:rPr>
                        <a:t>104</a:t>
                      </a:r>
                    </a:p>
                  </a:txBody>
                  <a:tcPr marL="68580" marR="68580" marT="0" marB="0"/>
                </a:tc>
                <a:extLst>
                  <a:ext uri="{0D108BD9-81ED-4DB2-BD59-A6C34878D82A}">
                    <a16:rowId xmlns:a16="http://schemas.microsoft.com/office/drawing/2014/main" val="2638773989"/>
                  </a:ext>
                </a:extLst>
              </a:tr>
              <a:tr h="333918">
                <a:tc>
                  <a:txBody>
                    <a:bodyPr/>
                    <a:lstStyle/>
                    <a:p>
                      <a:pPr algn="just">
                        <a:lnSpc>
                          <a:spcPct val="115000"/>
                        </a:lnSpc>
                        <a:spcBef>
                          <a:spcPts val="600"/>
                        </a:spcBef>
                        <a:spcAft>
                          <a:spcPts val="0"/>
                        </a:spcAft>
                      </a:pPr>
                      <a:r>
                        <a:rPr lang="en-GB" sz="1600">
                          <a:effectLst/>
                          <a:latin typeface="Optima" panose="02000503060000020004" pitchFamily="2" charset="0"/>
                        </a:rPr>
                        <a:t>Borno</a:t>
                      </a:r>
                      <a:endParaRPr lang="en-US" sz="160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ea typeface="Times New Roman" panose="02020603050405020304" pitchFamily="18" charset="0"/>
                          <a:cs typeface="Times New Roman" panose="02020603050405020304" pitchFamily="18" charset="0"/>
                        </a:rPr>
                        <a:t>101</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US" sz="1600" dirty="0">
                          <a:effectLst/>
                          <a:latin typeface="Optima" panose="02000503060000020004" pitchFamily="2" charset="0"/>
                          <a:ea typeface="Times New Roman" panose="02020603050405020304" pitchFamily="18" charset="0"/>
                          <a:cs typeface="Times New Roman" panose="02020603050405020304" pitchFamily="18" charset="0"/>
                        </a:rPr>
                        <a:t>122</a:t>
                      </a:r>
                    </a:p>
                  </a:txBody>
                  <a:tcPr marL="68580" marR="68580" marT="0" marB="0"/>
                </a:tc>
                <a:extLst>
                  <a:ext uri="{0D108BD9-81ED-4DB2-BD59-A6C34878D82A}">
                    <a16:rowId xmlns:a16="http://schemas.microsoft.com/office/drawing/2014/main" val="2231080084"/>
                  </a:ext>
                </a:extLst>
              </a:tr>
              <a:tr h="333918">
                <a:tc>
                  <a:txBody>
                    <a:bodyPr/>
                    <a:lstStyle/>
                    <a:p>
                      <a:pPr algn="just">
                        <a:lnSpc>
                          <a:spcPct val="115000"/>
                        </a:lnSpc>
                        <a:spcBef>
                          <a:spcPts val="600"/>
                        </a:spcBef>
                        <a:spcAft>
                          <a:spcPts val="0"/>
                        </a:spcAft>
                      </a:pPr>
                      <a:r>
                        <a:rPr lang="en-GB" sz="1600">
                          <a:effectLst/>
                          <a:latin typeface="Optima" panose="02000503060000020004" pitchFamily="2" charset="0"/>
                        </a:rPr>
                        <a:t>Gombe</a:t>
                      </a:r>
                      <a:endParaRPr lang="en-US" sz="160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rPr>
                        <a:t>58</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US" sz="1600" dirty="0">
                          <a:effectLst/>
                          <a:latin typeface="Optima" panose="02000503060000020004" pitchFamily="2" charset="0"/>
                          <a:ea typeface="Times New Roman" panose="02020603050405020304" pitchFamily="18" charset="0"/>
                          <a:cs typeface="Times New Roman" panose="02020603050405020304" pitchFamily="18" charset="0"/>
                        </a:rPr>
                        <a:t>43</a:t>
                      </a:r>
                    </a:p>
                  </a:txBody>
                  <a:tcPr marL="68580" marR="68580" marT="0" marB="0"/>
                </a:tc>
                <a:extLst>
                  <a:ext uri="{0D108BD9-81ED-4DB2-BD59-A6C34878D82A}">
                    <a16:rowId xmlns:a16="http://schemas.microsoft.com/office/drawing/2014/main" val="2434711253"/>
                  </a:ext>
                </a:extLst>
              </a:tr>
              <a:tr h="333918">
                <a:tc>
                  <a:txBody>
                    <a:bodyPr/>
                    <a:lstStyle/>
                    <a:p>
                      <a:pPr algn="just">
                        <a:lnSpc>
                          <a:spcPct val="115000"/>
                        </a:lnSpc>
                        <a:spcBef>
                          <a:spcPts val="600"/>
                        </a:spcBef>
                        <a:spcAft>
                          <a:spcPts val="0"/>
                        </a:spcAft>
                      </a:pPr>
                      <a:r>
                        <a:rPr lang="en-GB" sz="1600">
                          <a:effectLst/>
                          <a:latin typeface="Optima" panose="02000503060000020004" pitchFamily="2" charset="0"/>
                        </a:rPr>
                        <a:t>Taraba</a:t>
                      </a:r>
                      <a:endParaRPr lang="en-US" sz="160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rPr>
                        <a:t>75</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US" sz="1600" dirty="0">
                          <a:effectLst/>
                          <a:latin typeface="Optima" panose="02000503060000020004" pitchFamily="2" charset="0"/>
                          <a:ea typeface="Times New Roman" panose="02020603050405020304" pitchFamily="18" charset="0"/>
                          <a:cs typeface="Times New Roman" panose="02020603050405020304" pitchFamily="18" charset="0"/>
                        </a:rPr>
                        <a:t>65</a:t>
                      </a:r>
                    </a:p>
                  </a:txBody>
                  <a:tcPr marL="68580" marR="68580" marT="0" marB="0"/>
                </a:tc>
                <a:extLst>
                  <a:ext uri="{0D108BD9-81ED-4DB2-BD59-A6C34878D82A}">
                    <a16:rowId xmlns:a16="http://schemas.microsoft.com/office/drawing/2014/main" val="1770996914"/>
                  </a:ext>
                </a:extLst>
              </a:tr>
              <a:tr h="382368">
                <a:tc>
                  <a:txBody>
                    <a:bodyPr/>
                    <a:lstStyle/>
                    <a:p>
                      <a:pPr algn="just">
                        <a:lnSpc>
                          <a:spcPct val="115000"/>
                        </a:lnSpc>
                        <a:spcBef>
                          <a:spcPts val="600"/>
                        </a:spcBef>
                        <a:spcAft>
                          <a:spcPts val="0"/>
                        </a:spcAft>
                      </a:pPr>
                      <a:r>
                        <a:rPr lang="en-GB" sz="1600" dirty="0">
                          <a:effectLst/>
                          <a:latin typeface="Optima" panose="02000503060000020004" pitchFamily="2" charset="0"/>
                        </a:rPr>
                        <a:t>Yobe</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GB" sz="1600" dirty="0">
                          <a:effectLst/>
                          <a:latin typeface="Optima" panose="02000503060000020004" pitchFamily="2" charset="0"/>
                        </a:rPr>
                        <a:t>113</a:t>
                      </a:r>
                      <a:endParaRPr lang="en-US" sz="1600" dirty="0">
                        <a:effectLst/>
                        <a:latin typeface="Optima" panose="02000503060000020004" pitchFamily="2" charset="0"/>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15000"/>
                        </a:lnSpc>
                        <a:spcBef>
                          <a:spcPts val="600"/>
                        </a:spcBef>
                        <a:spcAft>
                          <a:spcPts val="0"/>
                        </a:spcAft>
                      </a:pPr>
                      <a:r>
                        <a:rPr lang="en-US" sz="1600" dirty="0">
                          <a:effectLst/>
                          <a:latin typeface="Optima" panose="02000503060000020004" pitchFamily="2" charset="0"/>
                          <a:ea typeface="Times New Roman" panose="02020603050405020304" pitchFamily="18" charset="0"/>
                          <a:cs typeface="Times New Roman" panose="02020603050405020304" pitchFamily="18" charset="0"/>
                        </a:rPr>
                        <a:t>126</a:t>
                      </a:r>
                    </a:p>
                  </a:txBody>
                  <a:tcPr marL="68580" marR="68580" marT="0" marB="0"/>
                </a:tc>
                <a:extLst>
                  <a:ext uri="{0D108BD9-81ED-4DB2-BD59-A6C34878D82A}">
                    <a16:rowId xmlns:a16="http://schemas.microsoft.com/office/drawing/2014/main" val="1545117407"/>
                  </a:ext>
                </a:extLst>
              </a:tr>
            </a:tbl>
          </a:graphicData>
        </a:graphic>
      </p:graphicFrame>
      <p:sp>
        <p:nvSpPr>
          <p:cNvPr id="8"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marL="0" marR="0" lvl="0" indent="0" algn="r" defTabSz="912173" rtl="0" eaLnBrk="1" fontAlgn="auto" latinLnBrk="0" hangingPunct="1">
              <a:lnSpc>
                <a:spcPct val="100000"/>
              </a:lnSpc>
              <a:spcBef>
                <a:spcPts val="0"/>
              </a:spcBef>
              <a:spcAft>
                <a:spcPts val="0"/>
              </a:spcAft>
              <a:buClrTx/>
              <a:buSzTx/>
              <a:buFontTx/>
              <a:buNone/>
              <a:tabLst/>
              <a:defRPr/>
            </a:pPr>
            <a:fld id="{978E596B-AA80-4BB2-8707-B351070E738D}" type="slidenum">
              <a:rPr kumimoji="0" lang="en-US" sz="1400" b="1" i="1" u="none" strike="noStrike" kern="1200" cap="none" spc="0" normalizeH="0" baseline="0" noProof="0">
                <a:ln>
                  <a:noFill/>
                </a:ln>
                <a:solidFill>
                  <a:srgbClr val="000000"/>
                </a:solidFill>
                <a:effectLst/>
                <a:uLnTx/>
                <a:uFillTx/>
                <a:latin typeface="Calibri"/>
                <a:ea typeface="+mn-ea"/>
                <a:cs typeface="+mn-cs"/>
              </a:rPr>
              <a:pPr marL="0" marR="0" lvl="0" indent="0" algn="r" defTabSz="912173" rtl="0" eaLnBrk="1" fontAlgn="auto" latinLnBrk="0" hangingPunct="1">
                <a:lnSpc>
                  <a:spcPct val="100000"/>
                </a:lnSpc>
                <a:spcBef>
                  <a:spcPts val="0"/>
                </a:spcBef>
                <a:spcAft>
                  <a:spcPts val="0"/>
                </a:spcAft>
                <a:buClrTx/>
                <a:buSzTx/>
                <a:buFontTx/>
                <a:buNone/>
                <a:tabLst/>
                <a:defRPr/>
              </a:pPr>
              <a:t>24</a:t>
            </a:fld>
            <a:endParaRPr kumimoji="0" lang="en-US" sz="1400" b="1" i="1"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0741810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7391131" y="1076967"/>
            <a:ext cx="2224171" cy="428184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endParaRPr lang="en-US">
              <a:solidFill>
                <a:prstClr val="white"/>
              </a:solidFill>
            </a:endParaRPr>
          </a:p>
        </p:txBody>
      </p:sp>
      <p:sp>
        <p:nvSpPr>
          <p:cNvPr id="5" name="Rectangular Callout 4"/>
          <p:cNvSpPr/>
          <p:nvPr/>
        </p:nvSpPr>
        <p:spPr>
          <a:xfrm>
            <a:off x="9624436" y="934023"/>
            <a:ext cx="2486914" cy="4572000"/>
          </a:xfrm>
          <a:prstGeom prst="wedgeRectCallout">
            <a:avLst>
              <a:gd name="adj1" fmla="val -61445"/>
              <a:gd name="adj2" fmla="val -15175"/>
            </a:avLst>
          </a:prstGeom>
          <a:solidFill>
            <a:schemeClr val="bg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endParaRPr lang="en-US">
              <a:solidFill>
                <a:prstClr val="white"/>
              </a:solidFill>
            </a:endParaRPr>
          </a:p>
        </p:txBody>
      </p:sp>
      <p:graphicFrame>
        <p:nvGraphicFramePr>
          <p:cNvPr id="21" name="Object 20" hidden="1"/>
          <p:cNvGraphicFramePr>
            <a:graphicFrameLocks noChangeAspect="1"/>
          </p:cNvGraphicFramePr>
          <p:nvPr>
            <p:custDataLst>
              <p:tags r:id="rId2"/>
            </p:custDataLst>
            <p:extLst/>
          </p:nvPr>
        </p:nvGraphicFramePr>
        <p:xfrm>
          <a:off x="1525894" y="1628"/>
          <a:ext cx="1619" cy="1619"/>
        </p:xfrm>
        <a:graphic>
          <a:graphicData uri="http://schemas.openxmlformats.org/presentationml/2006/ole">
            <mc:AlternateContent xmlns:mc="http://schemas.openxmlformats.org/markup-compatibility/2006">
              <mc:Choice xmlns:v="urn:schemas-microsoft-com:vml" Requires="v">
                <p:oleObj spid="_x0000_s686090" name="think-cell Slide" r:id="rId7" imgW="524" imgH="526" progId="TCLayout.ActiveDocument.1">
                  <p:embed/>
                </p:oleObj>
              </mc:Choice>
              <mc:Fallback>
                <p:oleObj name="think-cell Slide" r:id="rId7" imgW="524" imgH="526" progId="TCLayout.ActiveDocument.1">
                  <p:embed/>
                  <p:pic>
                    <p:nvPicPr>
                      <p:cNvPr id="0" name=""/>
                      <p:cNvPicPr/>
                      <p:nvPr/>
                    </p:nvPicPr>
                    <p:blipFill>
                      <a:blip r:embed="rId8"/>
                      <a:stretch>
                        <a:fillRect/>
                      </a:stretch>
                    </p:blipFill>
                    <p:spPr>
                      <a:xfrm>
                        <a:off x="1525894" y="1628"/>
                        <a:ext cx="1619" cy="1619"/>
                      </a:xfrm>
                      <a:prstGeom prst="rect">
                        <a:avLst/>
                      </a:prstGeom>
                    </p:spPr>
                  </p:pic>
                </p:oleObj>
              </mc:Fallback>
            </mc:AlternateContent>
          </a:graphicData>
        </a:graphic>
      </p:graphicFrame>
      <p:sp>
        <p:nvSpPr>
          <p:cNvPr id="7" name="Rectangle 6" hidden="1"/>
          <p:cNvSpPr/>
          <p:nvPr>
            <p:custDataLst>
              <p:tags r:id="rId3"/>
            </p:custDataLst>
          </p:nvPr>
        </p:nvSpPr>
        <p:spPr bwMode="auto">
          <a:xfrm>
            <a:off x="1524384" y="1"/>
            <a:ext cx="161975"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300" b="1" dirty="0" err="1">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305" name="Text Placeholder 2">
            <a:extLst>
              <a:ext uri="{FF2B5EF4-FFF2-40B4-BE49-F238E27FC236}">
                <a16:creationId xmlns:a16="http://schemas.microsoft.com/office/drawing/2014/main" id="{DE64CDD1-A274-49F4-9BB8-9BFD39551E00}"/>
              </a:ext>
            </a:extLst>
          </p:cNvPr>
          <p:cNvSpPr>
            <a:spLocks noGrp="1"/>
          </p:cNvSpPr>
          <p:nvPr>
            <p:custDataLst>
              <p:tags r:id="rId4"/>
            </p:custDataLst>
          </p:nvPr>
        </p:nvSpPr>
        <p:spPr bwMode="auto">
          <a:xfrm>
            <a:off x="11145843" y="3935413"/>
            <a:ext cx="487364"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Font typeface="Arial" panose="020B0604020202020204" pitchFamily="34" charset="0"/>
              <a:buNone/>
            </a:pPr>
            <a:endParaRPr lang="en-US" sz="1300"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316" name="Text Placeholder 2">
            <a:extLst>
              <a:ext uri="{FF2B5EF4-FFF2-40B4-BE49-F238E27FC236}">
                <a16:creationId xmlns:a16="http://schemas.microsoft.com/office/drawing/2014/main" id="{1DC55363-BC00-4023-BCB9-6C89DCFEF023}"/>
              </a:ext>
            </a:extLst>
          </p:cNvPr>
          <p:cNvSpPr>
            <a:spLocks noGrp="1"/>
          </p:cNvSpPr>
          <p:nvPr>
            <p:custDataLst>
              <p:tags r:id="rId5"/>
            </p:custDataLst>
          </p:nvPr>
        </p:nvSpPr>
        <p:spPr bwMode="auto">
          <a:xfrm>
            <a:off x="11145843" y="4262439"/>
            <a:ext cx="487364"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Font typeface="Arial" panose="020B0604020202020204" pitchFamily="34" charset="0"/>
              <a:buNone/>
            </a:pPr>
            <a:endParaRPr lang="en-US" sz="1300"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30" name="Title 56">
            <a:extLst>
              <a:ext uri="{FF2B5EF4-FFF2-40B4-BE49-F238E27FC236}">
                <a16:creationId xmlns:a16="http://schemas.microsoft.com/office/drawing/2014/main" id="{66A3E321-2FF4-4D06-873D-B1C11F5ED5AD}"/>
              </a:ext>
            </a:extLst>
          </p:cNvPr>
          <p:cNvSpPr>
            <a:spLocks noGrp="1"/>
          </p:cNvSpPr>
          <p:nvPr>
            <p:ph type="title"/>
          </p:nvPr>
        </p:nvSpPr>
        <p:spPr>
          <a:xfrm>
            <a:off x="941692" y="134824"/>
            <a:ext cx="10329412" cy="596653"/>
          </a:xfrm>
        </p:spPr>
        <p:txBody>
          <a:bodyPr>
            <a:noAutofit/>
          </a:bodyPr>
          <a:lstStyle/>
          <a:p>
            <a:pPr algn="just" defTabSz="669347" fontAlgn="base">
              <a:spcAft>
                <a:spcPct val="0"/>
              </a:spcAft>
            </a:pPr>
            <a:r>
              <a:rPr lang="en-US" sz="2400" b="1" baseline="30000" dirty="0">
                <a:solidFill>
                  <a:srgbClr val="015F32"/>
                </a:solidFill>
                <a:latin typeface="Arial"/>
              </a:rPr>
              <a:t>5</a:t>
            </a:r>
            <a:r>
              <a:rPr lang="en-US" sz="2400" b="1" dirty="0">
                <a:solidFill>
                  <a:srgbClr val="015F32"/>
                </a:solidFill>
                <a:latin typeface="Arial"/>
              </a:rPr>
              <a:t>Nigeria’s immunization coverage has fluctuated significantly over the last decade</a:t>
            </a:r>
            <a:endParaRPr lang="en-GB" sz="2400" b="1" dirty="0">
              <a:solidFill>
                <a:srgbClr val="015F32"/>
              </a:solidFill>
              <a:latin typeface="Arial"/>
            </a:endParaRPr>
          </a:p>
        </p:txBody>
      </p:sp>
      <p:sp>
        <p:nvSpPr>
          <p:cNvPr id="4" name="TextBox 3"/>
          <p:cNvSpPr txBox="1"/>
          <p:nvPr/>
        </p:nvSpPr>
        <p:spPr>
          <a:xfrm>
            <a:off x="9615303" y="957874"/>
            <a:ext cx="2486914" cy="4524271"/>
          </a:xfrm>
          <a:prstGeom prst="rect">
            <a:avLst/>
          </a:prstGeom>
          <a:noFill/>
        </p:spPr>
        <p:txBody>
          <a:bodyPr wrap="square" lIns="91384" tIns="45698" rIns="91384" bIns="45698" rtlCol="0">
            <a:spAutoFit/>
          </a:bodyPr>
          <a:lstStyle/>
          <a:p>
            <a:pPr marL="285569" indent="-285569">
              <a:buFont typeface="Arial" panose="020B0604020202020204" pitchFamily="34" charset="0"/>
              <a:buChar char="•"/>
            </a:pPr>
            <a:r>
              <a:rPr lang="en-US" sz="1800" dirty="0">
                <a:solidFill>
                  <a:prstClr val="black"/>
                </a:solidFill>
              </a:rPr>
              <a:t>This dismal performance had largely been </a:t>
            </a:r>
            <a:r>
              <a:rPr lang="en-US" sz="1800" b="1" dirty="0">
                <a:solidFill>
                  <a:prstClr val="black"/>
                </a:solidFill>
              </a:rPr>
              <a:t>masked by high reported administrative coverage results</a:t>
            </a:r>
          </a:p>
          <a:p>
            <a:pPr marL="285569" indent="-285569">
              <a:buFont typeface="Arial" panose="020B0604020202020204" pitchFamily="34" charset="0"/>
              <a:buChar char="•"/>
            </a:pPr>
            <a:endParaRPr lang="en-US" sz="1800" dirty="0">
              <a:solidFill>
                <a:prstClr val="black"/>
              </a:solidFill>
            </a:endParaRPr>
          </a:p>
          <a:p>
            <a:pPr marL="285569" indent="-285569">
              <a:buFont typeface="Arial" panose="020B0604020202020204" pitchFamily="34" charset="0"/>
              <a:buChar char="•"/>
            </a:pPr>
            <a:r>
              <a:rPr lang="en-US" sz="1800" dirty="0">
                <a:solidFill>
                  <a:prstClr val="black"/>
                </a:solidFill>
              </a:rPr>
              <a:t>Measuring progress using administrative data had also masked immunization system deficiencies </a:t>
            </a:r>
            <a:r>
              <a:rPr lang="en-US" sz="1800" b="1" dirty="0">
                <a:solidFill>
                  <a:prstClr val="black"/>
                </a:solidFill>
              </a:rPr>
              <a:t>resulting in a vicious cycle of poor routine immunization performance</a:t>
            </a:r>
          </a:p>
        </p:txBody>
      </p:sp>
      <p:sp>
        <p:nvSpPr>
          <p:cNvPr id="10" name="TextBox 9"/>
          <p:cNvSpPr txBox="1"/>
          <p:nvPr/>
        </p:nvSpPr>
        <p:spPr>
          <a:xfrm>
            <a:off x="535753" y="5656314"/>
            <a:ext cx="11566467" cy="677064"/>
          </a:xfrm>
          <a:prstGeom prst="rect">
            <a:avLst/>
          </a:prstGeom>
          <a:solidFill>
            <a:schemeClr val="accent6">
              <a:lumMod val="20000"/>
              <a:lumOff val="80000"/>
            </a:schemeClr>
          </a:solidFill>
          <a:ln w="38100">
            <a:solidFill>
              <a:schemeClr val="accent6">
                <a:lumMod val="60000"/>
                <a:lumOff val="40000"/>
              </a:schemeClr>
            </a:solidFill>
          </a:ln>
          <a:effectLst>
            <a:outerShdw blurRad="50800" dist="38100" dir="13500000" algn="br" rotWithShape="0">
              <a:prstClr val="black">
                <a:alpha val="40000"/>
              </a:prstClr>
            </a:outerShdw>
            <a:softEdge rad="31750"/>
          </a:effectLst>
        </p:spPr>
        <p:txBody>
          <a:bodyPr wrap="square" lIns="91384" tIns="45698" rIns="91384" bIns="45698" rtlCol="0">
            <a:spAutoFit/>
          </a:bodyPr>
          <a:lstStyle/>
          <a:p>
            <a:r>
              <a:rPr lang="en-US" b="1" dirty="0">
                <a:solidFill>
                  <a:prstClr val="black"/>
                </a:solidFill>
              </a:rPr>
              <a:t>The National Primary Health Care Development Agency responded to the results of the 2016 NICS/MICS in a most significant way by the establishment of national and states coordinating platforms for Routine Immunization</a:t>
            </a:r>
          </a:p>
        </p:txBody>
      </p:sp>
      <p:pic>
        <p:nvPicPr>
          <p:cNvPr id="35" name="Picture 34">
            <a:extLst>
              <a:ext uri="{FF2B5EF4-FFF2-40B4-BE49-F238E27FC236}">
                <a16:creationId xmlns:a16="http://schemas.microsoft.com/office/drawing/2014/main" id="{5226DE71-6F18-429D-99CF-237CA0DC0022}"/>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5747" y="1076971"/>
            <a:ext cx="6524162" cy="4217823"/>
          </a:xfrm>
          <a:prstGeom prst="rect">
            <a:avLst/>
          </a:prstGeom>
          <a:solidFill>
            <a:schemeClr val="bg1"/>
          </a:solidFill>
        </p:spPr>
      </p:pic>
      <p:sp>
        <p:nvSpPr>
          <p:cNvPr id="2" name="Rectangle 1"/>
          <p:cNvSpPr/>
          <p:nvPr/>
        </p:nvSpPr>
        <p:spPr>
          <a:xfrm>
            <a:off x="6103397" y="976729"/>
            <a:ext cx="1111623" cy="4382080"/>
          </a:xfrm>
          <a:prstGeom prst="rect">
            <a:avLst/>
          </a:prstGeom>
          <a:noFill/>
          <a:ln w="28575">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endParaRPr lang="en-US">
              <a:solidFill>
                <a:prstClr val="white"/>
              </a:solidFill>
            </a:endParaRPr>
          </a:p>
        </p:txBody>
      </p:sp>
      <p:sp>
        <p:nvSpPr>
          <p:cNvPr id="9" name="Rectangle 8"/>
          <p:cNvSpPr/>
          <p:nvPr/>
        </p:nvSpPr>
        <p:spPr>
          <a:xfrm>
            <a:off x="7543524" y="1331490"/>
            <a:ext cx="1825688" cy="3951807"/>
          </a:xfrm>
          <a:prstGeom prst="rect">
            <a:avLst/>
          </a:prstGeom>
        </p:spPr>
        <p:txBody>
          <a:bodyPr wrap="square" lIns="91384" tIns="45698" rIns="91384" bIns="45698">
            <a:spAutoFit/>
          </a:bodyPr>
          <a:lstStyle/>
          <a:p>
            <a:pPr>
              <a:lnSpc>
                <a:spcPct val="120000"/>
              </a:lnSpc>
            </a:pPr>
            <a:r>
              <a:rPr lang="en-US" dirty="0">
                <a:solidFill>
                  <a:prstClr val="black"/>
                </a:solidFill>
                <a:cs typeface="Candara"/>
              </a:rPr>
              <a:t>The 2016/2017 MICS/NICS report showed a very poor RI performance (</a:t>
            </a:r>
            <a:r>
              <a:rPr lang="en-US" i="1" dirty="0">
                <a:solidFill>
                  <a:srgbClr val="000000"/>
                </a:solidFill>
                <a:cs typeface="Candara"/>
              </a:rPr>
              <a:t>National </a:t>
            </a:r>
            <a:r>
              <a:rPr lang="en-US" i="1" dirty="0" err="1">
                <a:solidFill>
                  <a:srgbClr val="000000"/>
                </a:solidFill>
                <a:cs typeface="Candara"/>
              </a:rPr>
              <a:t>Penta</a:t>
            </a:r>
            <a:r>
              <a:rPr lang="en-US" i="1" dirty="0">
                <a:solidFill>
                  <a:srgbClr val="000000"/>
                </a:solidFill>
                <a:cs typeface="Candara"/>
              </a:rPr>
              <a:t> 3 coverage of 33%, against the 2015 admin coverage of 98%)</a:t>
            </a:r>
          </a:p>
        </p:txBody>
      </p:sp>
      <p:sp>
        <p:nvSpPr>
          <p:cNvPr id="15"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25</a:t>
            </a:fld>
            <a:endParaRPr lang="en-US" sz="1400" b="1" dirty="0">
              <a:solidFill>
                <a:schemeClr val="bg1"/>
              </a:solidFill>
            </a:endParaRPr>
          </a:p>
        </p:txBody>
      </p:sp>
    </p:spTree>
    <p:extLst>
      <p:ext uri="{BB962C8B-B14F-4D97-AF65-F5344CB8AC3E}">
        <p14:creationId xmlns:p14="http://schemas.microsoft.com/office/powerpoint/2010/main" val="18689546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25590" y="1595"/>
          <a:ext cx="1586" cy="1587"/>
        </p:xfrm>
        <a:graphic>
          <a:graphicData uri="http://schemas.openxmlformats.org/presentationml/2006/ole">
            <mc:AlternateContent xmlns:mc="http://schemas.openxmlformats.org/markup-compatibility/2006">
              <mc:Choice xmlns:v="urn:schemas-microsoft-com:vml" Requires="v">
                <p:oleObj spid="_x0000_s687114" name="think-cell Slide" r:id="rId5" imgW="420" imgH="430" progId="TCLayout.ActiveDocument.1">
                  <p:embed/>
                </p:oleObj>
              </mc:Choice>
              <mc:Fallback>
                <p:oleObj name="think-cell Slide" r:id="rId5" imgW="420" imgH="430" progId="TCLayout.ActiveDocument.1">
                  <p:embed/>
                  <p:pic>
                    <p:nvPicPr>
                      <p:cNvPr id="0" name=""/>
                      <p:cNvPicPr/>
                      <p:nvPr/>
                    </p:nvPicPr>
                    <p:blipFill>
                      <a:blip r:embed="rId6"/>
                      <a:stretch>
                        <a:fillRect/>
                      </a:stretch>
                    </p:blipFill>
                    <p:spPr>
                      <a:xfrm>
                        <a:off x="1525590" y="1595"/>
                        <a:ext cx="158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92FDCB-1067-452D-8427-27414EEE16BA}"/>
              </a:ext>
            </a:extLst>
          </p:cNvPr>
          <p:cNvSpPr/>
          <p:nvPr>
            <p:custDataLst>
              <p:tags r:id="rId3"/>
            </p:custDataLst>
          </p:nvPr>
        </p:nvSpPr>
        <p:spPr>
          <a:xfrm>
            <a:off x="1524029" y="14"/>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46" name="Rounded Rectangle 7">
            <a:extLst>
              <a:ext uri="{FF2B5EF4-FFF2-40B4-BE49-F238E27FC236}">
                <a16:creationId xmlns:a16="http://schemas.microsoft.com/office/drawing/2014/main" id="{0D7B572F-345D-46C3-B9A7-C0C66750EFB0}"/>
              </a:ext>
            </a:extLst>
          </p:cNvPr>
          <p:cNvSpPr/>
          <p:nvPr/>
        </p:nvSpPr>
        <p:spPr>
          <a:xfrm>
            <a:off x="304801" y="2630848"/>
            <a:ext cx="11582403" cy="3725928"/>
          </a:xfrm>
          <a:prstGeom prst="roundRect">
            <a:avLst/>
          </a:prstGeom>
          <a:solidFill>
            <a:srgbClr val="008000">
              <a:alpha val="23000"/>
            </a:srgbClr>
          </a:solidFill>
          <a:ln w="9525" cap="flat" cmpd="sng" algn="ctr">
            <a:solidFill>
              <a:srgbClr val="808080"/>
            </a:solidFill>
            <a:prstDash val="solid"/>
          </a:ln>
          <a:effectLst/>
        </p:spPr>
        <p:txBody>
          <a:bodyPr lIns="91384" tIns="45698" rIns="91384" bIns="45698" rtlCol="0" anchor="ctr"/>
          <a:lstStyle/>
          <a:p>
            <a:pPr algn="ctr" defTabSz="932352" fontAlgn="base">
              <a:spcBef>
                <a:spcPct val="0"/>
              </a:spcBef>
              <a:spcAft>
                <a:spcPct val="0"/>
              </a:spcAft>
              <a:defRPr/>
            </a:pPr>
            <a:endParaRPr lang="en-GB" sz="1600" kern="0" dirty="0" err="1">
              <a:solidFill>
                <a:srgbClr val="1F1F1F"/>
              </a:solidFill>
              <a:latin typeface="Arial"/>
            </a:endParaRPr>
          </a:p>
        </p:txBody>
      </p:sp>
      <p:sp>
        <p:nvSpPr>
          <p:cNvPr id="51" name="TextBox 50">
            <a:extLst>
              <a:ext uri="{FF2B5EF4-FFF2-40B4-BE49-F238E27FC236}">
                <a16:creationId xmlns:a16="http://schemas.microsoft.com/office/drawing/2014/main" id="{DD6A66D5-2965-4DA9-8A22-C3AB04068F6A}"/>
              </a:ext>
            </a:extLst>
          </p:cNvPr>
          <p:cNvSpPr txBox="1"/>
          <p:nvPr/>
        </p:nvSpPr>
        <p:spPr>
          <a:xfrm>
            <a:off x="4097002" y="762581"/>
            <a:ext cx="3841062" cy="1938948"/>
          </a:xfrm>
          <a:prstGeom prst="rect">
            <a:avLst/>
          </a:prstGeom>
          <a:solidFill>
            <a:schemeClr val="bg1">
              <a:lumMod val="95000"/>
            </a:schemeClr>
          </a:solidFill>
        </p:spPr>
        <p:txBody>
          <a:bodyPr wrap="square" lIns="91384" tIns="45698" rIns="91384" bIns="45698" rtlCol="0">
            <a:spAutoFit/>
          </a:bodyPr>
          <a:lstStyle/>
          <a:p>
            <a:pPr defTabSz="932352" fontAlgn="base">
              <a:spcBef>
                <a:spcPct val="0"/>
              </a:spcBef>
              <a:spcAft>
                <a:spcPct val="0"/>
              </a:spcAft>
            </a:pPr>
            <a:r>
              <a:rPr lang="en-AU" sz="1500" dirty="0">
                <a:solidFill>
                  <a:srgbClr val="1F1F1F"/>
                </a:solidFill>
                <a:latin typeface="Arial" charset="0"/>
              </a:rPr>
              <a:t>A </a:t>
            </a:r>
            <a:r>
              <a:rPr lang="en-AU" sz="1500" b="1" dirty="0">
                <a:solidFill>
                  <a:srgbClr val="077F38"/>
                </a:solidFill>
                <a:latin typeface="Arial" charset="0"/>
              </a:rPr>
              <a:t>Declaration of State of public health concern on Routine Immunization Program </a:t>
            </a:r>
            <a:r>
              <a:rPr lang="en-AU" sz="1500" dirty="0">
                <a:solidFill>
                  <a:srgbClr val="1F1F1F"/>
                </a:solidFill>
                <a:latin typeface="Arial" charset="0"/>
              </a:rPr>
              <a:t>was made on June 17 with a decision to establish the National Emergency Routine Immunization Coordination Centre (NERICC). NERICC was inaugurated on the 4</a:t>
            </a:r>
            <a:r>
              <a:rPr lang="en-AU" sz="1500" baseline="30000" dirty="0">
                <a:solidFill>
                  <a:srgbClr val="1F1F1F"/>
                </a:solidFill>
                <a:latin typeface="Arial" charset="0"/>
              </a:rPr>
              <a:t>th</a:t>
            </a:r>
            <a:r>
              <a:rPr lang="en-AU" sz="1500" dirty="0">
                <a:solidFill>
                  <a:srgbClr val="1F1F1F"/>
                </a:solidFill>
                <a:latin typeface="Arial" charset="0"/>
              </a:rPr>
              <a:t> of July 2017 and has been meeting daily ever since.</a:t>
            </a:r>
            <a:endParaRPr lang="en-AU" sz="1500" b="1" dirty="0">
              <a:solidFill>
                <a:srgbClr val="077F38"/>
              </a:solidFill>
              <a:latin typeface="Arial" charset="0"/>
            </a:endParaRPr>
          </a:p>
        </p:txBody>
      </p:sp>
      <p:sp>
        <p:nvSpPr>
          <p:cNvPr id="52" name="Rounded Rectangle 6">
            <a:extLst>
              <a:ext uri="{FF2B5EF4-FFF2-40B4-BE49-F238E27FC236}">
                <a16:creationId xmlns:a16="http://schemas.microsoft.com/office/drawing/2014/main" id="{8C6CC702-6978-476F-8276-89774264D3E3}"/>
              </a:ext>
            </a:extLst>
          </p:cNvPr>
          <p:cNvSpPr/>
          <p:nvPr/>
        </p:nvSpPr>
        <p:spPr>
          <a:xfrm>
            <a:off x="3520602" y="2524796"/>
            <a:ext cx="5090017" cy="472391"/>
          </a:xfrm>
          <a:prstGeom prst="roundRect">
            <a:avLst/>
          </a:prstGeom>
          <a:solidFill>
            <a:srgbClr val="FFFFFF"/>
          </a:solidFill>
          <a:ln w="9525" cap="flat" cmpd="sng" algn="ctr">
            <a:solidFill>
              <a:srgbClr val="008000"/>
            </a:solidFill>
            <a:prstDash val="solid"/>
          </a:ln>
          <a:effectLst>
            <a:outerShdw blurRad="50800" dist="38100" dir="5400000" algn="t" rotWithShape="0">
              <a:prstClr val="black">
                <a:alpha val="40000"/>
              </a:prstClr>
            </a:outerShdw>
          </a:effectLst>
        </p:spPr>
        <p:txBody>
          <a:bodyPr lIns="91384" tIns="45698" rIns="91384" bIns="45698" rtlCol="0" anchor="ctr"/>
          <a:lstStyle/>
          <a:p>
            <a:pPr algn="ctr" defTabSz="932352" fontAlgn="base">
              <a:spcBef>
                <a:spcPct val="0"/>
              </a:spcBef>
              <a:spcAft>
                <a:spcPct val="0"/>
              </a:spcAft>
              <a:defRPr/>
            </a:pPr>
            <a:r>
              <a:rPr lang="en-GB" sz="1600" b="1" kern="0" dirty="0">
                <a:solidFill>
                  <a:srgbClr val="077F38"/>
                </a:solidFill>
                <a:latin typeface="Arial"/>
              </a:rPr>
              <a:t>Vision, Goal and Objectives</a:t>
            </a:r>
          </a:p>
        </p:txBody>
      </p:sp>
      <p:sp>
        <p:nvSpPr>
          <p:cNvPr id="53" name="Rectangle 52">
            <a:extLst>
              <a:ext uri="{FF2B5EF4-FFF2-40B4-BE49-F238E27FC236}">
                <a16:creationId xmlns:a16="http://schemas.microsoft.com/office/drawing/2014/main" id="{4B9A9269-12ED-4A08-82C9-BB1F4D9294ED}"/>
              </a:ext>
            </a:extLst>
          </p:cNvPr>
          <p:cNvSpPr/>
          <p:nvPr/>
        </p:nvSpPr>
        <p:spPr>
          <a:xfrm>
            <a:off x="522514" y="2819614"/>
            <a:ext cx="11266714" cy="3554775"/>
          </a:xfrm>
          <a:prstGeom prst="rect">
            <a:avLst/>
          </a:prstGeom>
        </p:spPr>
        <p:txBody>
          <a:bodyPr wrap="square" lIns="91384" tIns="45698" rIns="91384" bIns="45698">
            <a:spAutoFit/>
          </a:bodyPr>
          <a:lstStyle/>
          <a:p>
            <a:pPr defTabSz="932352" fontAlgn="base">
              <a:lnSpc>
                <a:spcPct val="150000"/>
              </a:lnSpc>
              <a:spcBef>
                <a:spcPct val="0"/>
              </a:spcBef>
              <a:spcAft>
                <a:spcPct val="0"/>
              </a:spcAft>
            </a:pPr>
            <a:r>
              <a:rPr lang="en-GB" sz="1500" b="1" dirty="0">
                <a:solidFill>
                  <a:srgbClr val="077F38"/>
                </a:solidFill>
                <a:latin typeface="Arial" charset="0"/>
              </a:rPr>
              <a:t>Vision</a:t>
            </a:r>
            <a:endParaRPr lang="en-GB" sz="1500" dirty="0">
              <a:solidFill>
                <a:srgbClr val="1F1F1F"/>
              </a:solidFill>
              <a:latin typeface="Arial" charset="0"/>
            </a:endParaRPr>
          </a:p>
          <a:p>
            <a:pPr defTabSz="932352" fontAlgn="base">
              <a:spcBef>
                <a:spcPct val="0"/>
              </a:spcBef>
              <a:spcAft>
                <a:spcPct val="0"/>
              </a:spcAft>
            </a:pPr>
            <a:r>
              <a:rPr lang="en-GB" sz="1500" dirty="0">
                <a:solidFill>
                  <a:srgbClr val="1F1F1F"/>
                </a:solidFill>
                <a:latin typeface="Arial" charset="0"/>
              </a:rPr>
              <a:t>To achieve greater than 80% immunization coverage for </a:t>
            </a:r>
            <a:r>
              <a:rPr lang="en-GB" sz="1500" b="1" dirty="0">
                <a:solidFill>
                  <a:srgbClr val="1F1F1F"/>
                </a:solidFill>
                <a:latin typeface="Arial" charset="0"/>
              </a:rPr>
              <a:t>ALL</a:t>
            </a:r>
            <a:r>
              <a:rPr lang="en-GB" sz="1500" dirty="0">
                <a:solidFill>
                  <a:srgbClr val="1F1F1F"/>
                </a:solidFill>
                <a:latin typeface="Arial" charset="0"/>
              </a:rPr>
              <a:t> antigens in Nigeria</a:t>
            </a:r>
          </a:p>
          <a:p>
            <a:pPr defTabSz="932352" fontAlgn="base">
              <a:spcBef>
                <a:spcPct val="0"/>
              </a:spcBef>
              <a:spcAft>
                <a:spcPct val="0"/>
              </a:spcAft>
            </a:pPr>
            <a:endParaRPr lang="en-GB" sz="1500" dirty="0">
              <a:solidFill>
                <a:srgbClr val="1F1F1F"/>
              </a:solidFill>
              <a:latin typeface="Arial" charset="0"/>
            </a:endParaRPr>
          </a:p>
          <a:p>
            <a:pPr defTabSz="932352" fontAlgn="base">
              <a:lnSpc>
                <a:spcPct val="150000"/>
              </a:lnSpc>
              <a:spcBef>
                <a:spcPct val="0"/>
              </a:spcBef>
              <a:spcAft>
                <a:spcPct val="0"/>
              </a:spcAft>
            </a:pPr>
            <a:r>
              <a:rPr lang="en-GB" sz="1500" b="1" dirty="0">
                <a:solidFill>
                  <a:srgbClr val="077F38"/>
                </a:solidFill>
                <a:latin typeface="Arial" charset="0"/>
              </a:rPr>
              <a:t>Goal</a:t>
            </a:r>
            <a:r>
              <a:rPr lang="en-GB" sz="1500" dirty="0">
                <a:solidFill>
                  <a:srgbClr val="1F1F1F"/>
                </a:solidFill>
                <a:latin typeface="Arial" charset="0"/>
              </a:rPr>
              <a:t> </a:t>
            </a:r>
          </a:p>
          <a:p>
            <a:pPr algn="just" defTabSz="932352" fontAlgn="base">
              <a:spcBef>
                <a:spcPct val="0"/>
              </a:spcBef>
              <a:spcAft>
                <a:spcPct val="0"/>
              </a:spcAft>
            </a:pPr>
            <a:r>
              <a:rPr lang="en-GB" sz="1500" dirty="0">
                <a:solidFill>
                  <a:srgbClr val="1F1F1F"/>
                </a:solidFill>
                <a:latin typeface="Arial" charset="0"/>
              </a:rPr>
              <a:t>To provide a national and sub-national coordination mechanism to manage the full implementation of the routine immunization programs, strategies and other recommendations of various expert committees towards achieving routine immunization coverage </a:t>
            </a:r>
            <a:r>
              <a:rPr lang="en-GB" sz="1500" b="1" dirty="0">
                <a:solidFill>
                  <a:srgbClr val="1F1F1F"/>
                </a:solidFill>
                <a:latin typeface="Arial" charset="0"/>
              </a:rPr>
              <a:t>&gt;80% by 2028 </a:t>
            </a:r>
            <a:r>
              <a:rPr lang="en-GB" sz="1500" dirty="0">
                <a:solidFill>
                  <a:srgbClr val="1F1F1F"/>
                </a:solidFill>
                <a:latin typeface="Arial" charset="0"/>
              </a:rPr>
              <a:t>for </a:t>
            </a:r>
            <a:r>
              <a:rPr lang="en-GB" sz="1500" b="1" dirty="0">
                <a:solidFill>
                  <a:srgbClr val="1F1F1F"/>
                </a:solidFill>
                <a:latin typeface="Arial" charset="0"/>
              </a:rPr>
              <a:t>ALL</a:t>
            </a:r>
            <a:r>
              <a:rPr lang="en-GB" sz="1500" dirty="0">
                <a:solidFill>
                  <a:srgbClr val="1F1F1F"/>
                </a:solidFill>
                <a:latin typeface="Arial" charset="0"/>
              </a:rPr>
              <a:t> antigens at national, states and LGAs levels</a:t>
            </a:r>
          </a:p>
          <a:p>
            <a:pPr algn="just" defTabSz="932352" fontAlgn="base">
              <a:spcBef>
                <a:spcPct val="0"/>
              </a:spcBef>
              <a:spcAft>
                <a:spcPct val="0"/>
              </a:spcAft>
            </a:pPr>
            <a:endParaRPr lang="en-GB" sz="1500" b="1" dirty="0">
              <a:solidFill>
                <a:srgbClr val="1F1F1F"/>
              </a:solidFill>
              <a:latin typeface="Arial" charset="0"/>
            </a:endParaRPr>
          </a:p>
          <a:p>
            <a:pPr algn="just" defTabSz="932352" fontAlgn="base">
              <a:spcBef>
                <a:spcPct val="0"/>
              </a:spcBef>
              <a:spcAft>
                <a:spcPct val="0"/>
              </a:spcAft>
            </a:pPr>
            <a:r>
              <a:rPr lang="en-GB" sz="1500" b="1" dirty="0">
                <a:solidFill>
                  <a:srgbClr val="077F38"/>
                </a:solidFill>
                <a:latin typeface="Arial" charset="0"/>
              </a:rPr>
              <a:t>Objectives</a:t>
            </a:r>
            <a:r>
              <a:rPr lang="en-GB" sz="1500" dirty="0">
                <a:solidFill>
                  <a:srgbClr val="1F1F1F"/>
                </a:solidFill>
                <a:latin typeface="Arial" charset="0"/>
              </a:rPr>
              <a:t> </a:t>
            </a:r>
          </a:p>
          <a:p>
            <a:pPr marL="349640" indent="-349640" defTabSz="932352" fontAlgn="base">
              <a:spcBef>
                <a:spcPct val="0"/>
              </a:spcBef>
              <a:spcAft>
                <a:spcPct val="0"/>
              </a:spcAft>
              <a:buFont typeface="+mj-lt"/>
              <a:buAutoNum type="arabicPeriod"/>
            </a:pPr>
            <a:r>
              <a:rPr lang="en-GB" sz="1500" dirty="0">
                <a:solidFill>
                  <a:srgbClr val="1F1F1F"/>
                </a:solidFill>
                <a:latin typeface="Arial" charset="0"/>
              </a:rPr>
              <a:t>Improve detection and responsiveness in the resolution of RI gaps</a:t>
            </a:r>
          </a:p>
          <a:p>
            <a:pPr marL="349640" indent="-349640" defTabSz="932352" fontAlgn="base">
              <a:spcBef>
                <a:spcPct val="0"/>
              </a:spcBef>
              <a:spcAft>
                <a:spcPct val="0"/>
              </a:spcAft>
              <a:buFont typeface="+mj-lt"/>
              <a:buAutoNum type="arabicPeriod"/>
            </a:pPr>
            <a:r>
              <a:rPr lang="en-GB" sz="1500" dirty="0">
                <a:solidFill>
                  <a:srgbClr val="1F1F1F"/>
                </a:solidFill>
                <a:latin typeface="Arial" charset="0"/>
              </a:rPr>
              <a:t>Strengthen leadership and accountability</a:t>
            </a:r>
          </a:p>
          <a:p>
            <a:pPr marL="349640" indent="-349640" defTabSz="932352" fontAlgn="base">
              <a:spcBef>
                <a:spcPct val="0"/>
              </a:spcBef>
              <a:spcAft>
                <a:spcPct val="0"/>
              </a:spcAft>
              <a:buFont typeface="+mj-lt"/>
              <a:buAutoNum type="arabicPeriod"/>
            </a:pPr>
            <a:r>
              <a:rPr lang="en-GB" sz="1500" dirty="0">
                <a:solidFill>
                  <a:srgbClr val="1F1F1F"/>
                </a:solidFill>
                <a:latin typeface="Arial" charset="0"/>
              </a:rPr>
              <a:t>Strengthen coordination</a:t>
            </a:r>
          </a:p>
          <a:p>
            <a:pPr marL="349640" indent="-349640" defTabSz="932352" fontAlgn="base">
              <a:spcBef>
                <a:spcPct val="0"/>
              </a:spcBef>
              <a:spcAft>
                <a:spcPct val="0"/>
              </a:spcAft>
              <a:buFont typeface="+mj-lt"/>
              <a:buAutoNum type="arabicPeriod"/>
            </a:pPr>
            <a:r>
              <a:rPr lang="en-GB" sz="1500" dirty="0">
                <a:solidFill>
                  <a:srgbClr val="1F1F1F"/>
                </a:solidFill>
                <a:latin typeface="Arial" charset="0"/>
              </a:rPr>
              <a:t>Increase data visibility, quality and use for action at all levels</a:t>
            </a:r>
          </a:p>
          <a:p>
            <a:pPr marL="349640" indent="-349640" defTabSz="932352" fontAlgn="base">
              <a:spcBef>
                <a:spcPct val="0"/>
              </a:spcBef>
              <a:spcAft>
                <a:spcPct val="0"/>
              </a:spcAft>
              <a:buFont typeface="+mj-lt"/>
              <a:buAutoNum type="arabicPeriod"/>
            </a:pPr>
            <a:r>
              <a:rPr lang="en-GB" sz="1500" dirty="0">
                <a:solidFill>
                  <a:srgbClr val="1F1F1F"/>
                </a:solidFill>
                <a:latin typeface="Arial" charset="0"/>
              </a:rPr>
              <a:t>Increase fixed and outreach services for immunization especially in the very low performing states</a:t>
            </a:r>
            <a:endParaRPr lang="en-US" sz="1500" dirty="0">
              <a:solidFill>
                <a:srgbClr val="1F1F1F"/>
              </a:solidFill>
              <a:latin typeface="Arial" charset="0"/>
            </a:endParaRPr>
          </a:p>
        </p:txBody>
      </p:sp>
      <p:sp>
        <p:nvSpPr>
          <p:cNvPr id="55" name="Title 1">
            <a:extLst>
              <a:ext uri="{FF2B5EF4-FFF2-40B4-BE49-F238E27FC236}">
                <a16:creationId xmlns:a16="http://schemas.microsoft.com/office/drawing/2014/main" id="{B9826942-F8E7-4AEE-AEE0-FA2D9E227CE0}"/>
              </a:ext>
            </a:extLst>
          </p:cNvPr>
          <p:cNvSpPr>
            <a:spLocks noGrp="1"/>
          </p:cNvSpPr>
          <p:nvPr>
            <p:ph type="title"/>
          </p:nvPr>
        </p:nvSpPr>
        <p:spPr>
          <a:xfrm>
            <a:off x="979714" y="-234"/>
            <a:ext cx="10428516" cy="701686"/>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84" tIns="45698" rIns="91384" bIns="45698" rtlCol="0" anchor="ctr">
            <a:spAutoFit/>
          </a:bodyPr>
          <a:lstStyle/>
          <a:p>
            <a:r>
              <a:rPr lang="en-US" sz="2200" b="1" baseline="30000" dirty="0">
                <a:solidFill>
                  <a:srgbClr val="015F32"/>
                </a:solidFill>
                <a:latin typeface="Arial"/>
              </a:rPr>
              <a:t>5</a:t>
            </a:r>
            <a:r>
              <a:rPr lang="en-US" sz="2200" b="1" dirty="0">
                <a:solidFill>
                  <a:srgbClr val="204024"/>
                </a:solidFill>
                <a:latin typeface="Arial" panose="020B0604020202020204" pitchFamily="34" charset="0"/>
                <a:cs typeface="Arial" panose="020B0604020202020204" pitchFamily="34" charset="0"/>
              </a:rPr>
              <a:t>NPHCDA established and institutionalized the NERICC to drive rapid and sustainable improvements in immunization coverage in Nigeria</a:t>
            </a:r>
          </a:p>
        </p:txBody>
      </p:sp>
      <p:pic>
        <p:nvPicPr>
          <p:cNvPr id="10" name="Picture 9">
            <a:extLst>
              <a:ext uri="{FF2B5EF4-FFF2-40B4-BE49-F238E27FC236}">
                <a16:creationId xmlns:a16="http://schemas.microsoft.com/office/drawing/2014/main" id="{9E842F78-4B6A-43A4-85E0-803BA06D127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4324" y="596456"/>
            <a:ext cx="3178914" cy="1934504"/>
          </a:xfrm>
          <a:prstGeom prst="rect">
            <a:avLst/>
          </a:prstGeom>
          <a:ln>
            <a:noFill/>
          </a:ln>
          <a:effectLst>
            <a:softEdge rad="112500"/>
          </a:effectLst>
        </p:spPr>
      </p:pic>
      <p:pic>
        <p:nvPicPr>
          <p:cNvPr id="11" name="Picture 10">
            <a:extLst>
              <a:ext uri="{FF2B5EF4-FFF2-40B4-BE49-F238E27FC236}">
                <a16:creationId xmlns:a16="http://schemas.microsoft.com/office/drawing/2014/main" id="{09CC03F1-A644-4CC0-8DD0-54855B5B97C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14302" y="596456"/>
            <a:ext cx="3268645" cy="1934504"/>
          </a:xfrm>
          <a:prstGeom prst="rect">
            <a:avLst/>
          </a:prstGeom>
          <a:ln>
            <a:noFill/>
          </a:ln>
          <a:effectLst>
            <a:softEdge rad="112500"/>
          </a:effectLst>
        </p:spPr>
      </p:pic>
      <p:sp>
        <p:nvSpPr>
          <p:cNvPr id="12"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26</a:t>
            </a:fld>
            <a:endParaRPr lang="en-US" sz="1400" b="1" dirty="0">
              <a:solidFill>
                <a:schemeClr val="bg1"/>
              </a:solidFill>
            </a:endParaRPr>
          </a:p>
        </p:txBody>
      </p:sp>
    </p:spTree>
    <p:extLst>
      <p:ext uri="{BB962C8B-B14F-4D97-AF65-F5344CB8AC3E}">
        <p14:creationId xmlns:p14="http://schemas.microsoft.com/office/powerpoint/2010/main" val="2744779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F2A6AA-F7DE-4BE4-98F5-6C36B63F00DB}"/>
              </a:ext>
            </a:extLst>
          </p:cNvPr>
          <p:cNvGraphicFramePr>
            <a:graphicFrameLocks noChangeAspect="1"/>
          </p:cNvGraphicFramePr>
          <p:nvPr>
            <p:custDataLst>
              <p:tags r:id="rId2"/>
            </p:custDataLst>
            <p:extLst>
              <p:ext uri="{D42A27DB-BD31-4B8C-83A1-F6EECF244321}">
                <p14:modId xmlns:p14="http://schemas.microsoft.com/office/powerpoint/2010/main" val="2534686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8138"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F471750-A885-4007-813D-C435C37C1B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a:lnSpc>
                <a:spcPct val="90000"/>
              </a:lnSpc>
              <a:spcBef>
                <a:spcPct val="0"/>
              </a:spcBef>
              <a:spcAft>
                <a:spcPct val="0"/>
              </a:spcAft>
            </a:pPr>
            <a:endParaRPr lang="en-US" sz="2400" b="1"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1040072" y="29744"/>
            <a:ext cx="10313727" cy="793155"/>
          </a:xfrm>
        </p:spPr>
        <p:txBody>
          <a:bodyPr>
            <a:noAutofit/>
          </a:bodyPr>
          <a:lstStyle/>
          <a:p>
            <a:pPr algn="just" defTabSz="911713" eaLnBrk="0" fontAlgn="base" hangingPunct="0">
              <a:lnSpc>
                <a:spcPct val="100000"/>
              </a:lnSpc>
              <a:spcAft>
                <a:spcPct val="0"/>
              </a:spcAft>
              <a:defRPr/>
            </a:pPr>
            <a:r>
              <a:rPr lang="en-US" sz="2000" b="1" baseline="30000" dirty="0">
                <a:solidFill>
                  <a:srgbClr val="70AD47">
                    <a:lumMod val="50000"/>
                  </a:srgbClr>
                </a:solidFill>
                <a:latin typeface="Arial" panose="020B0604020202020204" pitchFamily="34" charset="0"/>
                <a:cs typeface="Arial" panose="020B0604020202020204" pitchFamily="34" charset="0"/>
              </a:rPr>
              <a:t>5</a:t>
            </a:r>
            <a:r>
              <a:rPr lang="en-US" sz="2000" b="1" dirty="0">
                <a:solidFill>
                  <a:srgbClr val="70AD47">
                    <a:lumMod val="50000"/>
                  </a:srgbClr>
                </a:solidFill>
                <a:latin typeface="Arial" panose="020B0604020202020204" pitchFamily="34" charset="0"/>
                <a:cs typeface="Arial" panose="020B0604020202020204" pitchFamily="34" charset="0"/>
              </a:rPr>
              <a:t>Over the last 25 years, Nigeria made no progress towards achieving the MDG targets for MMR</a:t>
            </a:r>
          </a:p>
        </p:txBody>
      </p:sp>
      <p:sp>
        <p:nvSpPr>
          <p:cNvPr id="3" name="Slide Number Placeholder 2"/>
          <p:cNvSpPr>
            <a:spLocks noGrp="1"/>
          </p:cNvSpPr>
          <p:nvPr>
            <p:ph type="sldNum" sz="quarter" idx="12"/>
          </p:nvPr>
        </p:nvSpPr>
        <p:spPr/>
        <p:txBody>
          <a:bodyPr/>
          <a:lstStyle/>
          <a:p>
            <a:pPr>
              <a:defRPr/>
            </a:pPr>
            <a:fld id="{978E596B-AA80-4BB2-8707-B351070E738D}" type="slidenum">
              <a:rPr lang="en-US" smtClean="0">
                <a:solidFill>
                  <a:prstClr val="black">
                    <a:tint val="75000"/>
                  </a:prstClr>
                </a:solidFill>
              </a:rPr>
              <a:pPr>
                <a:defRPr/>
              </a:pPr>
              <a:t>27</a:t>
            </a:fld>
            <a:endParaRPr lang="en-US">
              <a:solidFill>
                <a:prstClr val="black">
                  <a:tint val="75000"/>
                </a:prstClr>
              </a:solidFill>
            </a:endParaRPr>
          </a:p>
        </p:txBody>
      </p:sp>
      <p:sp>
        <p:nvSpPr>
          <p:cNvPr id="5" name="Rectangle 4"/>
          <p:cNvSpPr/>
          <p:nvPr/>
        </p:nvSpPr>
        <p:spPr>
          <a:xfrm>
            <a:off x="0" y="6495193"/>
            <a:ext cx="12192000" cy="276999"/>
          </a:xfrm>
          <a:prstGeom prst="rect">
            <a:avLst/>
          </a:prstGeom>
          <a:solidFill>
            <a:schemeClr val="bg1"/>
          </a:solidFill>
        </p:spPr>
        <p:txBody>
          <a:bodyPr wrap="square">
            <a:spAutoFit/>
          </a:bodyPr>
          <a:lstStyle/>
          <a:p>
            <a:pPr defTabSz="914400">
              <a:defRPr/>
            </a:pPr>
            <a:r>
              <a:rPr lang="en-US" sz="1200" baseline="30000" dirty="0">
                <a:solidFill>
                  <a:prstClr val="black"/>
                </a:solidFill>
              </a:rPr>
              <a:t>a</a:t>
            </a:r>
            <a:r>
              <a:rPr lang="en-US" sz="1200" dirty="0">
                <a:solidFill>
                  <a:prstClr val="black"/>
                </a:solidFill>
              </a:rPr>
              <a:t> Source: Trends in maternal mortality: 1990 to 2015: estimates by WHO, UNICEF, UNFPA, World Bank Group and the United Nations Population Division</a:t>
            </a:r>
          </a:p>
        </p:txBody>
      </p:sp>
      <p:graphicFrame>
        <p:nvGraphicFramePr>
          <p:cNvPr id="6" name="Table 5">
            <a:extLst>
              <a:ext uri="{FF2B5EF4-FFF2-40B4-BE49-F238E27FC236}">
                <a16:creationId xmlns:a16="http://schemas.microsoft.com/office/drawing/2014/main" id="{298858D8-13E0-4F26-AEFB-1AABA42803A8}"/>
              </a:ext>
            </a:extLst>
          </p:cNvPr>
          <p:cNvGraphicFramePr>
            <a:graphicFrameLocks noGrp="1"/>
          </p:cNvGraphicFramePr>
          <p:nvPr>
            <p:extLst>
              <p:ext uri="{D42A27DB-BD31-4B8C-83A1-F6EECF244321}">
                <p14:modId xmlns:p14="http://schemas.microsoft.com/office/powerpoint/2010/main" val="1881553347"/>
              </p:ext>
            </p:extLst>
          </p:nvPr>
        </p:nvGraphicFramePr>
        <p:xfrm>
          <a:off x="450760" y="880441"/>
          <a:ext cx="11196954" cy="5586843"/>
        </p:xfrm>
        <a:graphic>
          <a:graphicData uri="http://schemas.openxmlformats.org/drawingml/2006/table">
            <a:tbl>
              <a:tblPr>
                <a:tableStyleId>{5C22544A-7EE6-4342-B048-85BDC9FD1C3A}</a:tableStyleId>
              </a:tblPr>
              <a:tblGrid>
                <a:gridCol w="1912142">
                  <a:extLst>
                    <a:ext uri="{9D8B030D-6E8A-4147-A177-3AD203B41FA5}">
                      <a16:colId xmlns:a16="http://schemas.microsoft.com/office/drawing/2014/main" val="1953940105"/>
                    </a:ext>
                  </a:extLst>
                </a:gridCol>
                <a:gridCol w="1123629">
                  <a:extLst>
                    <a:ext uri="{9D8B030D-6E8A-4147-A177-3AD203B41FA5}">
                      <a16:colId xmlns:a16="http://schemas.microsoft.com/office/drawing/2014/main" val="2420383256"/>
                    </a:ext>
                  </a:extLst>
                </a:gridCol>
                <a:gridCol w="1123629">
                  <a:extLst>
                    <a:ext uri="{9D8B030D-6E8A-4147-A177-3AD203B41FA5}">
                      <a16:colId xmlns:a16="http://schemas.microsoft.com/office/drawing/2014/main" val="1977844513"/>
                    </a:ext>
                  </a:extLst>
                </a:gridCol>
                <a:gridCol w="1484674">
                  <a:extLst>
                    <a:ext uri="{9D8B030D-6E8A-4147-A177-3AD203B41FA5}">
                      <a16:colId xmlns:a16="http://schemas.microsoft.com/office/drawing/2014/main" val="1806389142"/>
                    </a:ext>
                  </a:extLst>
                </a:gridCol>
                <a:gridCol w="1753695">
                  <a:extLst>
                    <a:ext uri="{9D8B030D-6E8A-4147-A177-3AD203B41FA5}">
                      <a16:colId xmlns:a16="http://schemas.microsoft.com/office/drawing/2014/main" val="962558879"/>
                    </a:ext>
                  </a:extLst>
                </a:gridCol>
                <a:gridCol w="1315273">
                  <a:extLst>
                    <a:ext uri="{9D8B030D-6E8A-4147-A177-3AD203B41FA5}">
                      <a16:colId xmlns:a16="http://schemas.microsoft.com/office/drawing/2014/main" val="4225168576"/>
                    </a:ext>
                  </a:extLst>
                </a:gridCol>
                <a:gridCol w="1190008">
                  <a:extLst>
                    <a:ext uri="{9D8B030D-6E8A-4147-A177-3AD203B41FA5}">
                      <a16:colId xmlns:a16="http://schemas.microsoft.com/office/drawing/2014/main" val="3631203153"/>
                    </a:ext>
                  </a:extLst>
                </a:gridCol>
                <a:gridCol w="1293904">
                  <a:extLst>
                    <a:ext uri="{9D8B030D-6E8A-4147-A177-3AD203B41FA5}">
                      <a16:colId xmlns:a16="http://schemas.microsoft.com/office/drawing/2014/main" val="3669627096"/>
                    </a:ext>
                  </a:extLst>
                </a:gridCol>
              </a:tblGrid>
              <a:tr h="668323">
                <a:tc>
                  <a:txBody>
                    <a:bodyPr/>
                    <a:lstStyle/>
                    <a:p>
                      <a:pPr lvl="1" algn="l" rtl="0" fontAlgn="ctr"/>
                      <a:r>
                        <a:rPr lang="en-US" sz="1400" b="1" u="none" strike="noStrike" dirty="0">
                          <a:effectLst/>
                        </a:rPr>
                        <a:t>20 countries with MMR &gt;1000 as @ 1990</a:t>
                      </a: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400" b="1" u="none" strike="noStrike" dirty="0">
                          <a:effectLst/>
                        </a:rPr>
                        <a:t>MMR</a:t>
                      </a:r>
                    </a:p>
                    <a:p>
                      <a:pPr algn="ctr" rtl="0" fontAlgn="ctr"/>
                      <a:r>
                        <a:rPr lang="en-GB" sz="1400" b="1" u="none" strike="noStrike" dirty="0">
                          <a:effectLst/>
                        </a:rPr>
                        <a:t>(</a:t>
                      </a:r>
                      <a:r>
                        <a:rPr lang="x-none" sz="1400" b="1" u="none" strike="noStrike" dirty="0">
                          <a:effectLst/>
                        </a:rPr>
                        <a:t>1990</a:t>
                      </a:r>
                      <a:r>
                        <a:rPr lang="en-GB" sz="1400" b="1" u="none" strike="noStrike" dirty="0">
                          <a:effectLst/>
                        </a:rPr>
                        <a:t>)</a:t>
                      </a:r>
                      <a:endParaRPr lang="x-none" sz="1400" b="1"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400" b="1" u="none" strike="noStrike" dirty="0">
                          <a:effectLst/>
                        </a:rPr>
                        <a:t>MMR </a:t>
                      </a:r>
                    </a:p>
                    <a:p>
                      <a:pPr algn="ctr" rtl="0" fontAlgn="ctr"/>
                      <a:r>
                        <a:rPr lang="en-GB" sz="1400" b="1" u="none" strike="noStrike" dirty="0">
                          <a:effectLst/>
                        </a:rPr>
                        <a:t>(</a:t>
                      </a:r>
                      <a:r>
                        <a:rPr lang="x-none" sz="1400" b="1" u="none" strike="noStrike" dirty="0">
                          <a:effectLst/>
                        </a:rPr>
                        <a:t>2015</a:t>
                      </a:r>
                      <a:r>
                        <a:rPr lang="en-GB" sz="1400" b="1" u="none" strike="noStrike" dirty="0">
                          <a:effectLst/>
                        </a:rPr>
                        <a:t>)</a:t>
                      </a:r>
                      <a:endParaRPr lang="x-none" sz="1400" b="1"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1400" b="1" u="none" strike="noStrike" dirty="0">
                          <a:effectLst/>
                        </a:rPr>
                        <a:t>% change in MMR between 1990 and 2015</a:t>
                      </a:r>
                      <a:r>
                        <a:rPr lang="en-GB" sz="1400" b="1" u="none" strike="noStrike" baseline="30000" dirty="0">
                          <a:effectLst/>
                        </a:rPr>
                        <a:t>c</a:t>
                      </a:r>
                      <a:endParaRPr lang="en-GB" sz="1400" b="1"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b="1" u="none" strike="noStrike" dirty="0">
                          <a:effectLst/>
                        </a:rPr>
                        <a:t>Progress towards MDG 5A </a:t>
                      </a:r>
                      <a:endParaRPr lang="en-US" sz="1400" b="1" i="0" u="none" strike="noStrike" dirty="0">
                        <a:solidFill>
                          <a:srgbClr val="000000"/>
                        </a:solidFill>
                        <a:effectLst/>
                        <a:latin typeface="Calibri" panose="020F0502020204030204" pitchFamily="34" charset="0"/>
                      </a:endParaRPr>
                    </a:p>
                  </a:txBody>
                  <a:tcPr marL="5896" marR="5896" marT="589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1" u="none" strike="noStrike" dirty="0">
                          <a:effectLst/>
                        </a:rPr>
                        <a:t>Baseline ranking (1990)</a:t>
                      </a:r>
                      <a:endParaRPr lang="en-US" sz="1400" b="1"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1" u="none" strike="noStrike" dirty="0">
                          <a:effectLst/>
                        </a:rPr>
                        <a:t>Ranking in 2015</a:t>
                      </a:r>
                      <a:endParaRPr lang="en-US" sz="1400" b="1"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400" b="1" u="none" strike="noStrike" dirty="0">
                          <a:effectLst/>
                        </a:rPr>
                        <a:t>Ranking (by % change from 1990-2015)</a:t>
                      </a:r>
                      <a:endParaRPr lang="en-US" sz="1400" b="1"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6334917"/>
                  </a:ext>
                </a:extLst>
              </a:tr>
              <a:tr h="231035">
                <a:tc>
                  <a:txBody>
                    <a:bodyPr/>
                    <a:lstStyle/>
                    <a:p>
                      <a:pPr lvl="1" algn="l" rtl="0" fontAlgn="ctr"/>
                      <a:r>
                        <a:rPr lang="en-US" sz="1500" u="none" strike="noStrike">
                          <a:effectLst/>
                        </a:rPr>
                        <a:t>Cambodia</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02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61</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84.2</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Achieved</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2</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1</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9669678"/>
                  </a:ext>
                </a:extLst>
              </a:tr>
              <a:tr h="231035">
                <a:tc>
                  <a:txBody>
                    <a:bodyPr/>
                    <a:lstStyle/>
                    <a:p>
                      <a:pPr lvl="1" algn="l" rtl="0" fontAlgn="ctr"/>
                      <a:r>
                        <a:rPr lang="en-US" sz="1500" u="none" strike="noStrike">
                          <a:effectLst/>
                        </a:rPr>
                        <a:t>Timor-Leste</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08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21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80.1</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Achieved</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2</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2</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0514791"/>
                  </a:ext>
                </a:extLst>
              </a:tr>
              <a:tr h="231035">
                <a:tc>
                  <a:txBody>
                    <a:bodyPr/>
                    <a:lstStyle/>
                    <a:p>
                      <a:pPr lvl="1" algn="l" rtl="0" fontAlgn="ctr"/>
                      <a:r>
                        <a:rPr lang="en-US" sz="1500" u="none" strike="noStrike">
                          <a:effectLst/>
                        </a:rPr>
                        <a:t>Rwanda</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30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29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7.7</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dirty="0">
                          <a:effectLst/>
                        </a:rPr>
                        <a:t>Achieved</a:t>
                      </a:r>
                      <a:endParaRPr lang="en-US"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1</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3</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3</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590184"/>
                  </a:ext>
                </a:extLst>
              </a:tr>
              <a:tr h="231035">
                <a:tc>
                  <a:txBody>
                    <a:bodyPr/>
                    <a:lstStyle/>
                    <a:p>
                      <a:pPr lvl="1" algn="l" rtl="0" fontAlgn="ctr"/>
                      <a:r>
                        <a:rPr lang="en-US" sz="1500" u="none" strike="noStrike">
                          <a:effectLst/>
                        </a:rPr>
                        <a:t>Equatorial Guinea</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31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342</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3.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Making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12</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4</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4</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9437316"/>
                  </a:ext>
                </a:extLst>
              </a:tr>
              <a:tr h="231035">
                <a:tc>
                  <a:txBody>
                    <a:bodyPr/>
                    <a:lstStyle/>
                    <a:p>
                      <a:pPr lvl="1" algn="l" rtl="0" fontAlgn="ctr"/>
                      <a:r>
                        <a:rPr lang="en-US" sz="1500" u="none" strike="noStrike">
                          <a:effectLst/>
                        </a:rPr>
                        <a:t>Ethiopia</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25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353</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1.8</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Making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7995357"/>
                  </a:ext>
                </a:extLst>
              </a:tr>
              <a:tr h="231035">
                <a:tc>
                  <a:txBody>
                    <a:bodyPr/>
                    <a:lstStyle/>
                    <a:p>
                      <a:pPr lvl="1" algn="l" rtl="0" fontAlgn="ctr"/>
                      <a:r>
                        <a:rPr lang="en-US" sz="1500" u="none" strike="noStrike">
                          <a:effectLst/>
                        </a:rPr>
                        <a:t>Afghanistan</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34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39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0.4</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Making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3</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870305"/>
                  </a:ext>
                </a:extLst>
              </a:tr>
              <a:tr h="231035">
                <a:tc>
                  <a:txBody>
                    <a:bodyPr/>
                    <a:lstStyle/>
                    <a:p>
                      <a:pPr lvl="1" algn="l" rtl="0" fontAlgn="ctr"/>
                      <a:r>
                        <a:rPr lang="en-US" sz="1500" u="none" strike="noStrike">
                          <a:effectLst/>
                        </a:rPr>
                        <a:t>Eritrea</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59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501</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68.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Making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8</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9</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7</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473813"/>
                  </a:ext>
                </a:extLst>
              </a:tr>
              <a:tr h="231035">
                <a:tc>
                  <a:txBody>
                    <a:bodyPr/>
                    <a:lstStyle/>
                    <a:p>
                      <a:pPr lvl="1" algn="l" rtl="0" fontAlgn="ctr"/>
                      <a:r>
                        <a:rPr lang="en-US" sz="1500" u="none" strike="noStrike" dirty="0">
                          <a:effectLst/>
                        </a:rPr>
                        <a:t>Mozambique</a:t>
                      </a:r>
                      <a:endParaRPr lang="en-US"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39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48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64.8</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Making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8</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8</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4581536"/>
                  </a:ext>
                </a:extLst>
              </a:tr>
              <a:tr h="231035">
                <a:tc>
                  <a:txBody>
                    <a:bodyPr/>
                    <a:lstStyle/>
                    <a:p>
                      <a:pPr lvl="1" algn="l" rtl="0" fontAlgn="ctr"/>
                      <a:r>
                        <a:rPr lang="en-US" sz="1500" u="none" strike="noStrike">
                          <a:effectLst/>
                        </a:rPr>
                        <a:t>Angola</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16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477</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58.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Making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3076217"/>
                  </a:ext>
                </a:extLst>
              </a:tr>
              <a:tr h="231035">
                <a:tc>
                  <a:txBody>
                    <a:bodyPr/>
                    <a:lstStyle/>
                    <a:p>
                      <a:pPr lvl="1" algn="l" rtl="0" fontAlgn="ctr"/>
                      <a:r>
                        <a:rPr lang="en-US" sz="1500" u="none" strike="noStrike">
                          <a:effectLst/>
                        </a:rPr>
                        <a:t>South Sudan</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73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8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54.4</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Making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521407"/>
                  </a:ext>
                </a:extLst>
              </a:tr>
              <a:tr h="231035">
                <a:tc>
                  <a:txBody>
                    <a:bodyPr/>
                    <a:lstStyle/>
                    <a:p>
                      <a:pPr lvl="1" algn="l" rtl="0" fontAlgn="ctr"/>
                      <a:r>
                        <a:rPr lang="en-US" sz="1500" u="none" strike="noStrike" dirty="0">
                          <a:effectLst/>
                        </a:rPr>
                        <a:t>Liberia</a:t>
                      </a:r>
                      <a:endParaRPr lang="en-US"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50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2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51.7</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Insufficient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7</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4</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1</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008351"/>
                  </a:ext>
                </a:extLst>
              </a:tr>
              <a:tr h="231035">
                <a:tc>
                  <a:txBody>
                    <a:bodyPr/>
                    <a:lstStyle/>
                    <a:p>
                      <a:pPr lvl="1" algn="l" rtl="0" fontAlgn="ctr"/>
                      <a:r>
                        <a:rPr lang="en-US" sz="1500" u="none" strike="noStrike" dirty="0">
                          <a:effectLst/>
                        </a:rPr>
                        <a:t>Sierra Leone</a:t>
                      </a:r>
                      <a:endParaRPr lang="en-US"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263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36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48.3</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Insufficient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2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2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2</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2171200"/>
                  </a:ext>
                </a:extLst>
              </a:tr>
              <a:tr h="231035">
                <a:tc>
                  <a:txBody>
                    <a:bodyPr/>
                    <a:lstStyle/>
                    <a:p>
                      <a:pPr lvl="1" algn="l" rtl="0" fontAlgn="ctr"/>
                      <a:r>
                        <a:rPr lang="en-US" sz="1500" u="none" strike="noStrike">
                          <a:effectLst/>
                        </a:rPr>
                        <a:t>Mali</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01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587</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41.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Insufficient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13</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6088858"/>
                  </a:ext>
                </a:extLst>
              </a:tr>
              <a:tr h="231035">
                <a:tc>
                  <a:txBody>
                    <a:bodyPr/>
                    <a:lstStyle/>
                    <a:p>
                      <a:pPr lvl="1" algn="l" rtl="0" fontAlgn="ctr"/>
                      <a:r>
                        <a:rPr lang="en-US" sz="1500" u="none" strike="noStrike" dirty="0">
                          <a:effectLst/>
                        </a:rPr>
                        <a:t>Burundi</a:t>
                      </a:r>
                      <a:endParaRPr lang="en-US"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22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12</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41.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Insufficient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8</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3</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4</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0819968"/>
                  </a:ext>
                </a:extLst>
              </a:tr>
              <a:tr h="231035">
                <a:tc>
                  <a:txBody>
                    <a:bodyPr/>
                    <a:lstStyle/>
                    <a:p>
                      <a:pPr lvl="1" algn="l" rtl="0" fontAlgn="ctr"/>
                      <a:r>
                        <a:rPr lang="en-US" sz="1500" u="none" strike="noStrike">
                          <a:effectLst/>
                        </a:rPr>
                        <a:t>Chad</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45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85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41</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Insufficient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8</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4646578"/>
                  </a:ext>
                </a:extLst>
              </a:tr>
              <a:tr h="231035">
                <a:tc>
                  <a:txBody>
                    <a:bodyPr/>
                    <a:lstStyle/>
                    <a:p>
                      <a:pPr lvl="1" algn="l" rtl="0" fontAlgn="ctr"/>
                      <a:r>
                        <a:rPr lang="en-US" sz="1500" b="1" u="none" strike="noStrike" dirty="0">
                          <a:solidFill>
                            <a:schemeClr val="bg1"/>
                          </a:solidFill>
                          <a:effectLst/>
                        </a:rPr>
                        <a:t>Nigeria</a:t>
                      </a:r>
                      <a:endParaRPr lang="en-US" sz="1500" b="1" i="0" u="none" strike="noStrike" dirty="0">
                        <a:solidFill>
                          <a:schemeClr val="bg1"/>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x-none" sz="1500" b="1" u="none" strike="noStrike">
                          <a:solidFill>
                            <a:schemeClr val="bg1"/>
                          </a:solidFill>
                          <a:effectLst/>
                        </a:rPr>
                        <a:t>1350</a:t>
                      </a:r>
                      <a:endParaRPr lang="x-none" sz="1500" b="1" i="0" u="none" strike="noStrike">
                        <a:solidFill>
                          <a:schemeClr val="bg1"/>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x-none" sz="1500" b="1" u="none" strike="noStrike">
                          <a:solidFill>
                            <a:schemeClr val="bg1"/>
                          </a:solidFill>
                          <a:effectLst/>
                        </a:rPr>
                        <a:t>814</a:t>
                      </a:r>
                      <a:endParaRPr lang="x-none" sz="1500" b="1" i="0" u="none" strike="noStrike">
                        <a:solidFill>
                          <a:schemeClr val="bg1"/>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x-none" sz="1500" b="1" u="none" strike="noStrike">
                          <a:solidFill>
                            <a:schemeClr val="bg1"/>
                          </a:solidFill>
                          <a:effectLst/>
                        </a:rPr>
                        <a:t>39.7</a:t>
                      </a:r>
                      <a:endParaRPr lang="x-none" sz="1500" b="1" i="0" u="none" strike="noStrike">
                        <a:solidFill>
                          <a:schemeClr val="bg1"/>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en-US" sz="1500" b="1" u="none" strike="noStrike" dirty="0">
                          <a:solidFill>
                            <a:schemeClr val="bg1"/>
                          </a:solidFill>
                          <a:effectLst/>
                        </a:rPr>
                        <a:t>No progress</a:t>
                      </a:r>
                      <a:endParaRPr lang="en-US" sz="1500" b="1" i="0" u="none" strike="noStrike" dirty="0">
                        <a:solidFill>
                          <a:schemeClr val="bg1"/>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x-none" sz="1500" b="1" u="none" strike="noStrike" dirty="0">
                          <a:solidFill>
                            <a:schemeClr val="bg1"/>
                          </a:solidFill>
                          <a:effectLst/>
                        </a:rPr>
                        <a:t>14</a:t>
                      </a:r>
                      <a:endParaRPr lang="x-none" sz="1500" b="1" i="0" u="none" strike="noStrike" dirty="0">
                        <a:solidFill>
                          <a:schemeClr val="bg1"/>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x-none" sz="1500" b="1" u="none" strike="noStrike" dirty="0">
                          <a:solidFill>
                            <a:schemeClr val="bg1"/>
                          </a:solidFill>
                          <a:effectLst/>
                        </a:rPr>
                        <a:t>17</a:t>
                      </a:r>
                      <a:endParaRPr lang="x-none" sz="1500" b="1" i="0" u="none" strike="noStrike" dirty="0">
                        <a:solidFill>
                          <a:schemeClr val="bg1"/>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fontAlgn="ctr"/>
                      <a:r>
                        <a:rPr lang="x-none" sz="1500" b="1" u="none" strike="noStrike" dirty="0">
                          <a:solidFill>
                            <a:schemeClr val="bg1"/>
                          </a:solidFill>
                          <a:effectLst/>
                        </a:rPr>
                        <a:t>16</a:t>
                      </a:r>
                      <a:endParaRPr lang="x-none" sz="1500" b="1" i="0" u="none" strike="noStrike" dirty="0">
                        <a:solidFill>
                          <a:schemeClr val="bg1"/>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4116039644"/>
                  </a:ext>
                </a:extLst>
              </a:tr>
              <a:tr h="231035">
                <a:tc>
                  <a:txBody>
                    <a:bodyPr/>
                    <a:lstStyle/>
                    <a:p>
                      <a:pPr lvl="1" algn="l" rtl="0" fontAlgn="ctr"/>
                      <a:r>
                        <a:rPr lang="en-US" sz="1500" u="none" strike="noStrike">
                          <a:effectLst/>
                        </a:rPr>
                        <a:t>Somalia</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21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32</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39.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Insufficient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5</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17</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4364986"/>
                  </a:ext>
                </a:extLst>
              </a:tr>
              <a:tr h="231035">
                <a:tc>
                  <a:txBody>
                    <a:bodyPr/>
                    <a:lstStyle/>
                    <a:p>
                      <a:pPr lvl="1" algn="l" rtl="0" fontAlgn="ctr"/>
                      <a:r>
                        <a:rPr lang="en-US" sz="1500" u="none" strike="noStrike" dirty="0">
                          <a:effectLst/>
                        </a:rPr>
                        <a:t>Guinea</a:t>
                      </a:r>
                      <a:endParaRPr lang="en-US"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04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67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34.7</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Insufficient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4</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1</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18</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4361026"/>
                  </a:ext>
                </a:extLst>
              </a:tr>
              <a:tr h="456261">
                <a:tc>
                  <a:txBody>
                    <a:bodyPr/>
                    <a:lstStyle/>
                    <a:p>
                      <a:pPr lvl="1" algn="l" rtl="0" fontAlgn="ctr"/>
                      <a:r>
                        <a:rPr lang="en-US" sz="1500" u="none" strike="noStrike" dirty="0">
                          <a:effectLst/>
                        </a:rPr>
                        <a:t>Central African Republic</a:t>
                      </a:r>
                      <a:endParaRPr lang="en-US"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29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882</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31.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a:effectLst/>
                        </a:rPr>
                        <a:t>No progress</a:t>
                      </a:r>
                      <a:endParaRPr lang="en-US"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9</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19</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0725830"/>
                  </a:ext>
                </a:extLst>
              </a:tr>
              <a:tr h="231035">
                <a:tc>
                  <a:txBody>
                    <a:bodyPr/>
                    <a:lstStyle/>
                    <a:p>
                      <a:pPr lvl="1" algn="l" rtl="0" fontAlgn="ctr"/>
                      <a:r>
                        <a:rPr lang="en-US" sz="1500" u="none" strike="noStrike" dirty="0">
                          <a:effectLst/>
                        </a:rPr>
                        <a:t>Gambia</a:t>
                      </a:r>
                      <a:endParaRPr lang="en-US"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030</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706</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31.5</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500" u="none" strike="noStrike" dirty="0">
                          <a:effectLst/>
                        </a:rPr>
                        <a:t>No progress</a:t>
                      </a:r>
                      <a:endParaRPr lang="en-US"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3</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a:effectLst/>
                        </a:rPr>
                        <a:t>12</a:t>
                      </a:r>
                      <a:endParaRPr lang="x-none" sz="1500" b="0" i="0" u="none" strike="noStrike">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x-none" sz="1500" u="none" strike="noStrike" dirty="0">
                          <a:effectLst/>
                        </a:rPr>
                        <a:t>20</a:t>
                      </a:r>
                      <a:endParaRPr lang="x-none" sz="1500" b="0" i="0" u="none" strike="noStrike" dirty="0">
                        <a:solidFill>
                          <a:srgbClr val="000000"/>
                        </a:solidFill>
                        <a:effectLst/>
                        <a:latin typeface="Calibri" panose="020F0502020204030204" pitchFamily="34" charset="0"/>
                      </a:endParaRPr>
                    </a:p>
                  </a:txBody>
                  <a:tcPr marL="5896" marR="5896" marT="589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8556819"/>
                  </a:ext>
                </a:extLst>
              </a:tr>
            </a:tbl>
          </a:graphicData>
        </a:graphic>
      </p:graphicFrame>
      <p:sp>
        <p:nvSpPr>
          <p:cNvPr id="9" name="Slide Number Placeholder 3">
            <a:extLst>
              <a:ext uri="{FF2B5EF4-FFF2-40B4-BE49-F238E27FC236}">
                <a16:creationId xmlns:a16="http://schemas.microsoft.com/office/drawing/2014/main" id="{26065248-0690-42FD-867D-7199A5CC08FC}"/>
              </a:ext>
            </a:extLst>
          </p:cNvPr>
          <p:cNvSpPr txBox="1">
            <a:spLocks/>
          </p:cNvSpPr>
          <p:nvPr/>
        </p:nvSpPr>
        <p:spPr>
          <a:xfrm>
            <a:off x="9337100" y="6492875"/>
            <a:ext cx="2743201" cy="365125"/>
          </a:xfrm>
          <a:prstGeom prst="rect">
            <a:avLst/>
          </a:prstGeom>
        </p:spPr>
        <p:txBody>
          <a:bodyPr vert="horz" lIns="91440" tIns="45720" rIns="91440" bIns="45720" rtlCol="0" anchor="ctr"/>
          <a:lstStyle>
            <a:defPPr>
              <a:defRPr lang="en-US"/>
            </a:defPPr>
            <a:lvl1pPr marL="0" algn="r" defTabSz="913809" rtl="0" eaLnBrk="1" latinLnBrk="0" hangingPunct="1">
              <a:defRPr sz="1200" kern="1200">
                <a:solidFill>
                  <a:schemeClr val="tx1">
                    <a:tint val="75000"/>
                  </a:schemeClr>
                </a:solidFill>
                <a:latin typeface="+mn-lt"/>
                <a:ea typeface="+mn-ea"/>
                <a:cs typeface="+mn-cs"/>
              </a:defRPr>
            </a:lvl1pPr>
            <a:lvl2pPr marL="456902" algn="l" defTabSz="913809" rtl="0" eaLnBrk="1" latinLnBrk="0" hangingPunct="1">
              <a:defRPr sz="1900" kern="1200">
                <a:solidFill>
                  <a:schemeClr val="tx1"/>
                </a:solidFill>
                <a:latin typeface="+mn-lt"/>
                <a:ea typeface="+mn-ea"/>
                <a:cs typeface="+mn-cs"/>
              </a:defRPr>
            </a:lvl2pPr>
            <a:lvl3pPr marL="913809" algn="l" defTabSz="913809" rtl="0" eaLnBrk="1" latinLnBrk="0" hangingPunct="1">
              <a:defRPr sz="1900" kern="1200">
                <a:solidFill>
                  <a:schemeClr val="tx1"/>
                </a:solidFill>
                <a:latin typeface="+mn-lt"/>
                <a:ea typeface="+mn-ea"/>
                <a:cs typeface="+mn-cs"/>
              </a:defRPr>
            </a:lvl3pPr>
            <a:lvl4pPr marL="1370714" algn="l" defTabSz="913809" rtl="0" eaLnBrk="1" latinLnBrk="0" hangingPunct="1">
              <a:defRPr sz="1900" kern="1200">
                <a:solidFill>
                  <a:schemeClr val="tx1"/>
                </a:solidFill>
                <a:latin typeface="+mn-lt"/>
                <a:ea typeface="+mn-ea"/>
                <a:cs typeface="+mn-cs"/>
              </a:defRPr>
            </a:lvl4pPr>
            <a:lvl5pPr marL="1827617" algn="l" defTabSz="913809" rtl="0" eaLnBrk="1" latinLnBrk="0" hangingPunct="1">
              <a:defRPr sz="1900" kern="1200">
                <a:solidFill>
                  <a:schemeClr val="tx1"/>
                </a:solidFill>
                <a:latin typeface="+mn-lt"/>
                <a:ea typeface="+mn-ea"/>
                <a:cs typeface="+mn-cs"/>
              </a:defRPr>
            </a:lvl5pPr>
            <a:lvl6pPr marL="2284528" algn="l" defTabSz="913809" rtl="0" eaLnBrk="1" latinLnBrk="0" hangingPunct="1">
              <a:defRPr sz="1900" kern="1200">
                <a:solidFill>
                  <a:schemeClr val="tx1"/>
                </a:solidFill>
                <a:latin typeface="+mn-lt"/>
                <a:ea typeface="+mn-ea"/>
                <a:cs typeface="+mn-cs"/>
              </a:defRPr>
            </a:lvl6pPr>
            <a:lvl7pPr marL="2741424" algn="l" defTabSz="913809" rtl="0" eaLnBrk="1" latinLnBrk="0" hangingPunct="1">
              <a:defRPr sz="1900" kern="1200">
                <a:solidFill>
                  <a:schemeClr val="tx1"/>
                </a:solidFill>
                <a:latin typeface="+mn-lt"/>
                <a:ea typeface="+mn-ea"/>
                <a:cs typeface="+mn-cs"/>
              </a:defRPr>
            </a:lvl7pPr>
            <a:lvl8pPr marL="3198324" algn="l" defTabSz="913809" rtl="0" eaLnBrk="1" latinLnBrk="0" hangingPunct="1">
              <a:defRPr sz="1900" kern="1200">
                <a:solidFill>
                  <a:schemeClr val="tx1"/>
                </a:solidFill>
                <a:latin typeface="+mn-lt"/>
                <a:ea typeface="+mn-ea"/>
                <a:cs typeface="+mn-cs"/>
              </a:defRPr>
            </a:lvl8pPr>
            <a:lvl9pPr marL="3655226" algn="l" defTabSz="913809" rtl="0" eaLnBrk="1" latinLnBrk="0" hangingPunct="1">
              <a:defRPr sz="1900" kern="1200">
                <a:solidFill>
                  <a:schemeClr val="tx1"/>
                </a:solidFill>
                <a:latin typeface="+mn-lt"/>
                <a:ea typeface="+mn-ea"/>
                <a:cs typeface="+mn-cs"/>
              </a:defRPr>
            </a:lvl9pPr>
          </a:lstStyle>
          <a:p>
            <a:pPr defTabSz="912173"/>
            <a:fld id="{978E596B-AA80-4BB2-8707-B351070E738D}" type="slidenum">
              <a:rPr lang="en-US" sz="1400" b="1" smtClean="0">
                <a:solidFill>
                  <a:schemeClr val="tx1"/>
                </a:solidFill>
              </a:rPr>
              <a:pPr defTabSz="912173"/>
              <a:t>27</a:t>
            </a:fld>
            <a:endParaRPr lang="en-US" sz="1400" b="1" dirty="0">
              <a:solidFill>
                <a:schemeClr val="tx1"/>
              </a:solidFill>
            </a:endParaRPr>
          </a:p>
        </p:txBody>
      </p:sp>
    </p:spTree>
    <p:extLst>
      <p:ext uri="{BB962C8B-B14F-4D97-AF65-F5344CB8AC3E}">
        <p14:creationId xmlns:p14="http://schemas.microsoft.com/office/powerpoint/2010/main" val="9281028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179" y="1628"/>
          <a:ext cx="2159" cy="1619"/>
        </p:xfrm>
        <a:graphic>
          <a:graphicData uri="http://schemas.openxmlformats.org/presentationml/2006/ole">
            <mc:AlternateContent xmlns:mc="http://schemas.openxmlformats.org/markup-compatibility/2006">
              <mc:Choice xmlns:v="urn:schemas-microsoft-com:vml" Requires="v">
                <p:oleObj spid="_x0000_s689162"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2179" y="1628"/>
                        <a:ext cx="2159" cy="1619"/>
                      </a:xfrm>
                      <a:prstGeom prst="rect">
                        <a:avLst/>
                      </a:prstGeom>
                    </p:spPr>
                  </p:pic>
                </p:oleObj>
              </mc:Fallback>
            </mc:AlternateContent>
          </a:graphicData>
        </a:graphic>
      </p:graphicFrame>
      <p:sp>
        <p:nvSpPr>
          <p:cNvPr id="8" name="Rounded Rectangle 7"/>
          <p:cNvSpPr/>
          <p:nvPr/>
        </p:nvSpPr>
        <p:spPr>
          <a:xfrm>
            <a:off x="198584" y="1643597"/>
            <a:ext cx="9250220" cy="4718986"/>
          </a:xfrm>
          <a:prstGeom prst="roundRect">
            <a:avLst/>
          </a:prstGeom>
          <a:solidFill>
            <a:srgbClr val="008000">
              <a:alpha val="23000"/>
            </a:srgb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11016" tIns="55508" rIns="111016" bIns="55508" rtlCol="0" anchor="ctr"/>
          <a:lstStyle/>
          <a:p>
            <a:pPr algn="ctr" defTabSz="914013">
              <a:defRPr/>
            </a:pPr>
            <a:endParaRPr lang="en-GB" sz="1800" dirty="0" err="1">
              <a:solidFill>
                <a:prstClr val="black"/>
              </a:solidFill>
            </a:endParaRPr>
          </a:p>
        </p:txBody>
      </p:sp>
      <p:sp>
        <p:nvSpPr>
          <p:cNvPr id="4" name="TextBox 3"/>
          <p:cNvSpPr txBox="1"/>
          <p:nvPr/>
        </p:nvSpPr>
        <p:spPr>
          <a:xfrm>
            <a:off x="775253" y="731049"/>
            <a:ext cx="10512856" cy="943097"/>
          </a:xfrm>
          <a:prstGeom prst="rect">
            <a:avLst/>
          </a:prstGeom>
          <a:noFill/>
        </p:spPr>
        <p:txBody>
          <a:bodyPr wrap="square" lIns="111016" tIns="55508" rIns="111016" bIns="55508" rtlCol="0">
            <a:spAutoFit/>
          </a:bodyPr>
          <a:lstStyle/>
          <a:p>
            <a:pPr algn="just" defTabSz="914013">
              <a:defRPr/>
            </a:pPr>
            <a:r>
              <a:rPr lang="en-AU" sz="1800" i="1" dirty="0">
                <a:solidFill>
                  <a:prstClr val="black"/>
                </a:solidFill>
                <a:latin typeface="Candara" panose="020E0502030303020204" pitchFamily="34" charset="0"/>
              </a:rPr>
              <a:t>A </a:t>
            </a:r>
            <a:r>
              <a:rPr lang="en-AU" sz="1800" b="1" i="1" dirty="0">
                <a:solidFill>
                  <a:srgbClr val="077F38"/>
                </a:solidFill>
                <a:latin typeface="Candara" panose="020E0502030303020204" pitchFamily="34" charset="0"/>
              </a:rPr>
              <a:t>Declaration of State of public health concern on Maternal and Child Deaths </a:t>
            </a:r>
            <a:r>
              <a:rPr lang="en-AU" sz="1800" i="1" dirty="0">
                <a:solidFill>
                  <a:prstClr val="black"/>
                </a:solidFill>
                <a:latin typeface="Candara" panose="020E0502030303020204" pitchFamily="34" charset="0"/>
              </a:rPr>
              <a:t>was made on April 8</a:t>
            </a:r>
            <a:r>
              <a:rPr lang="en-AU" sz="1800" i="1" baseline="30000" dirty="0">
                <a:solidFill>
                  <a:prstClr val="black"/>
                </a:solidFill>
                <a:latin typeface="Candara" panose="020E0502030303020204" pitchFamily="34" charset="0"/>
              </a:rPr>
              <a:t>th</a:t>
            </a:r>
            <a:r>
              <a:rPr lang="en-AU" sz="1800" i="1" dirty="0">
                <a:solidFill>
                  <a:prstClr val="black"/>
                </a:solidFill>
                <a:latin typeface="Candara" panose="020E0502030303020204" pitchFamily="34" charset="0"/>
              </a:rPr>
              <a:t>, 2019 with a decision to establish a National Coordination Centre to provide oversight on RMNCAH + N activities at the Primary Health Care level</a:t>
            </a:r>
            <a:endParaRPr lang="en-AU" sz="1800" b="1" i="1" dirty="0">
              <a:solidFill>
                <a:srgbClr val="077F38"/>
              </a:solidFill>
              <a:latin typeface="Candara" panose="020E0502030303020204" pitchFamily="34" charset="0"/>
            </a:endParaRPr>
          </a:p>
        </p:txBody>
      </p:sp>
      <p:sp>
        <p:nvSpPr>
          <p:cNvPr id="5" name="Title 1"/>
          <p:cNvSpPr txBox="1">
            <a:spLocks/>
          </p:cNvSpPr>
          <p:nvPr/>
        </p:nvSpPr>
        <p:spPr bwMode="auto">
          <a:xfrm>
            <a:off x="848890" y="121444"/>
            <a:ext cx="10512856" cy="638245"/>
          </a:xfrm>
          <a:prstGeom prst="rect">
            <a:avLst/>
          </a:prstGeom>
          <a:noFill/>
          <a:ln w="9525">
            <a:noFill/>
            <a:miter lim="800000"/>
            <a:headEnd/>
            <a:tailEnd/>
          </a:ln>
        </p:spPr>
        <p:txBody>
          <a:bodyPr vert="horz" wrap="square" lIns="110860" tIns="55432" rIns="110860" bIns="55432" numCol="1" anchor="t" anchorCtr="0" compatLnSpc="1">
            <a:prstTxWarp prst="textNoShape">
              <a:avLst/>
            </a:prstTxWarp>
            <a:spAutoFit/>
          </a:bodyPr>
          <a:lstStyle>
            <a:lvl1pPr algn="l" defTabSz="895350" rtl="0" eaLnBrk="0" fontAlgn="base" hangingPunct="0">
              <a:spcBef>
                <a:spcPct val="0"/>
              </a:spcBef>
              <a:spcAft>
                <a:spcPct val="0"/>
              </a:spcAft>
              <a:tabLst>
                <a:tab pos="361950" algn="l"/>
              </a:tabLst>
              <a:defRPr sz="1900" b="1">
                <a:solidFill>
                  <a:srgbClr val="008000"/>
                </a:solidFill>
                <a:latin typeface="+mj-lt"/>
                <a:ea typeface="MS PGothic" pitchFamily="34" charset="-128"/>
                <a:cs typeface="+mj-cs"/>
              </a:defRPr>
            </a:lvl1pPr>
            <a:lvl2pPr algn="l" defTabSz="895350" rtl="0" eaLnBrk="0" fontAlgn="base" hangingPunct="0">
              <a:spcBef>
                <a:spcPct val="0"/>
              </a:spcBef>
              <a:spcAft>
                <a:spcPct val="0"/>
              </a:spcAft>
              <a:tabLst>
                <a:tab pos="361950" algn="l"/>
              </a:tabLst>
              <a:defRPr sz="1900" b="1">
                <a:solidFill>
                  <a:schemeClr val="tx2"/>
                </a:solidFill>
                <a:latin typeface="Arial" charset="0"/>
                <a:ea typeface="MS PGothic" pitchFamily="34" charset="-128"/>
              </a:defRPr>
            </a:lvl2pPr>
            <a:lvl3pPr algn="l" defTabSz="895350" rtl="0" eaLnBrk="0" fontAlgn="base" hangingPunct="0">
              <a:spcBef>
                <a:spcPct val="0"/>
              </a:spcBef>
              <a:spcAft>
                <a:spcPct val="0"/>
              </a:spcAft>
              <a:tabLst>
                <a:tab pos="361950" algn="l"/>
              </a:tabLst>
              <a:defRPr sz="1900" b="1">
                <a:solidFill>
                  <a:schemeClr val="tx2"/>
                </a:solidFill>
                <a:latin typeface="Arial" charset="0"/>
                <a:ea typeface="MS PGothic" pitchFamily="34" charset="-128"/>
              </a:defRPr>
            </a:lvl3pPr>
            <a:lvl4pPr algn="l" defTabSz="895350" rtl="0" eaLnBrk="0" fontAlgn="base" hangingPunct="0">
              <a:spcBef>
                <a:spcPct val="0"/>
              </a:spcBef>
              <a:spcAft>
                <a:spcPct val="0"/>
              </a:spcAft>
              <a:tabLst>
                <a:tab pos="361950" algn="l"/>
              </a:tabLst>
              <a:defRPr sz="1900" b="1">
                <a:solidFill>
                  <a:schemeClr val="tx2"/>
                </a:solidFill>
                <a:latin typeface="Arial" charset="0"/>
                <a:ea typeface="MS PGothic" pitchFamily="34" charset="-128"/>
              </a:defRPr>
            </a:lvl4pPr>
            <a:lvl5pPr algn="l" defTabSz="895350" rtl="0" eaLnBrk="0" fontAlgn="base" hangingPunct="0">
              <a:spcBef>
                <a:spcPct val="0"/>
              </a:spcBef>
              <a:spcAft>
                <a:spcPct val="0"/>
              </a:spcAft>
              <a:tabLst>
                <a:tab pos="361950" algn="l"/>
              </a:tabLst>
              <a:defRPr sz="1900" b="1">
                <a:solidFill>
                  <a:schemeClr val="tx2"/>
                </a:solidFill>
                <a:latin typeface="Arial" charset="0"/>
                <a:ea typeface="MS PGothic"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defTabSz="911327">
              <a:lnSpc>
                <a:spcPct val="90000"/>
              </a:lnSpc>
              <a:defRPr/>
            </a:pPr>
            <a:r>
              <a:rPr lang="en-US" sz="1800" baseline="30000" dirty="0">
                <a:solidFill>
                  <a:srgbClr val="70AD47">
                    <a:lumMod val="50000"/>
                  </a:srgbClr>
                </a:solidFill>
                <a:latin typeface="Arial" panose="020B0604020202020204" pitchFamily="34" charset="0"/>
                <a:cs typeface="Arial" panose="020B0604020202020204" pitchFamily="34" charset="0"/>
              </a:rPr>
              <a:t>5</a:t>
            </a:r>
            <a:r>
              <a:rPr lang="en-US" dirty="0">
                <a:solidFill>
                  <a:srgbClr val="70AD47">
                    <a:lumMod val="50000"/>
                  </a:srgbClr>
                </a:solidFill>
                <a:latin typeface="Arial" panose="020B0604020202020204" pitchFamily="34" charset="0"/>
                <a:cs typeface="Arial" panose="020B0604020202020204" pitchFamily="34" charset="0"/>
              </a:rPr>
              <a:t>The National Emergency Maternal and Child Health Intervention Centre (NEMCHIC) will galvanize all stakeholders to rapidly reduce maternal and child deaths in Nigeria</a:t>
            </a:r>
          </a:p>
        </p:txBody>
      </p:sp>
      <p:sp>
        <p:nvSpPr>
          <p:cNvPr id="10" name="Rectangle 9"/>
          <p:cNvSpPr/>
          <p:nvPr/>
        </p:nvSpPr>
        <p:spPr>
          <a:xfrm>
            <a:off x="411908" y="1587215"/>
            <a:ext cx="9113096" cy="4753419"/>
          </a:xfrm>
          <a:prstGeom prst="rect">
            <a:avLst/>
          </a:prstGeom>
        </p:spPr>
        <p:txBody>
          <a:bodyPr wrap="square" lIns="111016" tIns="55508" rIns="111016" bIns="55508">
            <a:spAutoFit/>
          </a:bodyPr>
          <a:lstStyle/>
          <a:p>
            <a:pPr defTabSz="914013">
              <a:lnSpc>
                <a:spcPct val="150000"/>
              </a:lnSpc>
              <a:defRPr/>
            </a:pPr>
            <a:r>
              <a:rPr lang="en-GB" sz="2200" b="1" dirty="0">
                <a:solidFill>
                  <a:srgbClr val="7CCA62">
                    <a:lumMod val="50000"/>
                  </a:srgbClr>
                </a:solidFill>
                <a:latin typeface="Candara" panose="020E0502030303020204" pitchFamily="34" charset="0"/>
              </a:rPr>
              <a:t>Goal</a:t>
            </a:r>
            <a:r>
              <a:rPr lang="en-GB" sz="2200" dirty="0">
                <a:solidFill>
                  <a:srgbClr val="7CCA62">
                    <a:lumMod val="50000"/>
                  </a:srgbClr>
                </a:solidFill>
                <a:latin typeface="Candara" panose="020E0502030303020204" pitchFamily="34" charset="0"/>
              </a:rPr>
              <a:t> </a:t>
            </a:r>
          </a:p>
          <a:p>
            <a:pPr defTabSz="914013">
              <a:lnSpc>
                <a:spcPct val="115000"/>
              </a:lnSpc>
              <a:spcAft>
                <a:spcPts val="1000"/>
              </a:spcAft>
              <a:defRPr/>
            </a:pPr>
            <a:r>
              <a:rPr lang="en-GB" sz="2400" b="1" i="1" dirty="0">
                <a:solidFill>
                  <a:srgbClr val="077F38"/>
                </a:solidFill>
                <a:latin typeface="Candara" panose="020E0502030303020204" pitchFamily="34" charset="0"/>
              </a:rPr>
              <a:t>To reduce maternal and child deaths by 50% by 2021</a:t>
            </a:r>
          </a:p>
          <a:p>
            <a:pPr defTabSz="914013">
              <a:spcAft>
                <a:spcPts val="1000"/>
              </a:spcAft>
              <a:defRPr/>
            </a:pPr>
            <a:r>
              <a:rPr lang="en-GB" sz="1800" b="1" dirty="0">
                <a:solidFill>
                  <a:srgbClr val="7CCA62">
                    <a:lumMod val="50000"/>
                  </a:srgbClr>
                </a:solidFill>
                <a:latin typeface="Candara" panose="020E0502030303020204" pitchFamily="34" charset="0"/>
                <a:ea typeface="Calibri" panose="020F0502020204030204" pitchFamily="34" charset="0"/>
                <a:cs typeface="Calibri" panose="020F0502020204030204" pitchFamily="34" charset="0"/>
              </a:rPr>
              <a:t>Vision</a:t>
            </a:r>
          </a:p>
          <a:p>
            <a:pPr defTabSz="914013">
              <a:spcAft>
                <a:spcPts val="1000"/>
              </a:spcAft>
              <a:defRPr/>
            </a:pPr>
            <a:r>
              <a:rPr lang="en-GB" sz="1800" dirty="0">
                <a:solidFill>
                  <a:prstClr val="black"/>
                </a:solidFill>
                <a:latin typeface="Candara" panose="020E0502030303020204" pitchFamily="34" charset="0"/>
                <a:ea typeface="Calibri" panose="020F0502020204030204" pitchFamily="34" charset="0"/>
                <a:cs typeface="Calibri" panose="020F0502020204030204" pitchFamily="34" charset="0"/>
              </a:rPr>
              <a:t>A country where no woman or child dies from preventable causes</a:t>
            </a:r>
            <a:endParaRPr lang="en-US" sz="1800" dirty="0">
              <a:solidFill>
                <a:prstClr val="black"/>
              </a:solidFill>
              <a:latin typeface="Candara" panose="020E0502030303020204" pitchFamily="34" charset="0"/>
              <a:ea typeface="Calibri" panose="020F0502020204030204" pitchFamily="34" charset="0"/>
              <a:cs typeface="Times New Roman" panose="02020603050405020304" pitchFamily="18" charset="0"/>
            </a:endParaRPr>
          </a:p>
          <a:p>
            <a:pPr defTabSz="914013">
              <a:defRPr/>
            </a:pPr>
            <a:r>
              <a:rPr lang="en-GB" sz="1800" b="1" dirty="0">
                <a:solidFill>
                  <a:srgbClr val="7CCA62">
                    <a:lumMod val="50000"/>
                  </a:srgbClr>
                </a:solidFill>
                <a:latin typeface="Candara" panose="020E0502030303020204" pitchFamily="34" charset="0"/>
              </a:rPr>
              <a:t>Mission</a:t>
            </a:r>
          </a:p>
          <a:p>
            <a:pPr defTabSz="914013">
              <a:defRPr/>
            </a:pPr>
            <a:r>
              <a:rPr lang="en-GB" sz="1800" dirty="0">
                <a:solidFill>
                  <a:prstClr val="black"/>
                </a:solidFill>
                <a:latin typeface="Candara" panose="020E0502030303020204" pitchFamily="34" charset="0"/>
              </a:rPr>
              <a:t>To promote awareness and ensure effective emergency response to maternal and child mortality that addresses the three (3) delays to care through an integrated approach</a:t>
            </a:r>
          </a:p>
          <a:p>
            <a:pPr defTabSz="914013">
              <a:defRPr/>
            </a:pPr>
            <a:endParaRPr lang="en-GB" sz="1800" dirty="0">
              <a:solidFill>
                <a:prstClr val="black"/>
              </a:solidFill>
              <a:latin typeface="Candara" panose="020E0502030303020204" pitchFamily="34" charset="0"/>
            </a:endParaRPr>
          </a:p>
          <a:p>
            <a:pPr defTabSz="914013">
              <a:defRPr/>
            </a:pPr>
            <a:r>
              <a:rPr lang="en-GB" sz="1800" b="1" dirty="0">
                <a:solidFill>
                  <a:srgbClr val="7CCA62">
                    <a:lumMod val="50000"/>
                  </a:srgbClr>
                </a:solidFill>
                <a:latin typeface="Candara" panose="020E0502030303020204" pitchFamily="34" charset="0"/>
              </a:rPr>
              <a:t>Objectives</a:t>
            </a:r>
            <a:r>
              <a:rPr lang="en-GB" sz="1800" b="1" dirty="0">
                <a:solidFill>
                  <a:srgbClr val="10CF9B">
                    <a:lumMod val="50000"/>
                  </a:srgbClr>
                </a:solidFill>
                <a:latin typeface="Candara" panose="020E0502030303020204" pitchFamily="34" charset="0"/>
              </a:rPr>
              <a:t> </a:t>
            </a:r>
          </a:p>
          <a:p>
            <a:pPr marL="457007" indent="-457007" defTabSz="914013">
              <a:buFont typeface="+mj-lt"/>
              <a:buAutoNum type="arabicPeriod"/>
              <a:defRPr/>
            </a:pPr>
            <a:r>
              <a:rPr lang="en-GB" sz="1800" dirty="0">
                <a:solidFill>
                  <a:prstClr val="black"/>
                </a:solidFill>
                <a:latin typeface="Candara" panose="020E0502030303020204" pitchFamily="34" charset="0"/>
              </a:rPr>
              <a:t>Improve awareness and promote community involvement in interventions to reduce maternal and child mortality</a:t>
            </a:r>
          </a:p>
          <a:p>
            <a:pPr marL="457007" indent="-457007" defTabSz="914013">
              <a:buFont typeface="+mj-lt"/>
              <a:buAutoNum type="arabicPeriod"/>
              <a:defRPr/>
            </a:pPr>
            <a:r>
              <a:rPr lang="en-GB" sz="1800" dirty="0">
                <a:solidFill>
                  <a:prstClr val="black"/>
                </a:solidFill>
                <a:latin typeface="Candara" panose="020E0502030303020204" pitchFamily="34" charset="0"/>
              </a:rPr>
              <a:t>Strengthen coordination, leadership and accountability in RMNCAH+N programmes</a:t>
            </a:r>
          </a:p>
          <a:p>
            <a:pPr marL="457007" indent="-457007" defTabSz="914013">
              <a:buFont typeface="+mj-lt"/>
              <a:buAutoNum type="arabicPeriod"/>
              <a:defRPr/>
            </a:pPr>
            <a:r>
              <a:rPr lang="en-GB" sz="1800" dirty="0">
                <a:solidFill>
                  <a:prstClr val="black"/>
                </a:solidFill>
                <a:latin typeface="Candara" panose="020E0502030303020204" pitchFamily="34" charset="0"/>
              </a:rPr>
              <a:t>Increase data visibility, quality and use for action at all levels</a:t>
            </a:r>
          </a:p>
          <a:p>
            <a:pPr marL="457007" indent="-457007" defTabSz="914013">
              <a:buFont typeface="+mj-lt"/>
              <a:buAutoNum type="arabicPeriod"/>
              <a:defRPr/>
            </a:pPr>
            <a:r>
              <a:rPr lang="en-GB" sz="1800" dirty="0">
                <a:solidFill>
                  <a:prstClr val="black"/>
                </a:solidFill>
                <a:latin typeface="Candara" panose="020E0502030303020204" pitchFamily="34" charset="0"/>
              </a:rPr>
              <a:t>Improve detection and responsiveness in the resolution of RMNCAH+N service gaps</a:t>
            </a:r>
          </a:p>
        </p:txBody>
      </p:sp>
      <p:sp>
        <p:nvSpPr>
          <p:cNvPr id="11" name="Slide Number Placeholder 1">
            <a:extLst>
              <a:ext uri="{FF2B5EF4-FFF2-40B4-BE49-F238E27FC236}">
                <a16:creationId xmlns:a16="http://schemas.microsoft.com/office/drawing/2014/main" id="{A29B2075-8CDF-42B5-BFE5-3CDED6785ED2}"/>
              </a:ext>
            </a:extLst>
          </p:cNvPr>
          <p:cNvSpPr>
            <a:spLocks noGrp="1"/>
          </p:cNvSpPr>
          <p:nvPr>
            <p:ph type="sldNum" sz="quarter" idx="12"/>
          </p:nvPr>
        </p:nvSpPr>
        <p:spPr>
          <a:xfrm>
            <a:off x="9396952" y="6485533"/>
            <a:ext cx="2743201" cy="365125"/>
          </a:xfrm>
        </p:spPr>
        <p:txBody>
          <a:bodyPr/>
          <a:lstStyle/>
          <a:p>
            <a:fld id="{8F051D79-BC9E-4855-82D6-1CEFBF9CA1AD}" type="slidenum">
              <a:rPr lang="en-GB" smtClean="0">
                <a:solidFill>
                  <a:prstClr val="white"/>
                </a:solidFill>
              </a:rPr>
              <a:pPr/>
              <a:t>28</a:t>
            </a:fld>
            <a:endParaRPr lang="en-GB" dirty="0">
              <a:solidFill>
                <a:prstClr val="white"/>
              </a:solidFill>
            </a:endParaRPr>
          </a:p>
        </p:txBody>
      </p:sp>
      <p:sp>
        <p:nvSpPr>
          <p:cNvPr id="12" name="Star: 16 Points 11">
            <a:extLst>
              <a:ext uri="{FF2B5EF4-FFF2-40B4-BE49-F238E27FC236}">
                <a16:creationId xmlns:a16="http://schemas.microsoft.com/office/drawing/2014/main" id="{21FBB1F1-A1C0-46B0-9256-50A4D8C4F0CC}"/>
              </a:ext>
            </a:extLst>
          </p:cNvPr>
          <p:cNvSpPr/>
          <p:nvPr/>
        </p:nvSpPr>
        <p:spPr>
          <a:xfrm>
            <a:off x="8893629" y="1766523"/>
            <a:ext cx="3418115" cy="4360432"/>
          </a:xfrm>
          <a:prstGeom prst="star16">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a:endParaRPr lang="x-none">
              <a:solidFill>
                <a:prstClr val="white"/>
              </a:solidFill>
            </a:endParaRPr>
          </a:p>
        </p:txBody>
      </p:sp>
      <p:sp>
        <p:nvSpPr>
          <p:cNvPr id="13" name="TextBox 12">
            <a:extLst>
              <a:ext uri="{FF2B5EF4-FFF2-40B4-BE49-F238E27FC236}">
                <a16:creationId xmlns:a16="http://schemas.microsoft.com/office/drawing/2014/main" id="{3F4CD4A2-53FD-4DA2-B736-57BF22B21CAC}"/>
              </a:ext>
            </a:extLst>
          </p:cNvPr>
          <p:cNvSpPr txBox="1"/>
          <p:nvPr/>
        </p:nvSpPr>
        <p:spPr>
          <a:xfrm>
            <a:off x="9396967" y="2566304"/>
            <a:ext cx="2426687" cy="2893063"/>
          </a:xfrm>
          <a:prstGeom prst="rect">
            <a:avLst/>
          </a:prstGeom>
          <a:noFill/>
        </p:spPr>
        <p:txBody>
          <a:bodyPr wrap="square" lIns="91401" tIns="45702" rIns="91401" bIns="45702" rtlCol="0">
            <a:spAutoFit/>
          </a:bodyPr>
          <a:lstStyle/>
          <a:p>
            <a:r>
              <a:rPr lang="en-GB" sz="1400" b="1" dirty="0">
                <a:solidFill>
                  <a:prstClr val="black"/>
                </a:solidFill>
                <a:latin typeface="Arial" panose="020B0604020202020204" pitchFamily="34" charset="0"/>
                <a:cs typeface="Arial" panose="020B0604020202020204" pitchFamily="34" charset="0"/>
              </a:rPr>
              <a:t>States will be required to:</a:t>
            </a:r>
          </a:p>
          <a:p>
            <a:pPr marL="174551" indent="-174551">
              <a:buFont typeface="Arial" panose="020B0604020202020204" pitchFamily="34" charset="0"/>
              <a:buChar char="•"/>
            </a:pPr>
            <a:r>
              <a:rPr lang="en-GB" sz="1400" dirty="0">
                <a:solidFill>
                  <a:prstClr val="black"/>
                </a:solidFill>
                <a:latin typeface="Arial" panose="020B0604020202020204" pitchFamily="34" charset="0"/>
                <a:cs typeface="Arial" panose="020B0604020202020204" pitchFamily="34" charset="0"/>
              </a:rPr>
              <a:t>Establish State Emergency Maternal and Child Health Intervention Centre (SEMCHIC)</a:t>
            </a:r>
          </a:p>
          <a:p>
            <a:pPr marL="174551" indent="-174551">
              <a:buFont typeface="Arial" panose="020B0604020202020204" pitchFamily="34" charset="0"/>
              <a:buChar char="•"/>
            </a:pPr>
            <a:r>
              <a:rPr lang="en-GB" sz="1400" dirty="0">
                <a:solidFill>
                  <a:prstClr val="black"/>
                </a:solidFill>
                <a:latin typeface="Arial" panose="020B0604020202020204" pitchFamily="34" charset="0"/>
                <a:cs typeface="Arial" panose="020B0604020202020204" pitchFamily="34" charset="0"/>
              </a:rPr>
              <a:t>Provide adequate funding to support implementation of SEMCHIC priority activities</a:t>
            </a:r>
          </a:p>
          <a:p>
            <a:pPr marL="174551" indent="-174551">
              <a:buFont typeface="Arial" panose="020B0604020202020204" pitchFamily="34" charset="0"/>
              <a:buChar char="•"/>
            </a:pPr>
            <a:r>
              <a:rPr lang="en-GB" sz="1400" dirty="0">
                <a:solidFill>
                  <a:prstClr val="black"/>
                </a:solidFill>
                <a:latin typeface="Arial" panose="020B0604020202020204" pitchFamily="34" charset="0"/>
                <a:cs typeface="Arial" panose="020B0604020202020204" pitchFamily="34" charset="0"/>
              </a:rPr>
              <a:t>Ensure availability of adequate number of trained health workers at all health facilities</a:t>
            </a:r>
            <a:endParaRPr lang="x-none" sz="14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63085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25590" y="1595"/>
          <a:ext cx="1586" cy="1587"/>
        </p:xfrm>
        <a:graphic>
          <a:graphicData uri="http://schemas.openxmlformats.org/presentationml/2006/ole">
            <mc:AlternateContent xmlns:mc="http://schemas.openxmlformats.org/markup-compatibility/2006">
              <mc:Choice xmlns:v="urn:schemas-microsoft-com:vml" Requires="v">
                <p:oleObj spid="_x0000_s690186" name="think-cell Slide" r:id="rId5" imgW="420" imgH="430" progId="TCLayout.ActiveDocument.1">
                  <p:embed/>
                </p:oleObj>
              </mc:Choice>
              <mc:Fallback>
                <p:oleObj name="think-cell Slide" r:id="rId5" imgW="420" imgH="430" progId="TCLayout.ActiveDocument.1">
                  <p:embed/>
                  <p:pic>
                    <p:nvPicPr>
                      <p:cNvPr id="0" name=""/>
                      <p:cNvPicPr/>
                      <p:nvPr/>
                    </p:nvPicPr>
                    <p:blipFill>
                      <a:blip r:embed="rId6"/>
                      <a:stretch>
                        <a:fillRect/>
                      </a:stretch>
                    </p:blipFill>
                    <p:spPr>
                      <a:xfrm>
                        <a:off x="1525590" y="1595"/>
                        <a:ext cx="158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C92FDCB-1067-452D-8427-27414EEE16BA}"/>
              </a:ext>
            </a:extLst>
          </p:cNvPr>
          <p:cNvSpPr/>
          <p:nvPr>
            <p:custDataLst>
              <p:tags r:id="rId3"/>
            </p:custDataLst>
          </p:nvPr>
        </p:nvSpPr>
        <p:spPr>
          <a:xfrm>
            <a:off x="1524029" y="14"/>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0" name="Rectangle 29"/>
          <p:cNvSpPr/>
          <p:nvPr/>
        </p:nvSpPr>
        <p:spPr>
          <a:xfrm>
            <a:off x="7173157" y="1512758"/>
            <a:ext cx="3951288" cy="1009651"/>
          </a:xfrm>
          <a:prstGeom prst="rect">
            <a:avLst/>
          </a:prstGeom>
          <a:gradFill flip="none" rotWithShape="1">
            <a:gsLst>
              <a:gs pos="100000">
                <a:srgbClr val="00B050">
                  <a:alpha val="0"/>
                </a:srgbClr>
              </a:gs>
              <a:gs pos="0">
                <a:srgbClr val="92D050">
                  <a:alpha val="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endParaRPr lang="ro-RO">
              <a:solidFill>
                <a:prstClr val="white"/>
              </a:solidFill>
              <a:latin typeface="Arial" panose="020B0604020202020204" pitchFamily="34" charset="0"/>
              <a:cs typeface="Arial" panose="020B0604020202020204" pitchFamily="34" charset="0"/>
            </a:endParaRPr>
          </a:p>
        </p:txBody>
      </p:sp>
      <p:sp>
        <p:nvSpPr>
          <p:cNvPr id="31" name="Rectangle 30"/>
          <p:cNvSpPr/>
          <p:nvPr/>
        </p:nvSpPr>
        <p:spPr>
          <a:xfrm>
            <a:off x="7172685" y="2518426"/>
            <a:ext cx="3951760" cy="1009651"/>
          </a:xfrm>
          <a:prstGeom prst="rect">
            <a:avLst/>
          </a:prstGeom>
          <a:gradFill flip="none" rotWithShape="1">
            <a:gsLst>
              <a:gs pos="100000">
                <a:srgbClr val="FF0000">
                  <a:alpha val="0"/>
                </a:srgbClr>
              </a:gs>
              <a:gs pos="0">
                <a:srgbClr val="C00000">
                  <a:alpha val="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endParaRPr lang="ro-RO">
              <a:solidFill>
                <a:prstClr val="white"/>
              </a:solidFill>
              <a:latin typeface="Arial" panose="020B0604020202020204" pitchFamily="34" charset="0"/>
              <a:cs typeface="Arial" panose="020B0604020202020204" pitchFamily="34" charset="0"/>
            </a:endParaRPr>
          </a:p>
        </p:txBody>
      </p:sp>
      <p:sp>
        <p:nvSpPr>
          <p:cNvPr id="32" name="Rectangle 31"/>
          <p:cNvSpPr/>
          <p:nvPr/>
        </p:nvSpPr>
        <p:spPr>
          <a:xfrm>
            <a:off x="7172685" y="3537285"/>
            <a:ext cx="3951760" cy="1009651"/>
          </a:xfrm>
          <a:prstGeom prst="rect">
            <a:avLst/>
          </a:prstGeom>
          <a:gradFill flip="none" rotWithShape="1">
            <a:gsLst>
              <a:gs pos="100000">
                <a:srgbClr val="00B0F0">
                  <a:alpha val="0"/>
                </a:srgbClr>
              </a:gs>
              <a:gs pos="0">
                <a:srgbClr val="0070C0">
                  <a:alpha val="61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endParaRPr lang="ro-RO">
              <a:solidFill>
                <a:prstClr val="white"/>
              </a:solidFill>
              <a:latin typeface="Arial" panose="020B0604020202020204" pitchFamily="34" charset="0"/>
              <a:cs typeface="Arial" panose="020B0604020202020204" pitchFamily="34" charset="0"/>
            </a:endParaRPr>
          </a:p>
        </p:txBody>
      </p:sp>
      <p:sp>
        <p:nvSpPr>
          <p:cNvPr id="34" name="Rectangle 33"/>
          <p:cNvSpPr/>
          <p:nvPr/>
        </p:nvSpPr>
        <p:spPr>
          <a:xfrm>
            <a:off x="5722417" y="3719155"/>
            <a:ext cx="1010772" cy="1010772"/>
          </a:xfrm>
          <a:prstGeom prst="rect">
            <a:avLst/>
          </a:prstGeom>
          <a:gradFill flip="none" rotWithShape="1">
            <a:gsLst>
              <a:gs pos="100000">
                <a:srgbClr val="0070C0"/>
              </a:gs>
              <a:gs pos="0">
                <a:srgbClr val="00B0F0"/>
              </a:gs>
            </a:gsLst>
            <a:lin ang="2700000" scaled="1"/>
            <a:tileRect/>
          </a:gradFill>
          <a:ln>
            <a:noFill/>
          </a:ln>
          <a:scene3d>
            <a:camera prst="isometricLeftDown">
              <a:rot lat="544149" lon="1268248" rev="21585872"/>
            </a:camera>
            <a:lightRig rig="balanced" dir="t"/>
          </a:scene3d>
          <a:sp3d prstMaterial="matte">
            <a:bevelB w="0" h="1397000"/>
          </a:sp3d>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r>
              <a:rPr lang="en-US" sz="36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panose="020B0604020202020204" pitchFamily="34" charset="0"/>
                <a:cs typeface="Arial" panose="020B0604020202020204" pitchFamily="34" charset="0"/>
              </a:rPr>
              <a:t>3</a:t>
            </a:r>
            <a:endParaRPr lang="ro-RO" sz="36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panose="020B0604020202020204" pitchFamily="34" charset="0"/>
              <a:cs typeface="Arial" panose="020B0604020202020204" pitchFamily="34" charset="0"/>
            </a:endParaRPr>
          </a:p>
        </p:txBody>
      </p:sp>
      <p:sp>
        <p:nvSpPr>
          <p:cNvPr id="35" name="Rectangle 34"/>
          <p:cNvSpPr/>
          <p:nvPr/>
        </p:nvSpPr>
        <p:spPr>
          <a:xfrm>
            <a:off x="5722417" y="2690455"/>
            <a:ext cx="1010772" cy="1010772"/>
          </a:xfrm>
          <a:prstGeom prst="rect">
            <a:avLst/>
          </a:prstGeom>
          <a:gradFill flip="none" rotWithShape="1">
            <a:gsLst>
              <a:gs pos="100000">
                <a:srgbClr val="C00000"/>
              </a:gs>
              <a:gs pos="0">
                <a:srgbClr val="FF0000"/>
              </a:gs>
            </a:gsLst>
            <a:lin ang="2700000" scaled="1"/>
            <a:tileRect/>
          </a:gradFill>
          <a:ln>
            <a:noFill/>
          </a:ln>
          <a:scene3d>
            <a:camera prst="isometricLeftDown">
              <a:rot lat="544149" lon="1268248" rev="21585872"/>
            </a:camera>
            <a:lightRig rig="balanced" dir="t"/>
          </a:scene3d>
          <a:sp3d prstMaterial="matte">
            <a:bevelB w="0" h="1397000"/>
          </a:sp3d>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r>
              <a:rPr lang="en-US" sz="36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panose="020B0604020202020204" pitchFamily="34" charset="0"/>
                <a:cs typeface="Arial" panose="020B0604020202020204" pitchFamily="34" charset="0"/>
              </a:rPr>
              <a:t>2</a:t>
            </a:r>
            <a:endParaRPr lang="ro-RO" sz="36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panose="020B0604020202020204" pitchFamily="34" charset="0"/>
              <a:cs typeface="Arial" panose="020B0604020202020204" pitchFamily="34" charset="0"/>
            </a:endParaRPr>
          </a:p>
        </p:txBody>
      </p:sp>
      <p:sp>
        <p:nvSpPr>
          <p:cNvPr id="36" name="Rectangle 35"/>
          <p:cNvSpPr/>
          <p:nvPr/>
        </p:nvSpPr>
        <p:spPr>
          <a:xfrm>
            <a:off x="5722403" y="1679503"/>
            <a:ext cx="1010772" cy="1010772"/>
          </a:xfrm>
          <a:prstGeom prst="rect">
            <a:avLst/>
          </a:prstGeom>
          <a:gradFill flip="none" rotWithShape="1">
            <a:gsLst>
              <a:gs pos="100000">
                <a:srgbClr val="00B050"/>
              </a:gs>
              <a:gs pos="0">
                <a:srgbClr val="92D050"/>
              </a:gs>
            </a:gsLst>
            <a:lin ang="2700000" scaled="1"/>
            <a:tileRect/>
          </a:gradFill>
          <a:ln>
            <a:noFill/>
          </a:ln>
          <a:scene3d>
            <a:camera prst="isometricLeftDown">
              <a:rot lat="544149" lon="1268248" rev="21585872"/>
            </a:camera>
            <a:lightRig rig="balanced" dir="t"/>
          </a:scene3d>
          <a:sp3d prstMaterial="matte">
            <a:bevelB w="0" h="1397000"/>
          </a:sp3d>
        </p:spPr>
        <p:style>
          <a:lnRef idx="2">
            <a:schemeClr val="accent1">
              <a:shade val="50000"/>
            </a:schemeClr>
          </a:lnRef>
          <a:fillRef idx="1">
            <a:schemeClr val="accent1"/>
          </a:fillRef>
          <a:effectRef idx="0">
            <a:schemeClr val="accent1"/>
          </a:effectRef>
          <a:fontRef idx="minor">
            <a:schemeClr val="lt1"/>
          </a:fontRef>
        </p:style>
        <p:txBody>
          <a:bodyPr lIns="91384" tIns="45698" rIns="91384" bIns="45698" rtlCol="0" anchor="ctr"/>
          <a:lstStyle/>
          <a:p>
            <a:pPr algn="ctr"/>
            <a:r>
              <a:rPr lang="en-US" sz="36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panose="020B0604020202020204" pitchFamily="34" charset="0"/>
                <a:cs typeface="Arial" panose="020B0604020202020204" pitchFamily="34" charset="0"/>
              </a:rPr>
              <a:t>1</a:t>
            </a:r>
            <a:endParaRPr lang="ro-RO" sz="36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panose="020B0604020202020204" pitchFamily="34" charset="0"/>
              <a:cs typeface="Arial" panose="020B0604020202020204" pitchFamily="34" charset="0"/>
            </a:endParaRPr>
          </a:p>
        </p:txBody>
      </p:sp>
      <p:sp>
        <p:nvSpPr>
          <p:cNvPr id="37" name="Rectangle 36"/>
          <p:cNvSpPr/>
          <p:nvPr/>
        </p:nvSpPr>
        <p:spPr>
          <a:xfrm>
            <a:off x="7236959" y="3613828"/>
            <a:ext cx="3600450" cy="923331"/>
          </a:xfrm>
          <a:prstGeom prst="rect">
            <a:avLst/>
          </a:prstGeom>
        </p:spPr>
        <p:txBody>
          <a:bodyPr wrap="square" lIns="91384" tIns="45698" rIns="91384" bIns="45698">
            <a:noAutofit/>
          </a:bodyPr>
          <a:lstStyle/>
          <a:p>
            <a:r>
              <a:rPr lang="en-US" dirty="0">
                <a:solidFill>
                  <a:prstClr val="black"/>
                </a:solidFill>
                <a:latin typeface="Arial" panose="020B0604020202020204" pitchFamily="34" charset="0"/>
                <a:cs typeface="Arial" panose="020B0604020202020204" pitchFamily="34" charset="0"/>
              </a:rPr>
              <a:t>To identify primary sources of vaccination information for caregivers</a:t>
            </a:r>
            <a:endParaRPr lang="x-none" dirty="0">
              <a:solidFill>
                <a:prstClr val="black"/>
              </a:solidFill>
              <a:latin typeface="Arial" panose="020B0604020202020204" pitchFamily="34" charset="0"/>
              <a:cs typeface="Arial" panose="020B0604020202020204" pitchFamily="34" charset="0"/>
            </a:endParaRPr>
          </a:p>
        </p:txBody>
      </p:sp>
      <p:sp>
        <p:nvSpPr>
          <p:cNvPr id="38" name="Rectangle 37"/>
          <p:cNvSpPr/>
          <p:nvPr/>
        </p:nvSpPr>
        <p:spPr>
          <a:xfrm>
            <a:off x="7236959" y="2702414"/>
            <a:ext cx="3600450" cy="646331"/>
          </a:xfrm>
          <a:prstGeom prst="rect">
            <a:avLst/>
          </a:prstGeom>
        </p:spPr>
        <p:txBody>
          <a:bodyPr wrap="square" lIns="91384" tIns="45698" rIns="91384" bIns="45698">
            <a:noAutofit/>
          </a:bodyPr>
          <a:lstStyle/>
          <a:p>
            <a:r>
              <a:rPr lang="en-US" dirty="0">
                <a:solidFill>
                  <a:prstClr val="black"/>
                </a:solidFill>
                <a:latin typeface="Arial" panose="020B0604020202020204" pitchFamily="34" charset="0"/>
                <a:cs typeface="Arial" panose="020B0604020202020204" pitchFamily="34" charset="0"/>
              </a:rPr>
              <a:t>To identify key reasons for non-vaccination of eligible children</a:t>
            </a:r>
            <a:endParaRPr lang="x-none" dirty="0">
              <a:solidFill>
                <a:prstClr val="black"/>
              </a:solidFill>
              <a:latin typeface="Arial" panose="020B0604020202020204" pitchFamily="34" charset="0"/>
              <a:cs typeface="Arial" panose="020B0604020202020204" pitchFamily="34" charset="0"/>
            </a:endParaRPr>
          </a:p>
        </p:txBody>
      </p:sp>
      <p:sp>
        <p:nvSpPr>
          <p:cNvPr id="39" name="Rectangle 38"/>
          <p:cNvSpPr/>
          <p:nvPr/>
        </p:nvSpPr>
        <p:spPr>
          <a:xfrm>
            <a:off x="7236955" y="1698575"/>
            <a:ext cx="3600000" cy="677064"/>
          </a:xfrm>
          <a:prstGeom prst="rect">
            <a:avLst/>
          </a:prstGeom>
        </p:spPr>
        <p:txBody>
          <a:bodyPr wrap="square" lIns="91384" tIns="45698" rIns="91384" bIns="45698">
            <a:spAutoFit/>
          </a:bodyPr>
          <a:lstStyle/>
          <a:p>
            <a:r>
              <a:rPr lang="en-US" dirty="0">
                <a:solidFill>
                  <a:prstClr val="black"/>
                </a:solidFill>
                <a:latin typeface="Arial" panose="020B0604020202020204" pitchFamily="34" charset="0"/>
                <a:cs typeface="Arial" panose="020B0604020202020204" pitchFamily="34" charset="0"/>
              </a:rPr>
              <a:t>To estimate LGA-level RI performance</a:t>
            </a:r>
            <a:endParaRPr lang="x-none" dirty="0">
              <a:solidFill>
                <a:prstClr val="black"/>
              </a:solidFill>
              <a:latin typeface="Arial" panose="020B0604020202020204" pitchFamily="34" charset="0"/>
              <a:cs typeface="Arial" panose="020B0604020202020204" pitchFamily="34" charset="0"/>
            </a:endParaRPr>
          </a:p>
        </p:txBody>
      </p:sp>
      <p:sp>
        <p:nvSpPr>
          <p:cNvPr id="54" name="Rectangle 6"/>
          <p:cNvSpPr txBox="1"/>
          <p:nvPr/>
        </p:nvSpPr>
        <p:spPr>
          <a:xfrm>
            <a:off x="437883" y="1512759"/>
            <a:ext cx="3726130" cy="3086771"/>
          </a:xfrm>
          <a:prstGeom prst="roundRect">
            <a:avLst>
              <a:gd name="adj" fmla="val 0"/>
            </a:avLst>
          </a:prstGeom>
          <a:solidFill>
            <a:schemeClr val="bg1">
              <a:lumMod val="95000"/>
            </a:schemeClr>
          </a:solidFill>
          <a:ln w="9525">
            <a:noFill/>
            <a:miter lim="800000"/>
            <a:headEnd/>
            <a:tailEnd/>
          </a:ln>
          <a:effectLst>
            <a:outerShdw blurRad="50800" dist="38100" dir="2700000" sx="103000" sy="103000" algn="tl" rotWithShape="0">
              <a:prstClr val="black">
                <a:alpha val="40000"/>
              </a:prstClr>
            </a:outerShdw>
          </a:effectLst>
          <a:extLst/>
        </p:spPr>
        <p:txBody>
          <a:bodyPr vert="horz" wrap="square" lIns="71957" tIns="0" rIns="71957" bIns="0"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prstClr val="black"/>
                </a:solidFill>
                <a:latin typeface="Arial" panose="020B0604020202020204" pitchFamily="34" charset="0"/>
                <a:cs typeface="Arial" panose="020B0604020202020204" pitchFamily="34" charset="0"/>
              </a:rPr>
              <a:t>The RI-LQAS is a </a:t>
            </a:r>
            <a:r>
              <a:rPr lang="en-US" dirty="0">
                <a:solidFill>
                  <a:prstClr val="black"/>
                </a:solidFill>
                <a:latin typeface="Arial" panose="020B0604020202020204" pitchFamily="34" charset="0"/>
                <a:cs typeface="Arial" panose="020B0604020202020204" pitchFamily="34" charset="0"/>
              </a:rPr>
              <a:t>population-based survey conducted independently by WHO and National Bureau of Statistics (NBS) to monitor the impact of interventions on RI performance and  to guide programmatic decision making at the state and LGA levels</a:t>
            </a:r>
            <a:endParaRPr lang="en-GB" dirty="0">
              <a:solidFill>
                <a:prstClr val="black"/>
              </a:solidFill>
              <a:latin typeface="Arial" panose="020B0604020202020204" pitchFamily="34" charset="0"/>
              <a:cs typeface="Arial" panose="020B0604020202020204" pitchFamily="34" charset="0"/>
            </a:endParaRPr>
          </a:p>
        </p:txBody>
      </p:sp>
      <p:sp>
        <p:nvSpPr>
          <p:cNvPr id="29" name="Rectangle 4"/>
          <p:cNvSpPr txBox="1">
            <a:spLocks/>
          </p:cNvSpPr>
          <p:nvPr/>
        </p:nvSpPr>
        <p:spPr bwMode="gray">
          <a:xfrm>
            <a:off x="1300090" y="1009740"/>
            <a:ext cx="2864467" cy="276999"/>
          </a:xfrm>
          <a:prstGeom prst="rect">
            <a:avLst/>
          </a:prstGeom>
          <a:noFill/>
          <a:ln w="285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895350" eaLnBrk="1" hangingPunct="1">
              <a:buClr>
                <a:schemeClr val="tx2"/>
              </a:buClr>
              <a:defRPr>
                <a:latin typeface="+mn-lt"/>
              </a:defRPr>
            </a:lvl1pPr>
            <a:lvl2pPr marL="0" lvl="1" indent="0" defTabSz="895350" eaLnBrk="1" hangingPunct="1">
              <a:spcBef>
                <a:spcPts val="0"/>
              </a:spcBef>
              <a:buClr>
                <a:schemeClr val="tx2"/>
              </a:buClr>
              <a:buSzPct val="125000"/>
              <a:buFont typeface="Arial" charset="0"/>
              <a:buNone/>
              <a:defRPr sz="1800" i="1">
                <a:solidFill>
                  <a:schemeClr val="accent5"/>
                </a:solidFill>
                <a:latin typeface="+mn-lt"/>
                <a:ea typeface="Arial Unicode MS"/>
                <a:cs typeface="Arial Unicode MS"/>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9808"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fontAlgn="base">
              <a:spcAft>
                <a:spcPct val="0"/>
              </a:spcAft>
              <a:buClr>
                <a:srgbClr val="002960"/>
              </a:buClr>
              <a:defRPr/>
            </a:pPr>
            <a:r>
              <a:rPr lang="en-GB" b="1" i="0" kern="0" dirty="0">
                <a:solidFill>
                  <a:prstClr val="black"/>
                </a:solidFill>
                <a:latin typeface="Arial" panose="020B0604020202020204" pitchFamily="34" charset="0"/>
                <a:cs typeface="Arial" panose="020B0604020202020204" pitchFamily="34" charset="0"/>
              </a:rPr>
              <a:t>Definition of RI-LQAS</a:t>
            </a:r>
          </a:p>
        </p:txBody>
      </p:sp>
      <p:sp>
        <p:nvSpPr>
          <p:cNvPr id="40" name="Rectangle 4"/>
          <p:cNvSpPr txBox="1">
            <a:spLocks/>
          </p:cNvSpPr>
          <p:nvPr/>
        </p:nvSpPr>
        <p:spPr bwMode="gray">
          <a:xfrm>
            <a:off x="5722674" y="1009740"/>
            <a:ext cx="4370531" cy="276999"/>
          </a:xfrm>
          <a:prstGeom prst="rect">
            <a:avLst/>
          </a:prstGeom>
          <a:noFill/>
          <a:ln w="285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895350" eaLnBrk="1" hangingPunct="1">
              <a:buClr>
                <a:schemeClr val="tx2"/>
              </a:buClr>
              <a:defRPr>
                <a:latin typeface="+mn-lt"/>
              </a:defRPr>
            </a:lvl1pPr>
            <a:lvl2pPr marL="0" lvl="1" indent="0" defTabSz="895350" eaLnBrk="1" hangingPunct="1">
              <a:spcBef>
                <a:spcPts val="0"/>
              </a:spcBef>
              <a:buClr>
                <a:schemeClr val="tx2"/>
              </a:buClr>
              <a:buSzPct val="125000"/>
              <a:buFont typeface="Arial" charset="0"/>
              <a:buNone/>
              <a:defRPr sz="1800" i="1">
                <a:solidFill>
                  <a:schemeClr val="accent5"/>
                </a:solidFill>
                <a:latin typeface="+mn-lt"/>
                <a:ea typeface="Arial Unicode MS"/>
                <a:cs typeface="Arial Unicode MS"/>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9808"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fontAlgn="base">
              <a:spcAft>
                <a:spcPct val="0"/>
              </a:spcAft>
              <a:buClr>
                <a:srgbClr val="002960"/>
              </a:buClr>
              <a:defRPr/>
            </a:pPr>
            <a:r>
              <a:rPr lang="en-GB" b="1" i="0" kern="0" dirty="0">
                <a:solidFill>
                  <a:prstClr val="black"/>
                </a:solidFill>
                <a:latin typeface="Arial" panose="020B0604020202020204" pitchFamily="34" charset="0"/>
                <a:cs typeface="Arial" panose="020B0604020202020204" pitchFamily="34" charset="0"/>
              </a:rPr>
              <a:t>Key objectives of the RI-LQAS </a:t>
            </a:r>
          </a:p>
        </p:txBody>
      </p:sp>
      <p:grpSp>
        <p:nvGrpSpPr>
          <p:cNvPr id="47" name="Group 46"/>
          <p:cNvGrpSpPr/>
          <p:nvPr/>
        </p:nvGrpSpPr>
        <p:grpSpPr>
          <a:xfrm>
            <a:off x="4535120" y="2618085"/>
            <a:ext cx="956582" cy="1128375"/>
            <a:chOff x="2648497" y="3213200"/>
            <a:chExt cx="956582" cy="1128375"/>
          </a:xfrm>
        </p:grpSpPr>
        <p:sp>
          <p:nvSpPr>
            <p:cNvPr id="48" name="Chevron 47"/>
            <p:cNvSpPr/>
            <p:nvPr/>
          </p:nvSpPr>
          <p:spPr bwMode="gray">
            <a:xfrm>
              <a:off x="3055810" y="3213200"/>
              <a:ext cx="549269" cy="1128375"/>
            </a:xfrm>
            <a:prstGeom prst="chevron">
              <a:avLst/>
            </a:prstGeom>
            <a:gradFill flip="none" rotWithShape="1">
              <a:gsLst>
                <a:gs pos="100000">
                  <a:srgbClr val="00B050">
                    <a:alpha val="0"/>
                  </a:srgbClr>
                </a:gs>
                <a:gs pos="0">
                  <a:srgbClr val="92D050">
                    <a:alpha val="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49" name="Chevron 48"/>
            <p:cNvSpPr/>
            <p:nvPr/>
          </p:nvSpPr>
          <p:spPr bwMode="gray">
            <a:xfrm>
              <a:off x="2818703" y="3367830"/>
              <a:ext cx="398733" cy="819117"/>
            </a:xfrm>
            <a:prstGeom prst="chevron">
              <a:avLst/>
            </a:prstGeom>
            <a:gradFill flip="none" rotWithShape="1">
              <a:gsLst>
                <a:gs pos="100000">
                  <a:srgbClr val="FF0000">
                    <a:alpha val="0"/>
                  </a:srgbClr>
                </a:gs>
                <a:gs pos="0">
                  <a:srgbClr val="C00000">
                    <a:alpha val="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50" name="Chevron 49"/>
            <p:cNvSpPr/>
            <p:nvPr/>
          </p:nvSpPr>
          <p:spPr>
            <a:xfrm>
              <a:off x="2648497" y="3607472"/>
              <a:ext cx="252432" cy="414139"/>
            </a:xfrm>
            <a:prstGeom prst="chevron">
              <a:avLst/>
            </a:prstGeom>
            <a:gradFill flip="none" rotWithShape="1">
              <a:gsLst>
                <a:gs pos="100000">
                  <a:srgbClr val="00B0F0">
                    <a:alpha val="0"/>
                  </a:srgbClr>
                </a:gs>
                <a:gs pos="0">
                  <a:srgbClr val="0070C0">
                    <a:alpha val="61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latin typeface="Arial" panose="020B0604020202020204" pitchFamily="34" charset="0"/>
                <a:cs typeface="Arial" panose="020B0604020202020204" pitchFamily="34" charset="0"/>
              </a:endParaRPr>
            </a:p>
          </p:txBody>
        </p:sp>
      </p:grpSp>
      <p:cxnSp>
        <p:nvCxnSpPr>
          <p:cNvPr id="56" name="Straight Connector 55"/>
          <p:cNvCxnSpPr>
            <a:cxnSpLocks/>
          </p:cNvCxnSpPr>
          <p:nvPr/>
        </p:nvCxnSpPr>
        <p:spPr>
          <a:xfrm>
            <a:off x="1300168" y="1288125"/>
            <a:ext cx="2863851" cy="0"/>
          </a:xfrm>
          <a:prstGeom prst="line">
            <a:avLst/>
          </a:prstGeom>
          <a:noFill/>
          <a:ln w="9525" cap="flat" cmpd="sng" algn="ctr">
            <a:solidFill>
              <a:srgbClr val="000000"/>
            </a:solidFill>
            <a:prstDash val="solid"/>
            <a:tailEnd type="none"/>
          </a:ln>
          <a:effectLst/>
        </p:spPr>
      </p:cxnSp>
      <p:cxnSp>
        <p:nvCxnSpPr>
          <p:cNvPr id="57" name="Straight Connector 56"/>
          <p:cNvCxnSpPr>
            <a:cxnSpLocks/>
          </p:cNvCxnSpPr>
          <p:nvPr/>
        </p:nvCxnSpPr>
        <p:spPr>
          <a:xfrm>
            <a:off x="5722675" y="1288125"/>
            <a:ext cx="5364000" cy="0"/>
          </a:xfrm>
          <a:prstGeom prst="line">
            <a:avLst/>
          </a:prstGeom>
          <a:noFill/>
          <a:ln w="9525" cap="flat" cmpd="sng" algn="ctr">
            <a:solidFill>
              <a:srgbClr val="000000"/>
            </a:solidFill>
            <a:prstDash val="solid"/>
            <a:tailEnd type="none"/>
          </a:ln>
          <a:effectLst/>
        </p:spPr>
      </p:cxnSp>
      <p:sp>
        <p:nvSpPr>
          <p:cNvPr id="25" name="Rectangle 24">
            <a:extLst>
              <a:ext uri="{FF2B5EF4-FFF2-40B4-BE49-F238E27FC236}">
                <a16:creationId xmlns:a16="http://schemas.microsoft.com/office/drawing/2014/main" id="{4B8A6E41-C72E-4809-B2BE-311248C6A0CB}"/>
              </a:ext>
            </a:extLst>
          </p:cNvPr>
          <p:cNvSpPr/>
          <p:nvPr/>
        </p:nvSpPr>
        <p:spPr bwMode="auto">
          <a:xfrm>
            <a:off x="437884" y="4804321"/>
            <a:ext cx="10741749" cy="1603013"/>
          </a:xfrm>
          <a:prstGeom prst="rect">
            <a:avLst/>
          </a:prstGeom>
          <a:solidFill>
            <a:schemeClr val="bg1">
              <a:lumMod val="95000"/>
            </a:schemeClr>
          </a:solidFill>
          <a:ln w="12700" algn="ctr">
            <a:noFill/>
            <a:round/>
            <a:headEnd/>
            <a:tailEnd/>
          </a:ln>
          <a:effectLst/>
        </p:spPr>
        <p:txBody>
          <a:bodyPr wrap="square" lIns="91384" tIns="0" rIns="0" bIns="0" anchor="ctr">
            <a:noAutofit/>
          </a:bodyPr>
          <a:lstStyle/>
          <a:p>
            <a:pPr marL="95192" lvl="1" defTabSz="786887">
              <a:spcBef>
                <a:spcPts val="300"/>
              </a:spcBef>
              <a:buClr>
                <a:srgbClr val="204024"/>
              </a:buClr>
              <a:buSzPct val="125000"/>
            </a:pPr>
            <a:r>
              <a:rPr lang="en-US" sz="1500" b="1" u="sng" kern="0" dirty="0">
                <a:solidFill>
                  <a:srgbClr val="E0EDFD">
                    <a:lumMod val="10000"/>
                  </a:srgbClr>
                </a:solidFill>
                <a:latin typeface="Arial" panose="020B0604020202020204" pitchFamily="34" charset="0"/>
                <a:cs typeface="Arial" panose="020B0604020202020204" pitchFamily="34" charset="0"/>
              </a:rPr>
              <a:t>Summary of RI LQAS methodology:</a:t>
            </a:r>
          </a:p>
          <a:p>
            <a:pPr marL="437868" lvl="1" indent="-342681" defTabSz="786887">
              <a:spcBef>
                <a:spcPts val="300"/>
              </a:spcBef>
              <a:buClr>
                <a:srgbClr val="204024"/>
              </a:buClr>
              <a:buSzPct val="100000"/>
              <a:buFontTx/>
              <a:buAutoNum type="arabicPeriod"/>
            </a:pPr>
            <a:r>
              <a:rPr lang="en-US" sz="1500" kern="0" dirty="0">
                <a:solidFill>
                  <a:srgbClr val="E0EDFD">
                    <a:lumMod val="10000"/>
                  </a:srgbClr>
                </a:solidFill>
                <a:latin typeface="Arial" panose="020B0604020202020204" pitchFamily="34" charset="0"/>
                <a:cs typeface="Arial" panose="020B0604020202020204" pitchFamily="34" charset="0"/>
              </a:rPr>
              <a:t>All LGAs in the state are selected; each LGA is considered as a lot</a:t>
            </a:r>
          </a:p>
          <a:p>
            <a:pPr marL="437868" lvl="1" indent="-342681" defTabSz="786887">
              <a:spcBef>
                <a:spcPts val="300"/>
              </a:spcBef>
              <a:buClr>
                <a:srgbClr val="204024"/>
              </a:buClr>
              <a:buSzPct val="100000"/>
              <a:buFontTx/>
              <a:buAutoNum type="arabicPeriod"/>
            </a:pPr>
            <a:r>
              <a:rPr lang="en-US" sz="1500" kern="0" dirty="0">
                <a:solidFill>
                  <a:srgbClr val="E0EDFD">
                    <a:lumMod val="10000"/>
                  </a:srgbClr>
                </a:solidFill>
                <a:latin typeface="Arial" panose="020B0604020202020204" pitchFamily="34" charset="0"/>
                <a:cs typeface="Arial" panose="020B0604020202020204" pitchFamily="34" charset="0"/>
              </a:rPr>
              <a:t>6 settlements are sampled per Lot (LGA)</a:t>
            </a:r>
          </a:p>
          <a:p>
            <a:pPr marL="437868" lvl="1" indent="-342681" defTabSz="786887">
              <a:spcBef>
                <a:spcPts val="300"/>
              </a:spcBef>
              <a:buClr>
                <a:srgbClr val="204024"/>
              </a:buClr>
              <a:buSzPct val="100000"/>
              <a:buFontTx/>
              <a:buAutoNum type="arabicPeriod"/>
            </a:pPr>
            <a:r>
              <a:rPr lang="en-US" sz="1500" kern="0" dirty="0">
                <a:solidFill>
                  <a:srgbClr val="E0EDFD">
                    <a:lumMod val="10000"/>
                  </a:srgbClr>
                </a:solidFill>
                <a:latin typeface="Arial" panose="020B0604020202020204" pitchFamily="34" charset="0"/>
                <a:cs typeface="Arial" panose="020B0604020202020204" pitchFamily="34" charset="0"/>
              </a:rPr>
              <a:t>10 households are randomly sampled per settlement and one child (0-11months of age) is selected per household</a:t>
            </a:r>
          </a:p>
          <a:p>
            <a:pPr marL="437868" lvl="1" indent="-342681" defTabSz="786887">
              <a:spcBef>
                <a:spcPts val="300"/>
              </a:spcBef>
              <a:buClr>
                <a:srgbClr val="204024"/>
              </a:buClr>
              <a:buSzPct val="100000"/>
              <a:buFontTx/>
              <a:buAutoNum type="arabicPeriod"/>
            </a:pPr>
            <a:r>
              <a:rPr lang="en-US" sz="1500" kern="0" dirty="0">
                <a:solidFill>
                  <a:srgbClr val="E0EDFD">
                    <a:lumMod val="10000"/>
                  </a:srgbClr>
                </a:solidFill>
                <a:latin typeface="Arial" panose="020B0604020202020204" pitchFamily="34" charset="0"/>
                <a:cs typeface="Arial" panose="020B0604020202020204" pitchFamily="34" charset="0"/>
              </a:rPr>
              <a:t>The total sample size per lot (LGA)  is 60 children, 0-11 months old</a:t>
            </a:r>
            <a:endParaRPr lang="en-GB" sz="1500" dirty="0">
              <a:solidFill>
                <a:srgbClr val="000000"/>
              </a:solidFill>
              <a:latin typeface="Arial" panose="020B0604020202020204" pitchFamily="34" charset="0"/>
              <a:cs typeface="Arial" panose="020B0604020202020204" pitchFamily="34" charset="0"/>
            </a:endParaRPr>
          </a:p>
        </p:txBody>
      </p:sp>
      <p:sp>
        <p:nvSpPr>
          <p:cNvPr id="26" name="Title 1">
            <a:extLst>
              <a:ext uri="{FF2B5EF4-FFF2-40B4-BE49-F238E27FC236}">
                <a16:creationId xmlns:a16="http://schemas.microsoft.com/office/drawing/2014/main" id="{DE48B0C5-181F-456D-8FA3-5F8E34774DFE}"/>
              </a:ext>
            </a:extLst>
          </p:cNvPr>
          <p:cNvSpPr>
            <a:spLocks noGrp="1"/>
          </p:cNvSpPr>
          <p:nvPr>
            <p:ph type="title"/>
          </p:nvPr>
        </p:nvSpPr>
        <p:spPr>
          <a:xfrm>
            <a:off x="1090254" y="59635"/>
            <a:ext cx="10089385" cy="769397"/>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84" tIns="45698" rIns="91384" bIns="45698" rtlCol="0" anchor="ctr">
            <a:spAutoFit/>
          </a:bodyPr>
          <a:lstStyle/>
          <a:p>
            <a:pPr algn="just" defTabSz="911327" eaLnBrk="0" fontAlgn="base" hangingPunct="0">
              <a:lnSpc>
                <a:spcPct val="100000"/>
              </a:lnSpc>
              <a:spcAft>
                <a:spcPct val="0"/>
              </a:spcAft>
              <a:tabLst>
                <a:tab pos="361797" algn="l"/>
              </a:tabLst>
              <a:defRPr/>
            </a:pPr>
            <a:r>
              <a:rPr lang="en-US" sz="2200" b="1" baseline="30000" dirty="0">
                <a:solidFill>
                  <a:srgbClr val="015F32"/>
                </a:solidFill>
                <a:latin typeface="Arial"/>
              </a:rPr>
              <a:t>6</a:t>
            </a:r>
            <a:r>
              <a:rPr lang="en-US" sz="2200" b="1" dirty="0">
                <a:solidFill>
                  <a:srgbClr val="70AD47">
                    <a:lumMod val="50000"/>
                  </a:srgbClr>
                </a:solidFill>
                <a:latin typeface="Arial" panose="020B0604020202020204" pitchFamily="34" charset="0"/>
                <a:ea typeface="+mn-ea"/>
                <a:cs typeface="Arial" panose="020B0604020202020204" pitchFamily="34" charset="0"/>
              </a:rPr>
              <a:t>The NPHCDA introduced the Lot Quality Assurance Sampling (LQAS) to monitor the Quality of RI programme at LGA and state levels</a:t>
            </a:r>
          </a:p>
        </p:txBody>
      </p:sp>
      <p:cxnSp>
        <p:nvCxnSpPr>
          <p:cNvPr id="27" name="Straight Connector 26">
            <a:extLst>
              <a:ext uri="{FF2B5EF4-FFF2-40B4-BE49-F238E27FC236}">
                <a16:creationId xmlns:a16="http://schemas.microsoft.com/office/drawing/2014/main" id="{FF36BE8C-BDEC-4390-A06E-726970E0F8C5}"/>
              </a:ext>
            </a:extLst>
          </p:cNvPr>
          <p:cNvCxnSpPr>
            <a:cxnSpLocks/>
          </p:cNvCxnSpPr>
          <p:nvPr/>
        </p:nvCxnSpPr>
        <p:spPr>
          <a:xfrm>
            <a:off x="437883" y="4829851"/>
            <a:ext cx="10705624" cy="0"/>
          </a:xfrm>
          <a:prstGeom prst="line">
            <a:avLst/>
          </a:prstGeom>
          <a:noFill/>
          <a:ln w="9525" cap="flat" cmpd="sng" algn="ctr">
            <a:solidFill>
              <a:srgbClr val="000000"/>
            </a:solidFill>
            <a:prstDash val="solid"/>
            <a:tailEnd type="none"/>
          </a:ln>
          <a:effectLst/>
        </p:spPr>
      </p:cxnSp>
      <p:sp>
        <p:nvSpPr>
          <p:cNvPr id="33"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algn="r" defTabSz="912173"/>
            <a:fld id="{978E596B-AA80-4BB2-8707-B351070E738D}" type="slidenum">
              <a:rPr lang="en-US" sz="1400" b="1">
                <a:solidFill>
                  <a:schemeClr val="bg1"/>
                </a:solidFill>
              </a:rPr>
              <a:pPr algn="r" defTabSz="912173"/>
              <a:t>29</a:t>
            </a:fld>
            <a:endParaRPr lang="en-US" sz="1400" b="1" dirty="0">
              <a:solidFill>
                <a:schemeClr val="bg1"/>
              </a:solidFill>
            </a:endParaRPr>
          </a:p>
        </p:txBody>
      </p:sp>
    </p:spTree>
    <p:extLst>
      <p:ext uri="{BB962C8B-B14F-4D97-AF65-F5344CB8AC3E}">
        <p14:creationId xmlns:p14="http://schemas.microsoft.com/office/powerpoint/2010/main" val="3615600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AEEA68-CF75-4C09-8122-1A0D0B93AC7D}"/>
              </a:ext>
            </a:extLst>
          </p:cNvPr>
          <p:cNvGraphicFramePr>
            <a:graphicFrameLocks noChangeAspect="1"/>
          </p:cNvGraphicFramePr>
          <p:nvPr>
            <p:custDataLst>
              <p:tags r:id="rId2"/>
            </p:custDataLst>
            <p:extLst>
              <p:ext uri="{D42A27DB-BD31-4B8C-83A1-F6EECF244321}">
                <p14:modId xmlns:p14="http://schemas.microsoft.com/office/powerpoint/2010/main" val="3722958104"/>
              </p:ext>
            </p:extLst>
          </p:nvPr>
        </p:nvGraphicFramePr>
        <p:xfrm>
          <a:off x="2121" y="1588"/>
          <a:ext cx="2117" cy="1588"/>
        </p:xfrm>
        <a:graphic>
          <a:graphicData uri="http://schemas.openxmlformats.org/presentationml/2006/ole">
            <mc:AlternateContent xmlns:mc="http://schemas.openxmlformats.org/markup-compatibility/2006">
              <mc:Choice xmlns:v="urn:schemas-microsoft-com:vml" Requires="v">
                <p:oleObj spid="_x0000_s381019"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2121" y="1588"/>
                        <a:ext cx="2117"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7CEDC8-2451-4D78-ADA4-4D6573797D7B}"/>
              </a:ext>
            </a:extLst>
          </p:cNvPr>
          <p:cNvSpPr/>
          <p:nvPr>
            <p:custDataLst>
              <p:tags r:id="rId3"/>
            </p:custDataLst>
          </p:nvPr>
        </p:nvSpPr>
        <p:spPr>
          <a:xfrm>
            <a:off x="2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2173">
              <a:lnSpc>
                <a:spcPct val="90000"/>
              </a:lnSpc>
              <a:spcBef>
                <a:spcPct val="0"/>
              </a:spcBef>
              <a:spcAft>
                <a:spcPct val="0"/>
              </a:spcAft>
            </a:pPr>
            <a:endParaRPr lang="en-US" sz="2900" b="1" i="1" dirty="0">
              <a:solidFill>
                <a:prstClr val="white"/>
              </a:solidFill>
              <a:latin typeface="Calibri Light" panose="020F0302020204030204" pitchFamily="34" charset="0"/>
              <a:sym typeface="Calibri Light" panose="020F0302020204030204" pitchFamily="34" charset="0"/>
            </a:endParaRPr>
          </a:p>
        </p:txBody>
      </p:sp>
      <p:sp>
        <p:nvSpPr>
          <p:cNvPr id="2" name="Scroll: Horizontal 1">
            <a:extLst>
              <a:ext uri="{FF2B5EF4-FFF2-40B4-BE49-F238E27FC236}">
                <a16:creationId xmlns:a16="http://schemas.microsoft.com/office/drawing/2014/main" id="{7B40D056-727C-4914-A057-9C819734262E}"/>
              </a:ext>
            </a:extLst>
          </p:cNvPr>
          <p:cNvSpPr/>
          <p:nvPr/>
        </p:nvSpPr>
        <p:spPr>
          <a:xfrm>
            <a:off x="1823813" y="326572"/>
            <a:ext cx="10155459" cy="6585862"/>
          </a:xfrm>
          <a:prstGeom prst="horizontalScroll">
            <a:avLst>
              <a:gd name="adj" fmla="val 6893"/>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endParaRPr lang="x-none" sz="1800">
              <a:solidFill>
                <a:prstClr val="white"/>
              </a:solidFill>
            </a:endParaRPr>
          </a:p>
        </p:txBody>
      </p:sp>
      <p:sp>
        <p:nvSpPr>
          <p:cNvPr id="3" name="Rectangle 2">
            <a:extLst>
              <a:ext uri="{FF2B5EF4-FFF2-40B4-BE49-F238E27FC236}">
                <a16:creationId xmlns:a16="http://schemas.microsoft.com/office/drawing/2014/main" id="{4C3D05CC-7E47-4A5D-B289-52A896DB9DF2}"/>
              </a:ext>
            </a:extLst>
          </p:cNvPr>
          <p:cNvSpPr/>
          <p:nvPr/>
        </p:nvSpPr>
        <p:spPr>
          <a:xfrm>
            <a:off x="2322485" y="833191"/>
            <a:ext cx="210533" cy="711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02" rIns="91401" bIns="45702" rtlCol="0" anchor="ctr"/>
          <a:lstStyle/>
          <a:p>
            <a:pPr defTabSz="914013"/>
            <a:r>
              <a:rPr lang="en-GB" sz="3200" b="1" dirty="0">
                <a:solidFill>
                  <a:prstClr val="white">
                    <a:lumMod val="50000"/>
                  </a:prstClr>
                </a:solidFill>
                <a:latin typeface="Arial" panose="020B0604020202020204" pitchFamily="34" charset="0"/>
                <a:cs typeface="Arial" panose="020B0604020202020204" pitchFamily="34" charset="0"/>
              </a:rPr>
              <a:t>1</a:t>
            </a:r>
            <a:endParaRPr lang="x-none" sz="3200" b="1" dirty="0">
              <a:solidFill>
                <a:prstClr val="white">
                  <a:lumMod val="50000"/>
                </a:prstClr>
              </a:solidFill>
              <a:latin typeface="Arial" panose="020B0604020202020204" pitchFamily="34" charset="0"/>
              <a:cs typeface="Arial" panose="020B0604020202020204" pitchFamily="34" charset="0"/>
            </a:endParaRPr>
          </a:p>
        </p:txBody>
      </p:sp>
      <p:pic>
        <p:nvPicPr>
          <p:cNvPr id="38" name="Picture 7" descr="Description: http://www.nphcda.gov.ng/wp-content/uploads/2017/03/preventable-diseas.png">
            <a:extLst>
              <a:ext uri="{FF2B5EF4-FFF2-40B4-BE49-F238E27FC236}">
                <a16:creationId xmlns:a16="http://schemas.microsoft.com/office/drawing/2014/main" id="{A767F6E2-9029-4C75-8666-7D0FB76982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80132" y="921623"/>
            <a:ext cx="647936" cy="56260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Description: http://www.nphcda.gov.ng/wp-content/uploads/2017/03/access-to-basic-health.png">
            <a:extLst>
              <a:ext uri="{FF2B5EF4-FFF2-40B4-BE49-F238E27FC236}">
                <a16:creationId xmlns:a16="http://schemas.microsoft.com/office/drawing/2014/main" id="{98D9EFF5-94D5-4CE5-BCCB-DB8252323D2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80132" y="1722394"/>
            <a:ext cx="647936" cy="59693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5" descr="Description: http://www.nphcda.gov.ng/wp-content/uploads/2017/03/improve-quality-of-care.png">
            <a:extLst>
              <a:ext uri="{FF2B5EF4-FFF2-40B4-BE49-F238E27FC236}">
                <a16:creationId xmlns:a16="http://schemas.microsoft.com/office/drawing/2014/main" id="{8DF9D8A5-6A85-415D-B721-19918E27C49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80132" y="2607054"/>
            <a:ext cx="647936" cy="48592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Description: http://www.nphcda.gov.ng/wp-content/uploads/2017/03/strenghtening-institutions.png">
            <a:extLst>
              <a:ext uri="{FF2B5EF4-FFF2-40B4-BE49-F238E27FC236}">
                <a16:creationId xmlns:a16="http://schemas.microsoft.com/office/drawing/2014/main" id="{FAE9229A-480B-4A46-8188-D52A573DFEF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46049" y="3323539"/>
            <a:ext cx="647936" cy="59080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 descr="Description: http://www.nphcda.gov.ng/wp-content/uploads/2017/03/healthcare-Workforce.png">
            <a:extLst>
              <a:ext uri="{FF2B5EF4-FFF2-40B4-BE49-F238E27FC236}">
                <a16:creationId xmlns:a16="http://schemas.microsoft.com/office/drawing/2014/main" id="{B276B997-1084-4682-9377-C5DFFA10457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63089" y="4199420"/>
            <a:ext cx="647936" cy="48592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Description: http://www.nphcda.gov.ng/wp-content/uploads/2017/03/strenghtening-partnership.png">
            <a:extLst>
              <a:ext uri="{FF2B5EF4-FFF2-40B4-BE49-F238E27FC236}">
                <a16:creationId xmlns:a16="http://schemas.microsoft.com/office/drawing/2014/main" id="{A11ABF13-1954-4CBF-B0C0-E13C12D609E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80132" y="4996166"/>
            <a:ext cx="647936" cy="48592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 descr="Description: http://www.nphcda.gov.ng/wp-content/uploads/2017/03/engage-community.png">
            <a:extLst>
              <a:ext uri="{FF2B5EF4-FFF2-40B4-BE49-F238E27FC236}">
                <a16:creationId xmlns:a16="http://schemas.microsoft.com/office/drawing/2014/main" id="{3D4DB187-35DD-4AF1-AE84-80AFE69A8BB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61843" y="5806719"/>
            <a:ext cx="647936" cy="485923"/>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9">
            <a:extLst>
              <a:ext uri="{FF2B5EF4-FFF2-40B4-BE49-F238E27FC236}">
                <a16:creationId xmlns:a16="http://schemas.microsoft.com/office/drawing/2014/main" id="{DF090A2E-766D-4806-8C0C-EB81F1FE9DA9}"/>
              </a:ext>
            </a:extLst>
          </p:cNvPr>
          <p:cNvSpPr>
            <a:spLocks noChangeArrowheads="1"/>
          </p:cNvSpPr>
          <p:nvPr/>
        </p:nvSpPr>
        <p:spPr bwMode="auto">
          <a:xfrm>
            <a:off x="3317877" y="833190"/>
            <a:ext cx="7974014" cy="7404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46" tIns="46574" rIns="93146" bIns="46574" numCol="1" anchor="ctr" anchorCtr="0" compatLnSpc="1">
            <a:prstTxWarp prst="textNoShape">
              <a:avLst/>
            </a:prstTxWarp>
            <a:noAutofit/>
          </a:bodyPr>
          <a:lstStyle/>
          <a:p>
            <a:pPr defTabSz="931483" fontAlgn="base">
              <a:spcBef>
                <a:spcPct val="0"/>
              </a:spcBef>
              <a:spcAft>
                <a:spcPct val="0"/>
              </a:spcAft>
            </a:pPr>
            <a:r>
              <a:rPr lang="en-US" sz="1500" b="1" dirty="0">
                <a:solidFill>
                  <a:srgbClr val="1F1F1F"/>
                </a:solidFill>
                <a:latin typeface="Arial" panose="020B0604020202020204" pitchFamily="34" charset="0"/>
                <a:ea typeface="Times New Roman" pitchFamily="18" charset="0"/>
                <a:cs typeface="Arial" panose="020B0604020202020204" pitchFamily="34" charset="0"/>
              </a:rPr>
              <a:t>Control Preventable Diseases:</a:t>
            </a:r>
            <a:br>
              <a:rPr lang="en-US" sz="1500" dirty="0">
                <a:solidFill>
                  <a:srgbClr val="1F1F1F"/>
                </a:solidFill>
                <a:latin typeface="Arial" panose="020B0604020202020204" pitchFamily="34" charset="0"/>
                <a:ea typeface="Times New Roman" pitchFamily="18" charset="0"/>
                <a:cs typeface="Arial" panose="020B0604020202020204" pitchFamily="34" charset="0"/>
              </a:rPr>
            </a:br>
            <a:r>
              <a:rPr lang="en-US" sz="1500" dirty="0">
                <a:solidFill>
                  <a:srgbClr val="1F1F1F"/>
                </a:solidFill>
                <a:latin typeface="Arial" panose="020B0604020202020204" pitchFamily="34" charset="0"/>
                <a:ea typeface="Times New Roman" pitchFamily="18" charset="0"/>
                <a:cs typeface="Arial" panose="020B0604020202020204" pitchFamily="34" charset="0"/>
              </a:rPr>
              <a:t>Eradicate polio, and limit the occurrence and impact of diseases using education, immunization and other proven interventions.</a:t>
            </a:r>
            <a:endParaRPr lang="en-US" sz="1500" dirty="0">
              <a:solidFill>
                <a:srgbClr val="1F1F1F"/>
              </a:solidFill>
              <a:latin typeface="Arial" panose="020B0604020202020204" pitchFamily="34" charset="0"/>
              <a:cs typeface="Arial" panose="020B0604020202020204" pitchFamily="34" charset="0"/>
            </a:endParaRPr>
          </a:p>
        </p:txBody>
      </p:sp>
      <p:sp>
        <p:nvSpPr>
          <p:cNvPr id="48" name="Rectangle 10">
            <a:extLst>
              <a:ext uri="{FF2B5EF4-FFF2-40B4-BE49-F238E27FC236}">
                <a16:creationId xmlns:a16="http://schemas.microsoft.com/office/drawing/2014/main" id="{B9A95A08-1FF1-4FE3-8329-EEFBADBFB62B}"/>
              </a:ext>
            </a:extLst>
          </p:cNvPr>
          <p:cNvSpPr>
            <a:spLocks noChangeArrowheads="1"/>
          </p:cNvSpPr>
          <p:nvPr/>
        </p:nvSpPr>
        <p:spPr bwMode="auto">
          <a:xfrm>
            <a:off x="3317877" y="1630524"/>
            <a:ext cx="7974014" cy="7404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46" tIns="46574" rIns="93146" bIns="46574" numCol="1" anchor="ctr" anchorCtr="0" compatLnSpc="1">
            <a:prstTxWarp prst="textNoShape">
              <a:avLst/>
            </a:prstTxWarp>
            <a:noAutofit/>
          </a:bodyPr>
          <a:lstStyle/>
          <a:p>
            <a:pPr defTabSz="931483" fontAlgn="base">
              <a:spcBef>
                <a:spcPct val="0"/>
              </a:spcBef>
              <a:spcAft>
                <a:spcPct val="0"/>
              </a:spcAft>
            </a:pPr>
            <a:r>
              <a:rPr lang="en-US" sz="1500" b="1" dirty="0">
                <a:solidFill>
                  <a:srgbClr val="1F1F1F"/>
                </a:solidFill>
                <a:latin typeface="Arial" panose="020B0604020202020204" pitchFamily="34" charset="0"/>
                <a:ea typeface="Times New Roman" pitchFamily="18" charset="0"/>
                <a:cs typeface="Arial" panose="020B0604020202020204" pitchFamily="34" charset="0"/>
              </a:rPr>
              <a:t>Improve access to Basic Health Services:</a:t>
            </a:r>
            <a:br>
              <a:rPr lang="en-US" sz="1500" dirty="0">
                <a:solidFill>
                  <a:srgbClr val="1F1F1F"/>
                </a:solidFill>
                <a:latin typeface="Arial" panose="020B0604020202020204" pitchFamily="34" charset="0"/>
                <a:ea typeface="Times New Roman" pitchFamily="18" charset="0"/>
                <a:cs typeface="Arial" panose="020B0604020202020204" pitchFamily="34" charset="0"/>
              </a:rPr>
            </a:br>
            <a:r>
              <a:rPr lang="en-US" sz="1500" dirty="0">
                <a:solidFill>
                  <a:srgbClr val="1F1F1F"/>
                </a:solidFill>
                <a:latin typeface="Arial" panose="020B0604020202020204" pitchFamily="34" charset="0"/>
                <a:ea typeface="Times New Roman" pitchFamily="18" charset="0"/>
                <a:cs typeface="Arial" panose="020B0604020202020204" pitchFamily="34" charset="0"/>
              </a:rPr>
              <a:t>Make basic health services available by ensuring communities have access to health facilities, services and health insurance.</a:t>
            </a:r>
            <a:endParaRPr lang="en-US" sz="1500" dirty="0">
              <a:solidFill>
                <a:srgbClr val="1F1F1F"/>
              </a:solidFill>
              <a:latin typeface="Arial" panose="020B0604020202020204" pitchFamily="34" charset="0"/>
              <a:cs typeface="Arial" panose="020B0604020202020204" pitchFamily="34" charset="0"/>
            </a:endParaRPr>
          </a:p>
        </p:txBody>
      </p:sp>
      <p:sp>
        <p:nvSpPr>
          <p:cNvPr id="49" name="Rectangle 11">
            <a:extLst>
              <a:ext uri="{FF2B5EF4-FFF2-40B4-BE49-F238E27FC236}">
                <a16:creationId xmlns:a16="http://schemas.microsoft.com/office/drawing/2014/main" id="{A507A689-3314-4A56-870B-07A8F68473B5}"/>
              </a:ext>
            </a:extLst>
          </p:cNvPr>
          <p:cNvSpPr>
            <a:spLocks noChangeArrowheads="1"/>
          </p:cNvSpPr>
          <p:nvPr/>
        </p:nvSpPr>
        <p:spPr bwMode="auto">
          <a:xfrm>
            <a:off x="3317877" y="2456328"/>
            <a:ext cx="7974014" cy="7404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46" tIns="46574" rIns="93146" bIns="46574" numCol="1" anchor="ctr" anchorCtr="0" compatLnSpc="1">
            <a:prstTxWarp prst="textNoShape">
              <a:avLst/>
            </a:prstTxWarp>
            <a:noAutofit/>
          </a:bodyPr>
          <a:lstStyle/>
          <a:p>
            <a:pPr defTabSz="931483" fontAlgn="base">
              <a:spcBef>
                <a:spcPct val="0"/>
              </a:spcBef>
              <a:spcAft>
                <a:spcPct val="0"/>
              </a:spcAft>
            </a:pPr>
            <a:r>
              <a:rPr lang="en-US" sz="1500" b="1" dirty="0">
                <a:solidFill>
                  <a:srgbClr val="1F1F1F"/>
                </a:solidFill>
                <a:latin typeface="Arial" panose="020B0604020202020204" pitchFamily="34" charset="0"/>
                <a:ea typeface="Times New Roman" pitchFamily="18" charset="0"/>
                <a:cs typeface="Arial" panose="020B0604020202020204" pitchFamily="34" charset="0"/>
              </a:rPr>
              <a:t>Improve quality of care:</a:t>
            </a:r>
            <a:br>
              <a:rPr lang="en-US" sz="1500" dirty="0">
                <a:solidFill>
                  <a:srgbClr val="1F1F1F"/>
                </a:solidFill>
                <a:latin typeface="Arial" panose="020B0604020202020204" pitchFamily="34" charset="0"/>
                <a:ea typeface="Times New Roman" pitchFamily="18" charset="0"/>
                <a:cs typeface="Arial" panose="020B0604020202020204" pitchFamily="34" charset="0"/>
              </a:rPr>
            </a:br>
            <a:r>
              <a:rPr lang="en-US" sz="1500" dirty="0">
                <a:solidFill>
                  <a:srgbClr val="1F1F1F"/>
                </a:solidFill>
                <a:latin typeface="Arial" panose="020B0604020202020204" pitchFamily="34" charset="0"/>
                <a:ea typeface="Times New Roman" pitchFamily="18" charset="0"/>
                <a:cs typeface="Arial" panose="020B0604020202020204" pitchFamily="34" charset="0"/>
              </a:rPr>
              <a:t>Ensure basic health services are people-oriented and delivered according to established quality standards and protocols.</a:t>
            </a:r>
            <a:endParaRPr lang="en-US" sz="1500" dirty="0">
              <a:solidFill>
                <a:srgbClr val="1F1F1F"/>
              </a:solidFill>
              <a:latin typeface="Arial" panose="020B0604020202020204" pitchFamily="34" charset="0"/>
              <a:cs typeface="Arial" panose="020B0604020202020204" pitchFamily="34" charset="0"/>
            </a:endParaRPr>
          </a:p>
        </p:txBody>
      </p:sp>
      <p:sp>
        <p:nvSpPr>
          <p:cNvPr id="50" name="Rectangle 12">
            <a:extLst>
              <a:ext uri="{FF2B5EF4-FFF2-40B4-BE49-F238E27FC236}">
                <a16:creationId xmlns:a16="http://schemas.microsoft.com/office/drawing/2014/main" id="{19576E27-5B1D-4864-8AD1-AFC19A9B127E}"/>
              </a:ext>
            </a:extLst>
          </p:cNvPr>
          <p:cNvSpPr>
            <a:spLocks noChangeArrowheads="1"/>
          </p:cNvSpPr>
          <p:nvPr/>
        </p:nvSpPr>
        <p:spPr bwMode="auto">
          <a:xfrm>
            <a:off x="3317877" y="3265813"/>
            <a:ext cx="7974014" cy="7404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46" tIns="46574" rIns="93146" bIns="46574" numCol="1" anchor="ctr" anchorCtr="0" compatLnSpc="1">
            <a:prstTxWarp prst="textNoShape">
              <a:avLst/>
            </a:prstTxWarp>
            <a:noAutofit/>
          </a:bodyPr>
          <a:lstStyle/>
          <a:p>
            <a:pPr defTabSz="931483" fontAlgn="base">
              <a:spcBef>
                <a:spcPct val="0"/>
              </a:spcBef>
              <a:spcAft>
                <a:spcPct val="0"/>
              </a:spcAft>
            </a:pPr>
            <a:r>
              <a:rPr lang="en-US" sz="1500" b="1" dirty="0">
                <a:solidFill>
                  <a:srgbClr val="1F1F1F"/>
                </a:solidFill>
                <a:latin typeface="Arial" panose="020B0604020202020204" pitchFamily="34" charset="0"/>
                <a:ea typeface="Times New Roman" pitchFamily="18" charset="0"/>
                <a:cs typeface="Arial" panose="020B0604020202020204" pitchFamily="34" charset="0"/>
              </a:rPr>
              <a:t>Strengthen the institution:</a:t>
            </a:r>
            <a:br>
              <a:rPr lang="en-US" sz="1500" dirty="0">
                <a:solidFill>
                  <a:srgbClr val="1F1F1F"/>
                </a:solidFill>
                <a:latin typeface="Arial" panose="020B0604020202020204" pitchFamily="34" charset="0"/>
                <a:ea typeface="Times New Roman" pitchFamily="18" charset="0"/>
                <a:cs typeface="Arial" panose="020B0604020202020204" pitchFamily="34" charset="0"/>
              </a:rPr>
            </a:br>
            <a:r>
              <a:rPr lang="en-US" sz="1500" dirty="0">
                <a:solidFill>
                  <a:srgbClr val="1F1F1F"/>
                </a:solidFill>
                <a:latin typeface="Arial" panose="020B0604020202020204" pitchFamily="34" charset="0"/>
                <a:ea typeface="Times New Roman" pitchFamily="18" charset="0"/>
                <a:cs typeface="Arial" panose="020B0604020202020204" pitchFamily="34" charset="0"/>
              </a:rPr>
              <a:t>Strengthen Zonal structures, State representation, internal communications, monitoring and evaluation, procurement and the financial management system.</a:t>
            </a:r>
            <a:endParaRPr lang="en-US" sz="1500" dirty="0">
              <a:solidFill>
                <a:srgbClr val="1F1F1F"/>
              </a:solidFill>
              <a:latin typeface="Arial" panose="020B0604020202020204" pitchFamily="34" charset="0"/>
              <a:cs typeface="Arial" panose="020B0604020202020204" pitchFamily="34" charset="0"/>
            </a:endParaRPr>
          </a:p>
        </p:txBody>
      </p:sp>
      <p:sp>
        <p:nvSpPr>
          <p:cNvPr id="51" name="Rectangle 13">
            <a:extLst>
              <a:ext uri="{FF2B5EF4-FFF2-40B4-BE49-F238E27FC236}">
                <a16:creationId xmlns:a16="http://schemas.microsoft.com/office/drawing/2014/main" id="{4D4DC56E-4838-487F-BCC2-8F18B8BD9916}"/>
              </a:ext>
            </a:extLst>
          </p:cNvPr>
          <p:cNvSpPr>
            <a:spLocks noChangeArrowheads="1"/>
          </p:cNvSpPr>
          <p:nvPr/>
        </p:nvSpPr>
        <p:spPr bwMode="auto">
          <a:xfrm>
            <a:off x="3317877" y="4071918"/>
            <a:ext cx="7974014" cy="7404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46" tIns="46574" rIns="93146" bIns="46574" numCol="1" anchor="ctr" anchorCtr="0" compatLnSpc="1">
            <a:prstTxWarp prst="textNoShape">
              <a:avLst/>
            </a:prstTxWarp>
            <a:noAutofit/>
          </a:bodyPr>
          <a:lstStyle/>
          <a:p>
            <a:pPr defTabSz="931483" fontAlgn="base">
              <a:spcBef>
                <a:spcPct val="0"/>
              </a:spcBef>
              <a:spcAft>
                <a:spcPct val="0"/>
              </a:spcAft>
            </a:pPr>
            <a:r>
              <a:rPr lang="en-US" sz="1500" b="1" dirty="0">
                <a:solidFill>
                  <a:srgbClr val="1F1F1F"/>
                </a:solidFill>
                <a:latin typeface="Arial" panose="020B0604020202020204" pitchFamily="34" charset="0"/>
                <a:ea typeface="Times New Roman" pitchFamily="18" charset="0"/>
                <a:cs typeface="Arial" panose="020B0604020202020204" pitchFamily="34" charset="0"/>
              </a:rPr>
              <a:t>Develop high-performing health workforce:</a:t>
            </a:r>
            <a:br>
              <a:rPr lang="en-US" sz="1500" b="1" dirty="0">
                <a:solidFill>
                  <a:srgbClr val="1F1F1F"/>
                </a:solidFill>
                <a:latin typeface="Arial" panose="020B0604020202020204" pitchFamily="34" charset="0"/>
                <a:ea typeface="Times New Roman" pitchFamily="18" charset="0"/>
                <a:cs typeface="Arial" panose="020B0604020202020204" pitchFamily="34" charset="0"/>
              </a:rPr>
            </a:br>
            <a:r>
              <a:rPr lang="en-US" sz="1500" dirty="0">
                <a:solidFill>
                  <a:srgbClr val="1F1F1F"/>
                </a:solidFill>
                <a:latin typeface="Arial" panose="020B0604020202020204" pitchFamily="34" charset="0"/>
                <a:ea typeface="Times New Roman" pitchFamily="18" charset="0"/>
                <a:cs typeface="Arial" panose="020B0604020202020204" pitchFamily="34" charset="0"/>
              </a:rPr>
              <a:t>Organize systems and structures to deliver effective support services through, for example, PHC guidelines, norms and enabling acts for states and LGAs</a:t>
            </a:r>
            <a:endParaRPr lang="en-US" sz="1500" dirty="0">
              <a:solidFill>
                <a:srgbClr val="1F1F1F"/>
              </a:solidFill>
              <a:latin typeface="Arial" panose="020B0604020202020204" pitchFamily="34" charset="0"/>
              <a:cs typeface="Arial" panose="020B0604020202020204" pitchFamily="34" charset="0"/>
            </a:endParaRPr>
          </a:p>
        </p:txBody>
      </p:sp>
      <p:sp>
        <p:nvSpPr>
          <p:cNvPr id="52" name="Rectangle 14">
            <a:extLst>
              <a:ext uri="{FF2B5EF4-FFF2-40B4-BE49-F238E27FC236}">
                <a16:creationId xmlns:a16="http://schemas.microsoft.com/office/drawing/2014/main" id="{6AA2C1AA-57C5-485C-97C2-20BA12362E00}"/>
              </a:ext>
            </a:extLst>
          </p:cNvPr>
          <p:cNvSpPr>
            <a:spLocks noChangeArrowheads="1"/>
          </p:cNvSpPr>
          <p:nvPr/>
        </p:nvSpPr>
        <p:spPr bwMode="auto">
          <a:xfrm>
            <a:off x="3317880" y="4865957"/>
            <a:ext cx="7973901" cy="78655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46" tIns="46574" rIns="93146" bIns="46574" numCol="1" anchor="ctr" anchorCtr="0" compatLnSpc="1">
            <a:prstTxWarp prst="textNoShape">
              <a:avLst/>
            </a:prstTxWarp>
            <a:spAutoFit/>
          </a:bodyPr>
          <a:lstStyle/>
          <a:p>
            <a:pPr defTabSz="931483" fontAlgn="base">
              <a:spcBef>
                <a:spcPct val="0"/>
              </a:spcBef>
              <a:spcAft>
                <a:spcPct val="0"/>
              </a:spcAft>
            </a:pPr>
            <a:r>
              <a:rPr lang="en-US" sz="1500" b="1" dirty="0">
                <a:solidFill>
                  <a:srgbClr val="1F1F1F"/>
                </a:solidFill>
                <a:latin typeface="Arial" panose="020B0604020202020204" pitchFamily="34" charset="0"/>
                <a:ea typeface="Times New Roman" pitchFamily="18" charset="0"/>
                <a:cs typeface="Arial" panose="020B0604020202020204" pitchFamily="34" charset="0"/>
              </a:rPr>
              <a:t>Strengthen partnerships:</a:t>
            </a:r>
            <a:br>
              <a:rPr lang="en-US" sz="1500" b="1" dirty="0">
                <a:solidFill>
                  <a:srgbClr val="1F1F1F"/>
                </a:solidFill>
                <a:latin typeface="Arial" panose="020B0604020202020204" pitchFamily="34" charset="0"/>
                <a:ea typeface="Times New Roman" pitchFamily="18" charset="0"/>
                <a:cs typeface="Arial" panose="020B0604020202020204" pitchFamily="34" charset="0"/>
              </a:rPr>
            </a:br>
            <a:r>
              <a:rPr lang="en-US" sz="1500" dirty="0">
                <a:solidFill>
                  <a:srgbClr val="1F1F1F"/>
                </a:solidFill>
                <a:latin typeface="Arial" panose="020B0604020202020204" pitchFamily="34" charset="0"/>
                <a:ea typeface="Times New Roman" pitchFamily="18" charset="0"/>
                <a:cs typeface="Arial" panose="020B0604020202020204" pitchFamily="34" charset="0"/>
              </a:rPr>
              <a:t>Mobilize and coordinate stakeholders such as Ministries, Departments and Agencies and development partners to support the implementation of PHC.</a:t>
            </a:r>
            <a:endParaRPr lang="en-US" sz="1500" dirty="0">
              <a:solidFill>
                <a:srgbClr val="1F1F1F"/>
              </a:solidFill>
              <a:latin typeface="Arial" panose="020B0604020202020204" pitchFamily="34" charset="0"/>
              <a:cs typeface="Arial" panose="020B0604020202020204" pitchFamily="34" charset="0"/>
            </a:endParaRPr>
          </a:p>
        </p:txBody>
      </p:sp>
      <p:sp>
        <p:nvSpPr>
          <p:cNvPr id="53" name="Rectangle 15">
            <a:extLst>
              <a:ext uri="{FF2B5EF4-FFF2-40B4-BE49-F238E27FC236}">
                <a16:creationId xmlns:a16="http://schemas.microsoft.com/office/drawing/2014/main" id="{CF473370-A7F5-48F1-9AD5-820F5E47AF54}"/>
              </a:ext>
            </a:extLst>
          </p:cNvPr>
          <p:cNvSpPr>
            <a:spLocks noChangeArrowheads="1"/>
          </p:cNvSpPr>
          <p:nvPr/>
        </p:nvSpPr>
        <p:spPr bwMode="auto">
          <a:xfrm>
            <a:off x="3317877" y="5676765"/>
            <a:ext cx="7974014" cy="74042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46" tIns="46574" rIns="93146" bIns="46574" numCol="1" anchor="ctr" anchorCtr="0" compatLnSpc="1">
            <a:prstTxWarp prst="textNoShape">
              <a:avLst/>
            </a:prstTxWarp>
            <a:noAutofit/>
          </a:bodyPr>
          <a:lstStyle/>
          <a:p>
            <a:pPr defTabSz="931483" fontAlgn="base">
              <a:spcBef>
                <a:spcPct val="0"/>
              </a:spcBef>
              <a:spcAft>
                <a:spcPct val="0"/>
              </a:spcAft>
            </a:pPr>
            <a:r>
              <a:rPr lang="en-US" sz="1500" b="1" dirty="0">
                <a:solidFill>
                  <a:srgbClr val="1F1F1F"/>
                </a:solidFill>
                <a:latin typeface="Arial" panose="020B0604020202020204" pitchFamily="34" charset="0"/>
                <a:ea typeface="Times New Roman" pitchFamily="18" charset="0"/>
                <a:cs typeface="Arial" panose="020B0604020202020204" pitchFamily="34" charset="0"/>
              </a:rPr>
              <a:t>Strengthen community engagement:</a:t>
            </a:r>
            <a:br>
              <a:rPr lang="en-US" sz="1500" dirty="0">
                <a:solidFill>
                  <a:srgbClr val="1F1F1F"/>
                </a:solidFill>
                <a:latin typeface="Arial" panose="020B0604020202020204" pitchFamily="34" charset="0"/>
                <a:ea typeface="Times New Roman" pitchFamily="18" charset="0"/>
                <a:cs typeface="Arial" panose="020B0604020202020204" pitchFamily="34" charset="0"/>
              </a:rPr>
            </a:br>
            <a:r>
              <a:rPr lang="en-US" sz="1500" dirty="0">
                <a:solidFill>
                  <a:srgbClr val="1F1F1F"/>
                </a:solidFill>
                <a:latin typeface="Arial" panose="020B0604020202020204" pitchFamily="34" charset="0"/>
                <a:ea typeface="Times New Roman" pitchFamily="18" charset="0"/>
                <a:cs typeface="Arial" panose="020B0604020202020204" pitchFamily="34" charset="0"/>
              </a:rPr>
              <a:t>Promote community participation, ownership and responsibility for health through Ward Development Committees and communication and programmes.</a:t>
            </a:r>
            <a:endParaRPr lang="en-US" sz="1500" dirty="0">
              <a:solidFill>
                <a:srgbClr val="1F1F1F"/>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A13229A6-ECDD-49C5-B43D-F009830AEC7F}"/>
              </a:ext>
            </a:extLst>
          </p:cNvPr>
          <p:cNvSpPr/>
          <p:nvPr/>
        </p:nvSpPr>
        <p:spPr>
          <a:xfrm>
            <a:off x="2322485" y="1640454"/>
            <a:ext cx="210533" cy="711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02" rIns="91401" bIns="45702" rtlCol="0" anchor="ctr"/>
          <a:lstStyle/>
          <a:p>
            <a:pPr defTabSz="914013"/>
            <a:r>
              <a:rPr lang="en-GB" sz="3200" b="1" dirty="0">
                <a:solidFill>
                  <a:prstClr val="white">
                    <a:lumMod val="50000"/>
                  </a:prstClr>
                </a:solidFill>
                <a:latin typeface="Arial" panose="020B0604020202020204" pitchFamily="34" charset="0"/>
                <a:cs typeface="Arial" panose="020B0604020202020204" pitchFamily="34" charset="0"/>
              </a:rPr>
              <a:t>2</a:t>
            </a:r>
            <a:endParaRPr lang="x-none" sz="3200" b="1" dirty="0">
              <a:solidFill>
                <a:prstClr val="white">
                  <a:lumMod val="50000"/>
                </a:prstClr>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17C5D5C8-9469-48B2-961F-11F67F79EA6F}"/>
              </a:ext>
            </a:extLst>
          </p:cNvPr>
          <p:cNvSpPr/>
          <p:nvPr/>
        </p:nvSpPr>
        <p:spPr>
          <a:xfrm>
            <a:off x="2322485" y="2447730"/>
            <a:ext cx="210533" cy="711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02" rIns="91401" bIns="45702" rtlCol="0" anchor="ctr"/>
          <a:lstStyle/>
          <a:p>
            <a:pPr defTabSz="914013"/>
            <a:r>
              <a:rPr lang="en-GB" sz="3200" b="1" dirty="0">
                <a:solidFill>
                  <a:prstClr val="white">
                    <a:lumMod val="50000"/>
                  </a:prstClr>
                </a:solidFill>
                <a:latin typeface="Arial" panose="020B0604020202020204" pitchFamily="34" charset="0"/>
                <a:cs typeface="Arial" panose="020B0604020202020204" pitchFamily="34" charset="0"/>
              </a:rPr>
              <a:t>3</a:t>
            </a:r>
            <a:endParaRPr lang="x-none" sz="3200" b="1" dirty="0">
              <a:solidFill>
                <a:prstClr val="white">
                  <a:lumMod val="50000"/>
                </a:prstClr>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D3A5AA69-9218-4809-848A-57D20298C901}"/>
              </a:ext>
            </a:extLst>
          </p:cNvPr>
          <p:cNvSpPr/>
          <p:nvPr/>
        </p:nvSpPr>
        <p:spPr>
          <a:xfrm>
            <a:off x="2322485" y="3254967"/>
            <a:ext cx="210533" cy="711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02" rIns="91401" bIns="45702" rtlCol="0" anchor="ctr"/>
          <a:lstStyle/>
          <a:p>
            <a:pPr defTabSz="914013"/>
            <a:r>
              <a:rPr lang="en-GB" sz="3200" b="1" dirty="0">
                <a:solidFill>
                  <a:prstClr val="white">
                    <a:lumMod val="50000"/>
                  </a:prstClr>
                </a:solidFill>
                <a:latin typeface="Arial" panose="020B0604020202020204" pitchFamily="34" charset="0"/>
                <a:cs typeface="Arial" panose="020B0604020202020204" pitchFamily="34" charset="0"/>
              </a:rPr>
              <a:t>4</a:t>
            </a:r>
            <a:endParaRPr lang="x-none" sz="3200" b="1" dirty="0">
              <a:solidFill>
                <a:prstClr val="white">
                  <a:lumMod val="50000"/>
                </a:prstClr>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D9B3ECCE-EBBA-4B13-B774-F31B66243B7C}"/>
              </a:ext>
            </a:extLst>
          </p:cNvPr>
          <p:cNvSpPr/>
          <p:nvPr/>
        </p:nvSpPr>
        <p:spPr>
          <a:xfrm>
            <a:off x="2322485" y="4062232"/>
            <a:ext cx="210533" cy="711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02" rIns="91401" bIns="45702" rtlCol="0" anchor="ctr"/>
          <a:lstStyle/>
          <a:p>
            <a:pPr defTabSz="914013"/>
            <a:r>
              <a:rPr lang="en-GB" sz="3200" b="1" dirty="0">
                <a:solidFill>
                  <a:prstClr val="white">
                    <a:lumMod val="50000"/>
                  </a:prstClr>
                </a:solidFill>
                <a:latin typeface="Arial" panose="020B0604020202020204" pitchFamily="34" charset="0"/>
                <a:cs typeface="Arial" panose="020B0604020202020204" pitchFamily="34" charset="0"/>
              </a:rPr>
              <a:t>5</a:t>
            </a:r>
            <a:endParaRPr lang="x-none" sz="3200" b="1" dirty="0">
              <a:solidFill>
                <a:prstClr val="white">
                  <a:lumMod val="50000"/>
                </a:prstClr>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52C1CEC1-3F29-48C0-BCE7-42CEF937E67E}"/>
              </a:ext>
            </a:extLst>
          </p:cNvPr>
          <p:cNvSpPr/>
          <p:nvPr/>
        </p:nvSpPr>
        <p:spPr>
          <a:xfrm>
            <a:off x="2322485" y="4869507"/>
            <a:ext cx="210533" cy="711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02" rIns="91401" bIns="45702" rtlCol="0" anchor="ctr"/>
          <a:lstStyle/>
          <a:p>
            <a:pPr defTabSz="914013"/>
            <a:r>
              <a:rPr lang="en-GB" sz="3200" b="1" dirty="0">
                <a:solidFill>
                  <a:prstClr val="white">
                    <a:lumMod val="50000"/>
                  </a:prstClr>
                </a:solidFill>
                <a:latin typeface="Arial" panose="020B0604020202020204" pitchFamily="34" charset="0"/>
                <a:cs typeface="Arial" panose="020B0604020202020204" pitchFamily="34" charset="0"/>
              </a:rPr>
              <a:t>6</a:t>
            </a:r>
            <a:endParaRPr lang="x-none" sz="3200" b="1" dirty="0">
              <a:solidFill>
                <a:prstClr val="white">
                  <a:lumMod val="50000"/>
                </a:prstClr>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C5D4EB6D-C304-43C3-B765-ECE574ACE3BF}"/>
              </a:ext>
            </a:extLst>
          </p:cNvPr>
          <p:cNvSpPr/>
          <p:nvPr/>
        </p:nvSpPr>
        <p:spPr>
          <a:xfrm>
            <a:off x="2322485" y="5676765"/>
            <a:ext cx="210533" cy="7119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02" rIns="91401" bIns="45702" rtlCol="0" anchor="ctr"/>
          <a:lstStyle/>
          <a:p>
            <a:pPr defTabSz="914013"/>
            <a:r>
              <a:rPr lang="en-GB" sz="3200" b="1" dirty="0">
                <a:solidFill>
                  <a:prstClr val="white">
                    <a:lumMod val="50000"/>
                  </a:prstClr>
                </a:solidFill>
                <a:latin typeface="Arial" panose="020B0604020202020204" pitchFamily="34" charset="0"/>
                <a:cs typeface="Arial" panose="020B0604020202020204" pitchFamily="34" charset="0"/>
              </a:rPr>
              <a:t>7</a:t>
            </a:r>
            <a:endParaRPr lang="x-none" sz="3200" b="1" dirty="0">
              <a:solidFill>
                <a:prstClr val="white">
                  <a:lumMod val="50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a:xfrm>
            <a:off x="9405251" y="6530681"/>
            <a:ext cx="2743201" cy="365125"/>
          </a:xfrm>
        </p:spPr>
        <p:txBody>
          <a:bodyPr/>
          <a:lstStyle/>
          <a:p>
            <a:fld id="{978E596B-AA80-4BB2-8707-B351070E738D}" type="slidenum">
              <a:rPr lang="en-US" sz="1600" b="1">
                <a:solidFill>
                  <a:schemeClr val="bg1"/>
                </a:solidFill>
              </a:rPr>
              <a:pPr/>
              <a:t>3</a:t>
            </a:fld>
            <a:endParaRPr lang="en-US" sz="1600" b="1" dirty="0">
              <a:solidFill>
                <a:schemeClr val="bg1"/>
              </a:solidFill>
            </a:endParaRPr>
          </a:p>
        </p:txBody>
      </p:sp>
      <p:sp>
        <p:nvSpPr>
          <p:cNvPr id="29" name="Rectangle 28">
            <a:extLst>
              <a:ext uri="{FF2B5EF4-FFF2-40B4-BE49-F238E27FC236}">
                <a16:creationId xmlns:a16="http://schemas.microsoft.com/office/drawing/2014/main" id="{E2FC0C0A-14F6-4E97-A99A-1C11DE3386A0}"/>
              </a:ext>
            </a:extLst>
          </p:cNvPr>
          <p:cNvSpPr/>
          <p:nvPr/>
        </p:nvSpPr>
        <p:spPr>
          <a:xfrm>
            <a:off x="884672" y="25964"/>
            <a:ext cx="10109897" cy="678833"/>
          </a:xfrm>
          <a:prstGeom prst="rect">
            <a:avLst/>
          </a:prstGeom>
        </p:spPr>
        <p:txBody>
          <a:bodyPr wrap="square" lIns="93146" tIns="46574" rIns="93146" bIns="46574">
            <a:spAutoFit/>
          </a:bodyPr>
          <a:lstStyle/>
          <a:p>
            <a:pPr algn="just" defTabSz="912072" fontAlgn="base">
              <a:spcBef>
                <a:spcPct val="0"/>
              </a:spcBef>
              <a:spcAft>
                <a:spcPct val="0"/>
              </a:spcAft>
              <a:tabLst>
                <a:tab pos="274916" algn="l"/>
              </a:tabLst>
            </a:pPr>
            <a:r>
              <a:rPr lang="en-US" b="1" dirty="0">
                <a:solidFill>
                  <a:srgbClr val="70AD47">
                    <a:lumMod val="50000"/>
                  </a:srgbClr>
                </a:solidFill>
                <a:latin typeface="Arial" panose="020B0604020202020204" pitchFamily="34" charset="0"/>
                <a:cs typeface="Arial" panose="020B0604020202020204" pitchFamily="34" charset="0"/>
              </a:rPr>
              <a:t>NPHCDA is a parastatal of </a:t>
            </a:r>
            <a:r>
              <a:rPr lang="en-US" b="1" dirty="0" err="1">
                <a:solidFill>
                  <a:srgbClr val="70AD47">
                    <a:lumMod val="50000"/>
                  </a:srgbClr>
                </a:solidFill>
                <a:latin typeface="Arial" panose="020B0604020202020204" pitchFamily="34" charset="0"/>
                <a:cs typeface="Arial" panose="020B0604020202020204" pitchFamily="34" charset="0"/>
              </a:rPr>
              <a:t>FMoH</a:t>
            </a:r>
            <a:r>
              <a:rPr lang="en-US" b="1" dirty="0">
                <a:solidFill>
                  <a:srgbClr val="70AD47">
                    <a:lumMod val="50000"/>
                  </a:srgbClr>
                </a:solidFill>
                <a:latin typeface="Arial" panose="020B0604020202020204" pitchFamily="34" charset="0"/>
                <a:cs typeface="Arial" panose="020B0604020202020204" pitchFamily="34" charset="0"/>
              </a:rPr>
              <a:t> with the mandate to provide technical and programmatic support to states and LGAs on the Development of PHC in Nigeria</a:t>
            </a:r>
          </a:p>
        </p:txBody>
      </p:sp>
      <p:sp>
        <p:nvSpPr>
          <p:cNvPr id="5" name="Rectangle 4">
            <a:extLst>
              <a:ext uri="{FF2B5EF4-FFF2-40B4-BE49-F238E27FC236}">
                <a16:creationId xmlns:a16="http://schemas.microsoft.com/office/drawing/2014/main" id="{9178907C-F919-494F-8F77-87AFED46AB0B}"/>
              </a:ext>
            </a:extLst>
          </p:cNvPr>
          <p:cNvSpPr/>
          <p:nvPr/>
        </p:nvSpPr>
        <p:spPr>
          <a:xfrm>
            <a:off x="108864" y="2607033"/>
            <a:ext cx="1174911" cy="1954084"/>
          </a:xfrm>
          <a:prstGeom prst="rect">
            <a:avLst/>
          </a:prstGeom>
          <a:solidFill>
            <a:schemeClr val="accent6">
              <a:lumMod val="75000"/>
            </a:schemeClr>
          </a:solidFill>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r>
              <a:rPr lang="en-GB" sz="1600" b="1" dirty="0">
                <a:latin typeface="Arial" panose="020B0604020202020204" pitchFamily="34" charset="0"/>
                <a:cs typeface="Arial" panose="020B0604020202020204" pitchFamily="34" charset="0"/>
              </a:rPr>
              <a:t>We have 7 core mandates</a:t>
            </a:r>
            <a:endParaRPr lang="x-none" sz="1600" b="1" dirty="0">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0EE77558-F62F-472B-9536-6FE0084A8F6A}"/>
              </a:ext>
            </a:extLst>
          </p:cNvPr>
          <p:cNvGrpSpPr/>
          <p:nvPr/>
        </p:nvGrpSpPr>
        <p:grpSpPr>
          <a:xfrm>
            <a:off x="1437952" y="3316474"/>
            <a:ext cx="361078" cy="544888"/>
            <a:chOff x="-361079" y="1545168"/>
            <a:chExt cx="1400029" cy="1154489"/>
          </a:xfrm>
        </p:grpSpPr>
        <p:sp>
          <p:nvSpPr>
            <p:cNvPr id="11" name="Arrow: Chevron 10">
              <a:extLst>
                <a:ext uri="{FF2B5EF4-FFF2-40B4-BE49-F238E27FC236}">
                  <a16:creationId xmlns:a16="http://schemas.microsoft.com/office/drawing/2014/main" id="{E6C53926-B938-40A9-8CE2-6EFEA5721C58}"/>
                </a:ext>
              </a:extLst>
            </p:cNvPr>
            <p:cNvSpPr/>
            <p:nvPr/>
          </p:nvSpPr>
          <p:spPr>
            <a:xfrm>
              <a:off x="190216" y="1545168"/>
              <a:ext cx="848734" cy="1154489"/>
            </a:xfrm>
            <a:prstGeom prst="chevron">
              <a:avLst>
                <a:gd name="adj" fmla="val 52565"/>
              </a:avLst>
            </a:prstGeom>
            <a:solidFill>
              <a:schemeClr val="accent6">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schemeClr val="tx1"/>
                </a:solidFill>
              </a:endParaRPr>
            </a:p>
          </p:txBody>
        </p:sp>
        <p:sp>
          <p:nvSpPr>
            <p:cNvPr id="36" name="Arrow: Chevron 35">
              <a:extLst>
                <a:ext uri="{FF2B5EF4-FFF2-40B4-BE49-F238E27FC236}">
                  <a16:creationId xmlns:a16="http://schemas.microsoft.com/office/drawing/2014/main" id="{92862F59-8225-4D24-B2EA-A34F9409AA10}"/>
                </a:ext>
              </a:extLst>
            </p:cNvPr>
            <p:cNvSpPr/>
            <p:nvPr/>
          </p:nvSpPr>
          <p:spPr>
            <a:xfrm>
              <a:off x="-361079" y="1545168"/>
              <a:ext cx="848734" cy="1154489"/>
            </a:xfrm>
            <a:prstGeom prst="chevron">
              <a:avLst>
                <a:gd name="adj" fmla="val 52565"/>
              </a:avLst>
            </a:prstGeom>
            <a:solidFill>
              <a:schemeClr val="accent6">
                <a:lumMod val="60000"/>
                <a:lumOff val="4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schemeClr val="tx1"/>
                </a:solidFill>
              </a:endParaRPr>
            </a:p>
          </p:txBody>
        </p:sp>
      </p:grpSp>
      <p:cxnSp>
        <p:nvCxnSpPr>
          <p:cNvPr id="14" name="Straight Connector 13">
            <a:extLst>
              <a:ext uri="{FF2B5EF4-FFF2-40B4-BE49-F238E27FC236}">
                <a16:creationId xmlns:a16="http://schemas.microsoft.com/office/drawing/2014/main" id="{1A2DC63F-23CB-41B3-828E-A9FF83056B92}"/>
              </a:ext>
            </a:extLst>
          </p:cNvPr>
          <p:cNvCxnSpPr>
            <a:cxnSpLocks/>
            <a:stCxn id="5" idx="3"/>
            <a:endCxn id="36" idx="1"/>
          </p:cNvCxnSpPr>
          <p:nvPr/>
        </p:nvCxnSpPr>
        <p:spPr>
          <a:xfrm>
            <a:off x="1283771" y="3584072"/>
            <a:ext cx="269233" cy="484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4100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32"/>
          <p:cNvGraphicFramePr>
            <a:graphicFrameLocks/>
          </p:cNvGraphicFramePr>
          <p:nvPr>
            <p:extLst/>
          </p:nvPr>
        </p:nvGraphicFramePr>
        <p:xfrm>
          <a:off x="203201" y="1283933"/>
          <a:ext cx="11684000" cy="5075059"/>
        </p:xfrm>
        <a:graphic>
          <a:graphicData uri="http://schemas.openxmlformats.org/drawingml/2006/chart">
            <c:chart xmlns:c="http://schemas.openxmlformats.org/drawingml/2006/chart" xmlns:r="http://schemas.openxmlformats.org/officeDocument/2006/relationships" r:id="rId33"/>
          </a:graphicData>
        </a:graphic>
      </p:graphicFrame>
      <p:sp>
        <p:nvSpPr>
          <p:cNvPr id="7" name="Title 1"/>
          <p:cNvSpPr txBox="1">
            <a:spLocks/>
          </p:cNvSpPr>
          <p:nvPr/>
        </p:nvSpPr>
        <p:spPr>
          <a:xfrm>
            <a:off x="1380355" y="0"/>
            <a:ext cx="9698815" cy="497007"/>
          </a:xfrm>
          <a:prstGeom prst="rect">
            <a:avLst/>
          </a:prstGeom>
          <a:noFill/>
        </p:spPr>
        <p:txBody>
          <a:bodyPr vert="horz" lIns="91440" tIns="45720" rIns="91440" bIns="45720" rtlCol="0" anchor="ctr">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70AD47">
                    <a:lumMod val="50000"/>
                  </a:srgbClr>
                </a:solidFill>
                <a:effectLst/>
                <a:uLnTx/>
                <a:uFillTx/>
                <a:latin typeface="Candara"/>
                <a:ea typeface="+mj-ea"/>
                <a:cs typeface="Candara"/>
              </a:rPr>
              <a:t>Rapid and sustainable improvement have so far been achieved in RI coverage </a:t>
            </a:r>
          </a:p>
        </p:txBody>
      </p:sp>
      <p:sp>
        <p:nvSpPr>
          <p:cNvPr id="6" name="Text Placeholder 2">
            <a:extLst>
              <a:ext uri="{FF2B5EF4-FFF2-40B4-BE49-F238E27FC236}">
                <a16:creationId xmlns:a16="http://schemas.microsoft.com/office/drawing/2014/main" id="{3FA76C16-FCE2-4B20-996E-A15804B22668}"/>
              </a:ext>
            </a:extLst>
          </p:cNvPr>
          <p:cNvSpPr>
            <a:spLocks noGrp="1"/>
          </p:cNvSpPr>
          <p:nvPr>
            <p:custDataLst>
              <p:tags r:id="rId1"/>
            </p:custDataLst>
          </p:nvPr>
        </p:nvSpPr>
        <p:spPr bwMode="gray">
          <a:xfrm>
            <a:off x="1442030" y="4128667"/>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69F4C8A-97A8-4FC5-BB4D-610CA31C919D}" type="datetime'''''''''''''''''''1''''''''''''''''''1''''''''7'''''''''''''''">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7</a:t>
            </a:fld>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78040D18-B223-4FEF-84BF-2B256E6F509B}" type="datetime'''''''''''''''3''''''''''''''''''1%'''''''''''''''''''''''''''">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1%</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8" name="Text Placeholder 2">
            <a:extLst>
              <a:ext uri="{FF2B5EF4-FFF2-40B4-BE49-F238E27FC236}">
                <a16:creationId xmlns:a16="http://schemas.microsoft.com/office/drawing/2014/main" id="{CE0FAC5F-6E42-409A-B316-EB91539636B7}"/>
              </a:ext>
            </a:extLst>
          </p:cNvPr>
          <p:cNvSpPr>
            <a:spLocks noGrp="1"/>
          </p:cNvSpPr>
          <p:nvPr>
            <p:custDataLst>
              <p:tags r:id="rId2"/>
            </p:custDataLst>
          </p:nvPr>
        </p:nvSpPr>
        <p:spPr bwMode="gray">
          <a:xfrm>
            <a:off x="1521471" y="5023008"/>
            <a:ext cx="376238" cy="384175"/>
          </a:xfrm>
          <a:prstGeom prst="rect">
            <a:avLst/>
          </a:prstGeom>
          <a:solidFill>
            <a:srgbClr val="017C61"/>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BDC7D78-99DF-4672-B04A-CBAD0CAAF93D}"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fld id="{FDDB49C3-6800-4EE0-ADAC-46046101BE30}" type="datetime'''''''''3''''''''''''''%'''''''''''''''''''">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9" name="Text Placeholder 2">
            <a:extLst>
              <a:ext uri="{FF2B5EF4-FFF2-40B4-BE49-F238E27FC236}">
                <a16:creationId xmlns:a16="http://schemas.microsoft.com/office/drawing/2014/main" id="{F17683E1-8E9C-4337-AEB3-51D547E8248F}"/>
              </a:ext>
            </a:extLst>
          </p:cNvPr>
          <p:cNvSpPr>
            <a:spLocks noGrp="1"/>
          </p:cNvSpPr>
          <p:nvPr>
            <p:custDataLst>
              <p:tags r:id="rId3"/>
            </p:custDataLst>
          </p:nvPr>
        </p:nvSpPr>
        <p:spPr bwMode="gray">
          <a:xfrm>
            <a:off x="1497446" y="1504825"/>
            <a:ext cx="466725" cy="3451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ABCFA67-8E3A-49D3-8FD7-F98129F5C520}" type="datetime'''4''''''''''''''''''''''''''''''''''0'''''''''''''''''''''''">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0</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fld id="{A95A629B-4D9C-4EA8-8164-0F1A1BB36CDD}"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0" name="Text Placeholder 2">
            <a:extLst>
              <a:ext uri="{FF2B5EF4-FFF2-40B4-BE49-F238E27FC236}">
                <a16:creationId xmlns:a16="http://schemas.microsoft.com/office/drawing/2014/main" id="{F1DEA214-EAC2-4853-A73F-4EA88E3B127C}"/>
              </a:ext>
            </a:extLst>
          </p:cNvPr>
          <p:cNvSpPr>
            <a:spLocks noGrp="1"/>
          </p:cNvSpPr>
          <p:nvPr>
            <p:custDataLst>
              <p:tags r:id="rId4"/>
            </p:custDataLst>
          </p:nvPr>
        </p:nvSpPr>
        <p:spPr bwMode="gray">
          <a:xfrm>
            <a:off x="1414315" y="2661374"/>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2A64E16-30BA-4B1B-B631-E3B128DC8C97}" type="datetime'''''''''''''''''''''''''''''''''2''''0''''''''''9'">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9</a:t>
            </a:fld>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C19709AD-BEED-4F11-85BA-0D016A3185C2}" type="datetime'''''''''''''''''''5''''5''''''''''''''''%'''''''''''''">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5%</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1" name="Text Placeholder 2">
            <a:extLst>
              <a:ext uri="{FF2B5EF4-FFF2-40B4-BE49-F238E27FC236}">
                <a16:creationId xmlns:a16="http://schemas.microsoft.com/office/drawing/2014/main" id="{B8A9D710-3A50-417C-A75A-FF1A2D14DB80}"/>
              </a:ext>
            </a:extLst>
          </p:cNvPr>
          <p:cNvSpPr>
            <a:spLocks noGrp="1"/>
          </p:cNvSpPr>
          <p:nvPr>
            <p:custDataLst>
              <p:tags r:id="rId5"/>
            </p:custDataLst>
          </p:nvPr>
        </p:nvSpPr>
        <p:spPr bwMode="gray">
          <a:xfrm>
            <a:off x="1556667" y="1284630"/>
            <a:ext cx="322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85C7D1E-526D-4213-8BB6-A672D494B5E1}" type="datetime'''''3''''''''''''''''''''''''''7''''''''''''''7'''">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7</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2" name="Text Placeholder 2">
            <a:extLst>
              <a:ext uri="{FF2B5EF4-FFF2-40B4-BE49-F238E27FC236}">
                <a16:creationId xmlns:a16="http://schemas.microsoft.com/office/drawing/2014/main" id="{71DF94F2-7125-42AC-95B2-E4F9DDDD9AD1}"/>
              </a:ext>
            </a:extLst>
          </p:cNvPr>
          <p:cNvSpPr>
            <a:spLocks noGrp="1"/>
          </p:cNvSpPr>
          <p:nvPr>
            <p:custDataLst>
              <p:tags r:id="rId6"/>
            </p:custDataLst>
          </p:nvPr>
        </p:nvSpPr>
        <p:spPr bwMode="gray">
          <a:xfrm>
            <a:off x="3395814" y="2361775"/>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9E66208-3032-4AF6-80B3-9CB319CA23C7}" type="datetime'''1''''''''''''''''''''''''''''''7''''''4'''''''''''''''">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74</a:t>
            </a:fld>
            <a:br>
              <a:rPr kumimoji="0" lang="en-US" altLang="en-US" sz="1400" b="0" i="0" u="none" strike="noStrike" kern="1200" cap="none" spc="0" normalizeH="0" baseline="0" noProof="0" dirty="0">
                <a:ln>
                  <a:noFill/>
                </a:ln>
                <a:solidFill>
                  <a:prstClr val="black"/>
                </a:solidFill>
                <a:effectLst/>
                <a:uLnTx/>
                <a:uFillTx/>
                <a:latin typeface="Calibri"/>
                <a:ea typeface="+mn-ea"/>
                <a:cs typeface="+mn-cs"/>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fld id="{B32A1592-89D9-4431-BC2E-43FB2D11F4BF}" type="datetime'''''''4''''''''''''''''''''6''%'''''''''''''''''''">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6%</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3" name="Text Placeholder 2">
            <a:extLst>
              <a:ext uri="{FF2B5EF4-FFF2-40B4-BE49-F238E27FC236}">
                <a16:creationId xmlns:a16="http://schemas.microsoft.com/office/drawing/2014/main" id="{D68C2B9C-50AB-4A6E-98F0-C4D22D537EB0}"/>
              </a:ext>
            </a:extLst>
          </p:cNvPr>
          <p:cNvSpPr>
            <a:spLocks noGrp="1"/>
          </p:cNvSpPr>
          <p:nvPr>
            <p:custDataLst>
              <p:tags r:id="rId7"/>
            </p:custDataLst>
          </p:nvPr>
        </p:nvSpPr>
        <p:spPr bwMode="gray">
          <a:xfrm>
            <a:off x="3354267" y="1500963"/>
            <a:ext cx="422412" cy="384175"/>
          </a:xfrm>
          <a:prstGeom prst="rect">
            <a:avLst/>
          </a:prstGeom>
          <a:solidFill>
            <a:srgbClr val="C30C3E"/>
          </a:solidFill>
          <a:ln>
            <a:noFill/>
          </a:ln>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3402E88-643F-46C4-A775-9CC23639FDF5}" type="datetime'''''''''2''''''''''''''''''''''''''''''''''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fld id="{7341A2DC-03C5-48F5-AE04-7A9593A8F6A0}" type="datetime'''''''''''''''''''''''''''''6''''''''''%'">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4" name="Text Placeholder 2">
            <a:extLst>
              <a:ext uri="{FF2B5EF4-FFF2-40B4-BE49-F238E27FC236}">
                <a16:creationId xmlns:a16="http://schemas.microsoft.com/office/drawing/2014/main" id="{61752ADA-5FFB-4C64-BBDC-F8004FBE0F34}"/>
              </a:ext>
            </a:extLst>
          </p:cNvPr>
          <p:cNvSpPr>
            <a:spLocks noGrp="1"/>
          </p:cNvSpPr>
          <p:nvPr>
            <p:custDataLst>
              <p:tags r:id="rId8"/>
            </p:custDataLst>
          </p:nvPr>
        </p:nvSpPr>
        <p:spPr bwMode="gray">
          <a:xfrm>
            <a:off x="3395814" y="3839737"/>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E361356-D3CC-40E1-A75B-BA22C9762AC8}" type="datetime'''''''''''''''''''16''''''''''''''''''''''''''''''3'''''''''">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3</a:t>
            </a:fld>
            <a:br>
              <a:rPr kumimoji="0" lang="en-US" altLang="en-US" sz="1400" b="0" i="0" u="none" strike="noStrike" kern="1200" cap="none" spc="0" normalizeH="0" baseline="0" noProof="0" dirty="0">
                <a:ln>
                  <a:noFill/>
                </a:ln>
                <a:solidFill>
                  <a:prstClr val="black"/>
                </a:solidFill>
                <a:effectLst/>
                <a:uLnTx/>
                <a:uFillTx/>
                <a:latin typeface="Calibri"/>
                <a:ea typeface="+mn-ea"/>
                <a:cs typeface="+mn-cs"/>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fld id="{260AFF13-7860-4BC8-9376-7271EB227185}" type="datetime'''''''''''''4''''''''''3''''%'''''''''''">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3%</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5" name="Text Placeholder 2">
            <a:extLst>
              <a:ext uri="{FF2B5EF4-FFF2-40B4-BE49-F238E27FC236}">
                <a16:creationId xmlns:a16="http://schemas.microsoft.com/office/drawing/2014/main" id="{CBE1758A-4098-403D-8F2F-A700F41AF9DA}"/>
              </a:ext>
            </a:extLst>
          </p:cNvPr>
          <p:cNvSpPr>
            <a:spLocks noGrp="1"/>
          </p:cNvSpPr>
          <p:nvPr>
            <p:custDataLst>
              <p:tags r:id="rId9"/>
            </p:custDataLst>
          </p:nvPr>
        </p:nvSpPr>
        <p:spPr bwMode="gray">
          <a:xfrm>
            <a:off x="3460323" y="4971045"/>
            <a:ext cx="376238" cy="384175"/>
          </a:xfrm>
          <a:prstGeom prst="rect">
            <a:avLst/>
          </a:prstGeom>
          <a:solidFill>
            <a:srgbClr val="017C61"/>
          </a:solidFill>
          <a:ln>
            <a:noFill/>
          </a:ln>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4188E53-3EBD-4D44-97E2-C28F20179006}" type="datetime'''''''''''''''''''''2''''''''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fld id="{5D8A4C77-989B-4327-8FA9-4853AC8B4BFD}" type="datetime'''''''''''''''''''''''''''''''''''''6''%'''''''''''''''''">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6" name="Text Placeholder 2">
            <a:extLst>
              <a:ext uri="{FF2B5EF4-FFF2-40B4-BE49-F238E27FC236}">
                <a16:creationId xmlns:a16="http://schemas.microsoft.com/office/drawing/2014/main" id="{11222181-CC1D-4F73-85C9-D1C43DB8183C}"/>
              </a:ext>
            </a:extLst>
          </p:cNvPr>
          <p:cNvSpPr>
            <a:spLocks noGrp="1"/>
          </p:cNvSpPr>
          <p:nvPr>
            <p:custDataLst>
              <p:tags r:id="rId10"/>
            </p:custDataLst>
          </p:nvPr>
        </p:nvSpPr>
        <p:spPr bwMode="gray">
          <a:xfrm>
            <a:off x="3482642" y="1226040"/>
            <a:ext cx="322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87E3B87-75BE-4EC9-88F2-DA6FFFF1109E}" type="datetime'''''''''''''''''37''''''''''9'''''">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9</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8" name="Text Placeholder 2">
            <a:extLst>
              <a:ext uri="{FF2B5EF4-FFF2-40B4-BE49-F238E27FC236}">
                <a16:creationId xmlns:a16="http://schemas.microsoft.com/office/drawing/2014/main" id="{E3AA2E18-CEA6-45B0-A607-AFE15742C828}"/>
              </a:ext>
            </a:extLst>
          </p:cNvPr>
          <p:cNvSpPr>
            <a:spLocks noGrp="1"/>
          </p:cNvSpPr>
          <p:nvPr>
            <p:custDataLst>
              <p:tags r:id="rId11"/>
            </p:custDataLst>
          </p:nvPr>
        </p:nvSpPr>
        <p:spPr bwMode="gray">
          <a:xfrm>
            <a:off x="5264297" y="1247677"/>
            <a:ext cx="322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80</a:t>
            </a:r>
          </a:p>
        </p:txBody>
      </p:sp>
      <p:sp>
        <p:nvSpPr>
          <p:cNvPr id="19" name="Text Placeholder 2">
            <a:extLst>
              <a:ext uri="{FF2B5EF4-FFF2-40B4-BE49-F238E27FC236}">
                <a16:creationId xmlns:a16="http://schemas.microsoft.com/office/drawing/2014/main" id="{DA116578-A208-472B-BA5B-18B8003DCFD1}"/>
              </a:ext>
            </a:extLst>
          </p:cNvPr>
          <p:cNvSpPr>
            <a:spLocks noGrp="1"/>
          </p:cNvSpPr>
          <p:nvPr>
            <p:custDataLst>
              <p:tags r:id="rId12"/>
            </p:custDataLst>
          </p:nvPr>
        </p:nvSpPr>
        <p:spPr bwMode="gray">
          <a:xfrm>
            <a:off x="5191274" y="2162556"/>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41</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D92A6EF5-B632-4EA8-BCEB-3867D2EF01DD}" type="datetime'''3''''''''''''''''''''''7''''''%'''''''''''''''''">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a:t>
            </a:fld>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0" name="Text Placeholder 2">
            <a:extLst>
              <a:ext uri="{FF2B5EF4-FFF2-40B4-BE49-F238E27FC236}">
                <a16:creationId xmlns:a16="http://schemas.microsoft.com/office/drawing/2014/main" id="{8AE945E3-DB4E-450D-B5BF-4C68A5B522F6}"/>
              </a:ext>
            </a:extLst>
          </p:cNvPr>
          <p:cNvSpPr>
            <a:spLocks noGrp="1"/>
          </p:cNvSpPr>
          <p:nvPr>
            <p:custDataLst>
              <p:tags r:id="rId13"/>
            </p:custDataLst>
          </p:nvPr>
        </p:nvSpPr>
        <p:spPr bwMode="gray">
          <a:xfrm>
            <a:off x="5237310" y="1477213"/>
            <a:ext cx="376238" cy="497007"/>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579DF43-32F1-4058-9437-7E126A6FA72A}"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fld id="{09ECEE01-7413-4650-B95E-D5FFDDFAEF14}" type="datetime'''''''''''''3''''''''''''''''''''''''''''%'''''''''''">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1" name="Text Placeholder 2">
            <a:extLst>
              <a:ext uri="{FF2B5EF4-FFF2-40B4-BE49-F238E27FC236}">
                <a16:creationId xmlns:a16="http://schemas.microsoft.com/office/drawing/2014/main" id="{083689E4-205B-4EB5-AF6D-BFC79143DF24}"/>
              </a:ext>
            </a:extLst>
          </p:cNvPr>
          <p:cNvSpPr>
            <a:spLocks noGrp="1"/>
          </p:cNvSpPr>
          <p:nvPr>
            <p:custDataLst>
              <p:tags r:id="rId14"/>
            </p:custDataLst>
          </p:nvPr>
        </p:nvSpPr>
        <p:spPr bwMode="gray">
          <a:xfrm>
            <a:off x="5191274" y="3506789"/>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87</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AF80F82E-64BC-4179-9738-A5DA1C7668E9}" type="datetime'''''''''''''''''''''''''''''''''''''''''''''49%'''''">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9%</a:t>
            </a:fld>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2" name="Text Placeholder 2">
            <a:extLst>
              <a:ext uri="{FF2B5EF4-FFF2-40B4-BE49-F238E27FC236}">
                <a16:creationId xmlns:a16="http://schemas.microsoft.com/office/drawing/2014/main" id="{61A31DF1-B07D-4440-B404-6F420AA3EDDE}"/>
              </a:ext>
            </a:extLst>
          </p:cNvPr>
          <p:cNvSpPr>
            <a:spLocks noGrp="1"/>
          </p:cNvSpPr>
          <p:nvPr>
            <p:custDataLst>
              <p:tags r:id="rId15"/>
            </p:custDataLst>
          </p:nvPr>
        </p:nvSpPr>
        <p:spPr bwMode="gray">
          <a:xfrm>
            <a:off x="5218982" y="4854432"/>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DA5DFCD-1FE4-452C-AD4D-DA61B69301EF}" type="datetime'''''4''''''''''''''''''''''''''''''''''''''''''''''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fld id="{862E8A3C-42CA-4B24-BB88-1F564816221E}"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3" name="Text Placeholder 2">
            <a:extLst>
              <a:ext uri="{FF2B5EF4-FFF2-40B4-BE49-F238E27FC236}">
                <a16:creationId xmlns:a16="http://schemas.microsoft.com/office/drawing/2014/main" id="{E3AA2E18-CEA6-45B0-A607-AFE15742C828}"/>
              </a:ext>
            </a:extLst>
          </p:cNvPr>
          <p:cNvSpPr>
            <a:spLocks noGrp="1"/>
          </p:cNvSpPr>
          <p:nvPr>
            <p:custDataLst>
              <p:tags r:id="rId16"/>
            </p:custDataLst>
          </p:nvPr>
        </p:nvSpPr>
        <p:spPr bwMode="gray">
          <a:xfrm>
            <a:off x="8912617" y="1238498"/>
            <a:ext cx="322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6</a:t>
            </a:r>
          </a:p>
        </p:txBody>
      </p:sp>
      <p:sp>
        <p:nvSpPr>
          <p:cNvPr id="24" name="Text Placeholder 2">
            <a:extLst>
              <a:ext uri="{FF2B5EF4-FFF2-40B4-BE49-F238E27FC236}">
                <a16:creationId xmlns:a16="http://schemas.microsoft.com/office/drawing/2014/main" id="{DA116578-A208-472B-BA5B-18B8003DCFD1}"/>
              </a:ext>
            </a:extLst>
          </p:cNvPr>
          <p:cNvSpPr>
            <a:spLocks noGrp="1"/>
          </p:cNvSpPr>
          <p:nvPr>
            <p:custDataLst>
              <p:tags r:id="rId17"/>
            </p:custDataLst>
          </p:nvPr>
        </p:nvSpPr>
        <p:spPr bwMode="gray">
          <a:xfrm>
            <a:off x="8825789" y="1881148"/>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8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2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5" name="Text Placeholder 2">
            <a:extLst>
              <a:ext uri="{FF2B5EF4-FFF2-40B4-BE49-F238E27FC236}">
                <a16:creationId xmlns:a16="http://schemas.microsoft.com/office/drawing/2014/main" id="{8AE945E3-DB4E-450D-B5BF-4C68A5B522F6}"/>
              </a:ext>
            </a:extLst>
          </p:cNvPr>
          <p:cNvSpPr>
            <a:spLocks noGrp="1"/>
          </p:cNvSpPr>
          <p:nvPr>
            <p:custDataLst>
              <p:tags r:id="rId18"/>
            </p:custDataLst>
          </p:nvPr>
        </p:nvSpPr>
        <p:spPr bwMode="gray">
          <a:xfrm>
            <a:off x="8871825" y="1408185"/>
            <a:ext cx="376238" cy="331338"/>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2</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6" name="Text Placeholder 2">
            <a:extLst>
              <a:ext uri="{FF2B5EF4-FFF2-40B4-BE49-F238E27FC236}">
                <a16:creationId xmlns:a16="http://schemas.microsoft.com/office/drawing/2014/main" id="{083689E4-205B-4EB5-AF6D-BFC79143DF24}"/>
              </a:ext>
            </a:extLst>
          </p:cNvPr>
          <p:cNvSpPr>
            <a:spLocks noGrp="1"/>
          </p:cNvSpPr>
          <p:nvPr>
            <p:custDataLst>
              <p:tags r:id="rId19"/>
            </p:custDataLst>
          </p:nvPr>
        </p:nvSpPr>
        <p:spPr bwMode="gray">
          <a:xfrm>
            <a:off x="8816553" y="3188146"/>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204</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5</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4%</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7" name="Text Placeholder 2">
            <a:extLst>
              <a:ext uri="{FF2B5EF4-FFF2-40B4-BE49-F238E27FC236}">
                <a16:creationId xmlns:a16="http://schemas.microsoft.com/office/drawing/2014/main" id="{61A31DF1-B07D-4440-B404-6F420AA3EDDE}"/>
              </a:ext>
            </a:extLst>
          </p:cNvPr>
          <p:cNvSpPr>
            <a:spLocks noGrp="1"/>
          </p:cNvSpPr>
          <p:nvPr>
            <p:custDataLst>
              <p:tags r:id="rId20"/>
            </p:custDataLst>
          </p:nvPr>
        </p:nvSpPr>
        <p:spPr bwMode="gray">
          <a:xfrm>
            <a:off x="8807317" y="4757458"/>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85</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23%</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8" name="Text Placeholder 2">
            <a:extLst>
              <a:ext uri="{FF2B5EF4-FFF2-40B4-BE49-F238E27FC236}">
                <a16:creationId xmlns:a16="http://schemas.microsoft.com/office/drawing/2014/main" id="{E3AA2E18-CEA6-45B0-A607-AFE15742C828}"/>
              </a:ext>
            </a:extLst>
          </p:cNvPr>
          <p:cNvSpPr>
            <a:spLocks noGrp="1"/>
          </p:cNvSpPr>
          <p:nvPr>
            <p:custDataLst>
              <p:tags r:id="rId21"/>
            </p:custDataLst>
          </p:nvPr>
        </p:nvSpPr>
        <p:spPr bwMode="gray">
          <a:xfrm>
            <a:off x="7097670" y="1247691"/>
            <a:ext cx="322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80</a:t>
            </a:r>
          </a:p>
        </p:txBody>
      </p:sp>
      <p:sp>
        <p:nvSpPr>
          <p:cNvPr id="29" name="Text Placeholder 2">
            <a:extLst>
              <a:ext uri="{FF2B5EF4-FFF2-40B4-BE49-F238E27FC236}">
                <a16:creationId xmlns:a16="http://schemas.microsoft.com/office/drawing/2014/main" id="{DA116578-A208-472B-BA5B-18B8003DCFD1}"/>
              </a:ext>
            </a:extLst>
          </p:cNvPr>
          <p:cNvSpPr>
            <a:spLocks noGrp="1"/>
          </p:cNvSpPr>
          <p:nvPr>
            <p:custDataLst>
              <p:tags r:id="rId22"/>
            </p:custDataLst>
          </p:nvPr>
        </p:nvSpPr>
        <p:spPr bwMode="gray">
          <a:xfrm>
            <a:off x="7010842" y="2116679"/>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48</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39%</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0" name="Text Placeholder 2">
            <a:extLst>
              <a:ext uri="{FF2B5EF4-FFF2-40B4-BE49-F238E27FC236}">
                <a16:creationId xmlns:a16="http://schemas.microsoft.com/office/drawing/2014/main" id="{8AE945E3-DB4E-450D-B5BF-4C68A5B522F6}"/>
              </a:ext>
            </a:extLst>
          </p:cNvPr>
          <p:cNvSpPr>
            <a:spLocks noGrp="1"/>
          </p:cNvSpPr>
          <p:nvPr>
            <p:custDataLst>
              <p:tags r:id="rId23"/>
            </p:custDataLst>
          </p:nvPr>
        </p:nvSpPr>
        <p:spPr bwMode="gray">
          <a:xfrm>
            <a:off x="7056878" y="1508810"/>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8</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2%</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31" name="Text Placeholder 2">
            <a:extLst>
              <a:ext uri="{FF2B5EF4-FFF2-40B4-BE49-F238E27FC236}">
                <a16:creationId xmlns:a16="http://schemas.microsoft.com/office/drawing/2014/main" id="{083689E4-205B-4EB5-AF6D-BFC79143DF24}"/>
              </a:ext>
            </a:extLst>
          </p:cNvPr>
          <p:cNvSpPr>
            <a:spLocks noGrp="1"/>
          </p:cNvSpPr>
          <p:nvPr>
            <p:custDataLst>
              <p:tags r:id="rId24"/>
            </p:custDataLst>
          </p:nvPr>
        </p:nvSpPr>
        <p:spPr bwMode="gray">
          <a:xfrm>
            <a:off x="7010842" y="3543747"/>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72</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45%</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2" name="Text Placeholder 2">
            <a:extLst>
              <a:ext uri="{FF2B5EF4-FFF2-40B4-BE49-F238E27FC236}">
                <a16:creationId xmlns:a16="http://schemas.microsoft.com/office/drawing/2014/main" id="{61A31DF1-B07D-4440-B404-6F420AA3EDDE}"/>
              </a:ext>
            </a:extLst>
          </p:cNvPr>
          <p:cNvSpPr>
            <a:spLocks noGrp="1"/>
          </p:cNvSpPr>
          <p:nvPr>
            <p:custDataLst>
              <p:tags r:id="rId25"/>
            </p:custDataLst>
          </p:nvPr>
        </p:nvSpPr>
        <p:spPr bwMode="gray">
          <a:xfrm>
            <a:off x="6983134" y="4826732"/>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52</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4%</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34" name="Text Placeholder 2">
            <a:extLst>
              <a:ext uri="{FF2B5EF4-FFF2-40B4-BE49-F238E27FC236}">
                <a16:creationId xmlns:a16="http://schemas.microsoft.com/office/drawing/2014/main" id="{E3AA2E18-CEA6-45B0-A607-AFE15742C828}"/>
              </a:ext>
            </a:extLst>
          </p:cNvPr>
          <p:cNvSpPr>
            <a:spLocks noGrp="1"/>
          </p:cNvSpPr>
          <p:nvPr>
            <p:custDataLst>
              <p:tags r:id="rId26"/>
            </p:custDataLst>
          </p:nvPr>
        </p:nvSpPr>
        <p:spPr bwMode="gray">
          <a:xfrm>
            <a:off x="10649518" y="1261493"/>
            <a:ext cx="322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5</a:t>
            </a:r>
          </a:p>
        </p:txBody>
      </p:sp>
      <p:sp>
        <p:nvSpPr>
          <p:cNvPr id="35" name="Text Placeholder 2">
            <a:extLst>
              <a:ext uri="{FF2B5EF4-FFF2-40B4-BE49-F238E27FC236}">
                <a16:creationId xmlns:a16="http://schemas.microsoft.com/office/drawing/2014/main" id="{DA116578-A208-472B-BA5B-18B8003DCFD1}"/>
              </a:ext>
            </a:extLst>
          </p:cNvPr>
          <p:cNvSpPr>
            <a:spLocks noGrp="1"/>
          </p:cNvSpPr>
          <p:nvPr>
            <p:custDataLst>
              <p:tags r:id="rId27"/>
            </p:custDataLst>
          </p:nvPr>
        </p:nvSpPr>
        <p:spPr bwMode="gray">
          <a:xfrm>
            <a:off x="10410850" y="1618504"/>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6" name="Text Placeholder 2">
            <a:extLst>
              <a:ext uri="{FF2B5EF4-FFF2-40B4-BE49-F238E27FC236}">
                <a16:creationId xmlns:a16="http://schemas.microsoft.com/office/drawing/2014/main" id="{8AE945E3-DB4E-450D-B5BF-4C68A5B522F6}"/>
              </a:ext>
            </a:extLst>
          </p:cNvPr>
          <p:cNvSpPr>
            <a:spLocks noGrp="1"/>
          </p:cNvSpPr>
          <p:nvPr>
            <p:custDataLst>
              <p:tags r:id="rId28"/>
            </p:custDataLst>
          </p:nvPr>
        </p:nvSpPr>
        <p:spPr bwMode="gray">
          <a:xfrm>
            <a:off x="10891013" y="1449601"/>
            <a:ext cx="218181" cy="262309"/>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0%</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37" name="Text Placeholder 2">
            <a:extLst>
              <a:ext uri="{FF2B5EF4-FFF2-40B4-BE49-F238E27FC236}">
                <a16:creationId xmlns:a16="http://schemas.microsoft.com/office/drawing/2014/main" id="{083689E4-205B-4EB5-AF6D-BFC79143DF24}"/>
              </a:ext>
            </a:extLst>
          </p:cNvPr>
          <p:cNvSpPr>
            <a:spLocks noGrp="1"/>
          </p:cNvSpPr>
          <p:nvPr>
            <p:custDataLst>
              <p:tags r:id="rId29"/>
            </p:custDataLst>
          </p:nvPr>
        </p:nvSpPr>
        <p:spPr bwMode="gray">
          <a:xfrm>
            <a:off x="10649977" y="2851025"/>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90</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51</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8" name="Text Placeholder 2">
            <a:extLst>
              <a:ext uri="{FF2B5EF4-FFF2-40B4-BE49-F238E27FC236}">
                <a16:creationId xmlns:a16="http://schemas.microsoft.com/office/drawing/2014/main" id="{61A31DF1-B07D-4440-B404-6F420AA3EDDE}"/>
              </a:ext>
            </a:extLst>
          </p:cNvPr>
          <p:cNvSpPr>
            <a:spLocks noGrp="1"/>
          </p:cNvSpPr>
          <p:nvPr>
            <p:custDataLst>
              <p:tags r:id="rId30"/>
            </p:custDataLst>
          </p:nvPr>
        </p:nvSpPr>
        <p:spPr bwMode="gray">
          <a:xfrm>
            <a:off x="10649977" y="4595830"/>
            <a:ext cx="46672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39</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37%</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 name="Rectangle 1"/>
          <p:cNvSpPr/>
          <p:nvPr/>
        </p:nvSpPr>
        <p:spPr>
          <a:xfrm>
            <a:off x="1489937" y="526499"/>
            <a:ext cx="9209567" cy="646331"/>
          </a:xfrm>
          <a:prstGeom prst="rect">
            <a:avLst/>
          </a:prstGeom>
        </p:spPr>
        <p:txBody>
          <a:bodyPr wrap="square">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ndara"/>
                <a:ea typeface="+mn-ea"/>
                <a:cs typeface="Candara"/>
              </a:rPr>
              <a:t>LQAS conducted between Q4 2017 &amp; Q1 2019 show progressive increase in the number of LGAs that passed Lot: 11 LGAs (3%) in Q4 2017 to 85 (23%) and 139 (37%)  in Q4 2018 and Q1 2019</a:t>
            </a:r>
          </a:p>
        </p:txBody>
      </p:sp>
    </p:spTree>
    <p:extLst>
      <p:ext uri="{BB962C8B-B14F-4D97-AF65-F5344CB8AC3E}">
        <p14:creationId xmlns:p14="http://schemas.microsoft.com/office/powerpoint/2010/main" val="36657108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95514085"/>
              </p:ext>
            </p:extLst>
          </p:nvPr>
        </p:nvGraphicFramePr>
        <p:xfrm>
          <a:off x="1591" y="1595"/>
          <a:ext cx="1586" cy="1587"/>
        </p:xfrm>
        <a:graphic>
          <a:graphicData uri="http://schemas.openxmlformats.org/presentationml/2006/ole">
            <mc:AlternateContent xmlns:mc="http://schemas.openxmlformats.org/markup-compatibility/2006">
              <mc:Choice xmlns:v="urn:schemas-microsoft-com:vml" Requires="v">
                <p:oleObj spid="_x0000_s69121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1" y="1595"/>
                        <a:ext cx="1586" cy="1587"/>
                      </a:xfrm>
                      <a:prstGeom prst="rect">
                        <a:avLst/>
                      </a:prstGeom>
                    </p:spPr>
                  </p:pic>
                </p:oleObj>
              </mc:Fallback>
            </mc:AlternateContent>
          </a:graphicData>
        </a:graphic>
      </p:graphicFrame>
      <p:graphicFrame>
        <p:nvGraphicFramePr>
          <p:cNvPr id="18" name="Chart 17"/>
          <p:cNvGraphicFramePr>
            <a:graphicFrameLocks/>
          </p:cNvGraphicFramePr>
          <p:nvPr>
            <p:extLst>
              <p:ext uri="{D42A27DB-BD31-4B8C-83A1-F6EECF244321}">
                <p14:modId xmlns:p14="http://schemas.microsoft.com/office/powerpoint/2010/main" val="1364805315"/>
              </p:ext>
            </p:extLst>
          </p:nvPr>
        </p:nvGraphicFramePr>
        <p:xfrm>
          <a:off x="190502" y="1190628"/>
          <a:ext cx="11801475" cy="5076825"/>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p:cNvSpPr>
            <a:spLocks noGrp="1"/>
          </p:cNvSpPr>
          <p:nvPr>
            <p:ph type="title"/>
          </p:nvPr>
        </p:nvSpPr>
        <p:spPr>
          <a:xfrm>
            <a:off x="951981" y="76725"/>
            <a:ext cx="10258817" cy="1200933"/>
          </a:xfrm>
          <a:noFill/>
        </p:spPr>
        <p:txBody>
          <a:bodyPr>
            <a:noAutofit/>
          </a:bodyPr>
          <a:lstStyle/>
          <a:p>
            <a:br>
              <a:rPr lang="en-US" sz="1900" b="1" dirty="0">
                <a:solidFill>
                  <a:srgbClr val="0000FF"/>
                </a:solidFill>
              </a:rPr>
            </a:br>
            <a:r>
              <a:rPr lang="en-US" sz="2200" b="1" baseline="30000" dirty="0">
                <a:solidFill>
                  <a:srgbClr val="015F32"/>
                </a:solidFill>
                <a:latin typeface="Arial"/>
              </a:rPr>
              <a:t>6</a:t>
            </a:r>
            <a:r>
              <a:rPr lang="en-US" sz="2200" b="1" dirty="0">
                <a:solidFill>
                  <a:srgbClr val="204024"/>
                </a:solidFill>
                <a:latin typeface="Arial" panose="020B0604020202020204" pitchFamily="34" charset="0"/>
                <a:cs typeface="Arial" panose="020B0604020202020204" pitchFamily="34" charset="0"/>
              </a:rPr>
              <a:t>Proportion of children appropriately immunized for age </a:t>
            </a:r>
            <a:r>
              <a:rPr lang="en-US" sz="2200" b="1" dirty="0">
                <a:solidFill>
                  <a:srgbClr val="FF0000"/>
                </a:solidFill>
              </a:rPr>
              <a:t>Card+ History</a:t>
            </a:r>
            <a:r>
              <a:rPr lang="en-US" sz="2200" b="1" dirty="0">
                <a:solidFill>
                  <a:srgbClr val="204024"/>
                </a:solidFill>
                <a:latin typeface="Arial" panose="020B0604020202020204" pitchFamily="34" charset="0"/>
                <a:cs typeface="Arial" panose="020B0604020202020204" pitchFamily="34" charset="0"/>
              </a:rPr>
              <a:t>  in 36 states and FCT comparing RI LQAS in Q2 (June) vs. Q4 (December), has improved in most states by December 2018</a:t>
            </a:r>
            <a:br>
              <a:rPr lang="en-US" sz="2200" b="1" dirty="0">
                <a:solidFill>
                  <a:srgbClr val="0000FF"/>
                </a:solidFill>
              </a:rPr>
            </a:br>
            <a:endParaRPr lang="en-US" sz="2200" b="1" dirty="0">
              <a:solidFill>
                <a:srgbClr val="0000FF"/>
              </a:solidFill>
            </a:endParaRPr>
          </a:p>
        </p:txBody>
      </p:sp>
      <p:sp>
        <p:nvSpPr>
          <p:cNvPr id="7" name="Oval 6"/>
          <p:cNvSpPr/>
          <p:nvPr/>
        </p:nvSpPr>
        <p:spPr>
          <a:xfrm>
            <a:off x="2539637" y="5310875"/>
            <a:ext cx="395508" cy="699347"/>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endParaRPr lang="en-US" sz="1800">
              <a:solidFill>
                <a:prstClr val="white"/>
              </a:solidFill>
            </a:endParaRPr>
          </a:p>
        </p:txBody>
      </p:sp>
      <p:sp>
        <p:nvSpPr>
          <p:cNvPr id="10" name="Oval 9"/>
          <p:cNvSpPr/>
          <p:nvPr/>
        </p:nvSpPr>
        <p:spPr>
          <a:xfrm>
            <a:off x="3999273" y="5301349"/>
            <a:ext cx="406401" cy="699347"/>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endParaRPr lang="en-US" sz="1800">
              <a:solidFill>
                <a:prstClr val="white"/>
              </a:solidFill>
            </a:endParaRPr>
          </a:p>
        </p:txBody>
      </p:sp>
      <p:sp>
        <p:nvSpPr>
          <p:cNvPr id="11" name="Oval 10"/>
          <p:cNvSpPr/>
          <p:nvPr/>
        </p:nvSpPr>
        <p:spPr>
          <a:xfrm>
            <a:off x="4569414" y="5291824"/>
            <a:ext cx="355308" cy="699347"/>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endParaRPr lang="en-US" sz="1800">
              <a:solidFill>
                <a:prstClr val="white"/>
              </a:solidFill>
            </a:endParaRPr>
          </a:p>
        </p:txBody>
      </p:sp>
      <p:sp>
        <p:nvSpPr>
          <p:cNvPr id="14" name="Oval 13"/>
          <p:cNvSpPr/>
          <p:nvPr/>
        </p:nvSpPr>
        <p:spPr>
          <a:xfrm>
            <a:off x="7230565" y="5291381"/>
            <a:ext cx="302863" cy="699347"/>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endParaRPr lang="en-US" sz="1800">
              <a:solidFill>
                <a:prstClr val="white"/>
              </a:solidFill>
            </a:endParaRPr>
          </a:p>
        </p:txBody>
      </p:sp>
      <p:sp>
        <p:nvSpPr>
          <p:cNvPr id="16" name="Oval 15"/>
          <p:cNvSpPr/>
          <p:nvPr/>
        </p:nvSpPr>
        <p:spPr>
          <a:xfrm>
            <a:off x="9225617" y="5244355"/>
            <a:ext cx="406401" cy="699347"/>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endParaRPr lang="en-US" sz="1800">
              <a:solidFill>
                <a:prstClr val="white"/>
              </a:solidFill>
            </a:endParaRPr>
          </a:p>
        </p:txBody>
      </p:sp>
      <p:sp>
        <p:nvSpPr>
          <p:cNvPr id="20" name="Oval 19"/>
          <p:cNvSpPr/>
          <p:nvPr/>
        </p:nvSpPr>
        <p:spPr>
          <a:xfrm>
            <a:off x="7479165" y="5327747"/>
            <a:ext cx="406401" cy="699347"/>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endParaRPr lang="en-US" sz="1800">
              <a:solidFill>
                <a:prstClr val="white"/>
              </a:solidFill>
            </a:endParaRPr>
          </a:p>
        </p:txBody>
      </p:sp>
      <p:sp>
        <p:nvSpPr>
          <p:cNvPr id="21" name="Oval 20"/>
          <p:cNvSpPr/>
          <p:nvPr/>
        </p:nvSpPr>
        <p:spPr>
          <a:xfrm>
            <a:off x="4943785" y="5326174"/>
            <a:ext cx="314903" cy="699347"/>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endParaRPr lang="en-US" sz="1800">
              <a:solidFill>
                <a:prstClr val="white"/>
              </a:solidFill>
            </a:endParaRPr>
          </a:p>
        </p:txBody>
      </p:sp>
      <p:sp>
        <p:nvSpPr>
          <p:cNvPr id="22" name="Oval 21"/>
          <p:cNvSpPr/>
          <p:nvPr/>
        </p:nvSpPr>
        <p:spPr>
          <a:xfrm>
            <a:off x="1659563" y="5291799"/>
            <a:ext cx="440267" cy="82989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endParaRPr lang="en-US" sz="1800">
              <a:solidFill>
                <a:prstClr val="white"/>
              </a:solidFill>
            </a:endParaRPr>
          </a:p>
        </p:txBody>
      </p:sp>
      <p:sp>
        <p:nvSpPr>
          <p:cNvPr id="15" name="Oval 14"/>
          <p:cNvSpPr/>
          <p:nvPr/>
        </p:nvSpPr>
        <p:spPr>
          <a:xfrm>
            <a:off x="6893438" y="5296005"/>
            <a:ext cx="302863" cy="699347"/>
          </a:xfrm>
          <a:prstGeom prst="ellipse">
            <a:avLst/>
          </a:prstGeom>
          <a:noFill/>
          <a:ln w="28575">
            <a:solidFill>
              <a:srgbClr val="008700"/>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defTabSz="914013">
              <a:defRPr/>
            </a:pPr>
            <a:endParaRPr lang="en-US" sz="1800">
              <a:solidFill>
                <a:prstClr val="white"/>
              </a:solidFill>
            </a:endParaRPr>
          </a:p>
        </p:txBody>
      </p:sp>
      <p:sp>
        <p:nvSpPr>
          <p:cNvPr id="17"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algn="r" defTabSz="912173"/>
            <a:fld id="{978E596B-AA80-4BB2-8707-B351070E738D}" type="slidenum">
              <a:rPr lang="en-US" sz="1400" b="1">
                <a:solidFill>
                  <a:schemeClr val="bg1"/>
                </a:solidFill>
              </a:rPr>
              <a:pPr algn="r" defTabSz="912173"/>
              <a:t>31</a:t>
            </a:fld>
            <a:endParaRPr lang="en-US" sz="1400" b="1" dirty="0">
              <a:solidFill>
                <a:schemeClr val="bg1"/>
              </a:solidFill>
            </a:endParaRPr>
          </a:p>
        </p:txBody>
      </p:sp>
    </p:spTree>
    <p:extLst>
      <p:ext uri="{BB962C8B-B14F-4D97-AF65-F5344CB8AC3E}">
        <p14:creationId xmlns:p14="http://schemas.microsoft.com/office/powerpoint/2010/main" val="27407397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244564" y="1368974"/>
            <a:ext cx="4921137" cy="4007597"/>
            <a:chOff x="7558121" y="1126377"/>
            <a:chExt cx="4251804" cy="4900068"/>
          </a:xfrm>
        </p:grpSpPr>
        <p:sp>
          <p:nvSpPr>
            <p:cNvPr id="261" name="Freeform 29"/>
            <p:cNvSpPr>
              <a:spLocks/>
            </p:cNvSpPr>
            <p:nvPr>
              <p:custDataLst>
                <p:tags r:id="rId173"/>
              </p:custDataLst>
            </p:nvPr>
          </p:nvSpPr>
          <p:spPr bwMode="auto">
            <a:xfrm>
              <a:off x="7558121" y="1135963"/>
              <a:ext cx="4251804" cy="4890482"/>
            </a:xfrm>
            <a:custGeom>
              <a:avLst/>
              <a:gdLst>
                <a:gd name="T0" fmla="*/ 0 w 1237"/>
                <a:gd name="T1" fmla="*/ 0 h 3257"/>
                <a:gd name="T2" fmla="*/ 1237 w 1237"/>
                <a:gd name="T3" fmla="*/ 0 h 3257"/>
                <a:gd name="T4" fmla="*/ 1237 w 1237"/>
                <a:gd name="T5" fmla="*/ 3257 h 3257"/>
                <a:gd name="T6" fmla="*/ 0 w 1237"/>
                <a:gd name="T7" fmla="*/ 3257 h 3257"/>
                <a:gd name="T8" fmla="*/ 0 w 1237"/>
                <a:gd name="T9" fmla="*/ 1629 h 3257"/>
                <a:gd name="T10" fmla="*/ 0 w 1237"/>
                <a:gd name="T11" fmla="*/ 0 h 3257"/>
              </a:gdLst>
              <a:ahLst/>
              <a:cxnLst>
                <a:cxn ang="0">
                  <a:pos x="T0" y="T1"/>
                </a:cxn>
                <a:cxn ang="0">
                  <a:pos x="T2" y="T3"/>
                </a:cxn>
                <a:cxn ang="0">
                  <a:pos x="T4" y="T5"/>
                </a:cxn>
                <a:cxn ang="0">
                  <a:pos x="T6" y="T7"/>
                </a:cxn>
                <a:cxn ang="0">
                  <a:pos x="T8" y="T9"/>
                </a:cxn>
                <a:cxn ang="0">
                  <a:pos x="T10" y="T11"/>
                </a:cxn>
              </a:cxnLst>
              <a:rect l="0" t="0" r="r" b="b"/>
              <a:pathLst>
                <a:path w="1237" h="3257">
                  <a:moveTo>
                    <a:pt x="0" y="0"/>
                  </a:moveTo>
                  <a:lnTo>
                    <a:pt x="1237" y="0"/>
                  </a:lnTo>
                  <a:lnTo>
                    <a:pt x="1237" y="3257"/>
                  </a:lnTo>
                  <a:lnTo>
                    <a:pt x="0" y="3257"/>
                  </a:lnTo>
                  <a:lnTo>
                    <a:pt x="0" y="1629"/>
                  </a:lnTo>
                  <a:lnTo>
                    <a:pt x="0" y="0"/>
                  </a:lnTo>
                  <a:close/>
                </a:path>
              </a:pathLst>
            </a:custGeom>
            <a:solidFill>
              <a:schemeClr val="bg1"/>
            </a:solidFill>
            <a:ln w="19050" cmpd="sng">
              <a:solidFill>
                <a:schemeClr val="accent6">
                  <a:lumMod val="50000"/>
                </a:schemeClr>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68565" tIns="34284" rIns="68565" bIns="34284" anchor="ctr"/>
            <a:lstStyle/>
            <a:p>
              <a:pPr defTabSz="683577"/>
              <a:endParaRPr lang="en-US" sz="1500">
                <a:solidFill>
                  <a:srgbClr val="000000"/>
                </a:solidFill>
                <a:latin typeface="Arial"/>
              </a:endParaRPr>
            </a:p>
          </p:txBody>
        </p:sp>
        <p:sp>
          <p:nvSpPr>
            <p:cNvPr id="262" name="Freeform 30"/>
            <p:cNvSpPr>
              <a:spLocks/>
            </p:cNvSpPr>
            <p:nvPr>
              <p:custDataLst>
                <p:tags r:id="rId174"/>
              </p:custDataLst>
            </p:nvPr>
          </p:nvSpPr>
          <p:spPr bwMode="auto">
            <a:xfrm>
              <a:off x="7558121" y="1126377"/>
              <a:ext cx="4251804" cy="63500"/>
            </a:xfrm>
            <a:custGeom>
              <a:avLst/>
              <a:gdLst>
                <a:gd name="T0" fmla="*/ 0 w 1237"/>
                <a:gd name="T1" fmla="*/ 0 h 3257"/>
                <a:gd name="T2" fmla="*/ 1237 w 1237"/>
                <a:gd name="T3" fmla="*/ 0 h 3257"/>
                <a:gd name="T4" fmla="*/ 1237 w 1237"/>
                <a:gd name="T5" fmla="*/ 3257 h 3257"/>
                <a:gd name="T6" fmla="*/ 0 w 1237"/>
                <a:gd name="T7" fmla="*/ 3257 h 3257"/>
                <a:gd name="T8" fmla="*/ 0 w 1237"/>
                <a:gd name="T9" fmla="*/ 1629 h 3257"/>
                <a:gd name="T10" fmla="*/ 0 w 1237"/>
                <a:gd name="T11" fmla="*/ 0 h 3257"/>
              </a:gdLst>
              <a:ahLst/>
              <a:cxnLst>
                <a:cxn ang="0">
                  <a:pos x="T0" y="T1"/>
                </a:cxn>
                <a:cxn ang="0">
                  <a:pos x="T2" y="T3"/>
                </a:cxn>
                <a:cxn ang="0">
                  <a:pos x="T4" y="T5"/>
                </a:cxn>
                <a:cxn ang="0">
                  <a:pos x="T6" y="T7"/>
                </a:cxn>
                <a:cxn ang="0">
                  <a:pos x="T8" y="T9"/>
                </a:cxn>
                <a:cxn ang="0">
                  <a:pos x="T10" y="T11"/>
                </a:cxn>
              </a:cxnLst>
              <a:rect l="0" t="0" r="r" b="b"/>
              <a:pathLst>
                <a:path w="1237" h="3257">
                  <a:moveTo>
                    <a:pt x="0" y="0"/>
                  </a:moveTo>
                  <a:lnTo>
                    <a:pt x="1237" y="0"/>
                  </a:lnTo>
                  <a:lnTo>
                    <a:pt x="1237" y="3257"/>
                  </a:lnTo>
                  <a:lnTo>
                    <a:pt x="0" y="3257"/>
                  </a:lnTo>
                  <a:lnTo>
                    <a:pt x="0" y="1629"/>
                  </a:lnTo>
                  <a:lnTo>
                    <a:pt x="0" y="0"/>
                  </a:lnTo>
                  <a:close/>
                </a:path>
              </a:pathLst>
            </a:custGeom>
            <a:solidFill>
              <a:schemeClr val="accent6">
                <a:lumMod val="50000"/>
              </a:schemeClr>
            </a:solidFill>
            <a:ln w="19050" cmpd="sng">
              <a:solidFill>
                <a:schemeClr val="accent6">
                  <a:lumMod val="50000"/>
                </a:schemeClr>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68565" tIns="34284" rIns="68565" bIns="34284" anchor="ctr"/>
            <a:lstStyle/>
            <a:p>
              <a:pPr defTabSz="683577"/>
              <a:endParaRPr lang="en-US" sz="1500">
                <a:solidFill>
                  <a:srgbClr val="000000"/>
                </a:solidFill>
                <a:latin typeface="Arial"/>
              </a:endParaRPr>
            </a:p>
          </p:txBody>
        </p:sp>
        <p:grpSp>
          <p:nvGrpSpPr>
            <p:cNvPr id="263" name="Group 12"/>
            <p:cNvGrpSpPr>
              <a:grpSpLocks/>
            </p:cNvGrpSpPr>
            <p:nvPr>
              <p:custDataLst>
                <p:tags r:id="rId175"/>
              </p:custDataLst>
            </p:nvPr>
          </p:nvGrpSpPr>
          <p:grpSpPr bwMode="auto">
            <a:xfrm>
              <a:off x="7637477" y="1295131"/>
              <a:ext cx="4091508" cy="223839"/>
              <a:chOff x="915" y="729"/>
              <a:chExt cx="2686" cy="141"/>
            </a:xfrm>
          </p:grpSpPr>
          <p:cxnSp>
            <p:nvCxnSpPr>
              <p:cNvPr id="264" name="AutoShape 13"/>
              <p:cNvCxnSpPr>
                <a:cxnSpLocks noChangeShapeType="1"/>
                <a:stCxn id="265" idx="4"/>
                <a:endCxn id="265" idx="6"/>
              </p:cNvCxnSpPr>
              <p:nvPr/>
            </p:nvCxnSpPr>
            <p:spPr bwMode="auto">
              <a:xfrm>
                <a:off x="915" y="87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65" name="AutoShape 14"/>
              <p:cNvSpPr>
                <a:spLocks noChangeArrowheads="1"/>
              </p:cNvSpPr>
              <p:nvPr/>
            </p:nvSpPr>
            <p:spPr bwMode="auto">
              <a:xfrm>
                <a:off x="915" y="729"/>
                <a:ext cx="2686" cy="14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3715" anchor="b">
                <a:spAutoFit/>
              </a:bodyPr>
              <a:lstStyle/>
              <a:p>
                <a:pPr defTabSz="683577"/>
                <a:r>
                  <a:rPr lang="en-GB" sz="1100" b="1" dirty="0">
                    <a:solidFill>
                      <a:srgbClr val="000000"/>
                    </a:solidFill>
                    <a:latin typeface="Arial"/>
                  </a:rPr>
                  <a:t>The aspiration</a:t>
                </a:r>
                <a:endParaRPr lang="en-GB" sz="1100" dirty="0">
                  <a:solidFill>
                    <a:srgbClr val="808080"/>
                  </a:solidFill>
                  <a:latin typeface="Arial"/>
                </a:endParaRPr>
              </a:p>
            </p:txBody>
          </p:sp>
        </p:grpSp>
        <p:sp>
          <p:nvSpPr>
            <p:cNvPr id="266" name="Rectangle 5"/>
            <p:cNvSpPr>
              <a:spLocks noChangeArrowheads="1"/>
            </p:cNvSpPr>
            <p:nvPr>
              <p:custDataLst>
                <p:tags r:id="rId176"/>
              </p:custDataLst>
            </p:nvPr>
          </p:nvSpPr>
          <p:spPr bwMode="auto">
            <a:xfrm>
              <a:off x="7637478" y="1567504"/>
              <a:ext cx="4091509" cy="80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defTabSz="671036">
                <a:spcBef>
                  <a:spcPct val="30000"/>
                </a:spcBef>
                <a:buClr>
                  <a:srgbClr val="036803"/>
                </a:buClr>
              </a:pPr>
              <a:r>
                <a:rPr lang="en-GB" sz="1300" dirty="0">
                  <a:solidFill>
                    <a:srgbClr val="000000"/>
                  </a:solidFill>
                  <a:latin typeface="Arial"/>
                </a:rPr>
                <a:t>“Reducing maternal and child mortality by addressing supply and demand constraints” </a:t>
              </a:r>
            </a:p>
            <a:p>
              <a:pPr defTabSz="671036">
                <a:spcBef>
                  <a:spcPct val="30000"/>
                </a:spcBef>
                <a:buClr>
                  <a:srgbClr val="036803"/>
                </a:buClr>
              </a:pPr>
              <a:r>
                <a:rPr lang="en-GB" sz="1300" dirty="0">
                  <a:solidFill>
                    <a:srgbClr val="000000"/>
                  </a:solidFill>
                  <a:latin typeface="Arial"/>
                </a:rPr>
                <a:t>T</a:t>
              </a:r>
              <a:r>
                <a:rPr lang="en-GB" sz="1300" b="1" dirty="0">
                  <a:solidFill>
                    <a:srgbClr val="000000"/>
                  </a:solidFill>
                  <a:latin typeface="Arial"/>
                </a:rPr>
                <a:t>he 3 delays; </a:t>
              </a:r>
            </a:p>
          </p:txBody>
        </p:sp>
        <p:pic>
          <p:nvPicPr>
            <p:cNvPr id="267" name="Picture 17"/>
            <p:cNvPicPr>
              <a:picLocks noChangeAspect="1" noChangeArrowheads="1"/>
            </p:cNvPicPr>
            <p:nvPr>
              <p:custDataLst>
                <p:tags r:id="rId177"/>
              </p:custDataLst>
            </p:nvPr>
          </p:nvPicPr>
          <p:blipFill>
            <a:blip r:embed="rId180">
              <a:extLst>
                <a:ext uri="{28A0092B-C50C-407E-A947-70E740481C1C}">
                  <a14:useLocalDpi xmlns:a14="http://schemas.microsoft.com/office/drawing/2010/main" val="0"/>
                </a:ext>
              </a:extLst>
            </a:blip>
            <a:srcRect l="62396" t="38333" r="21875" b="42043"/>
            <a:stretch>
              <a:fillRect/>
            </a:stretch>
          </p:blipFill>
          <p:spPr bwMode="auto">
            <a:xfrm>
              <a:off x="7625871" y="4540006"/>
              <a:ext cx="1972709" cy="1382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268" name="Picture 18"/>
            <p:cNvPicPr>
              <a:picLocks noChangeArrowheads="1"/>
            </p:cNvPicPr>
            <p:nvPr>
              <p:custDataLst>
                <p:tags r:id="rId178"/>
              </p:custDataLst>
            </p:nvPr>
          </p:nvPicPr>
          <p:blipFill>
            <a:blip r:embed="rId181">
              <a:extLst>
                <a:ext uri="{28A0092B-C50C-407E-A947-70E740481C1C}">
                  <a14:useLocalDpi xmlns:a14="http://schemas.microsoft.com/office/drawing/2010/main" val="0"/>
                </a:ext>
              </a:extLst>
            </a:blip>
            <a:srcRect l="66458" t="38167" r="20522" b="41875"/>
            <a:stretch>
              <a:fillRect/>
            </a:stretch>
          </p:blipFill>
          <p:spPr bwMode="auto">
            <a:xfrm>
              <a:off x="9812809" y="4513423"/>
              <a:ext cx="1831528" cy="1408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69" name="Rectangle 46"/>
            <p:cNvSpPr>
              <a:spLocks noChangeArrowheads="1"/>
            </p:cNvSpPr>
            <p:nvPr/>
          </p:nvSpPr>
          <p:spPr bwMode="auto">
            <a:xfrm>
              <a:off x="7637477" y="2381017"/>
              <a:ext cx="4091507" cy="1083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marL="135634" indent="-135634" defTabSz="671036">
                <a:buClr>
                  <a:srgbClr val="036803"/>
                </a:buClr>
                <a:buFont typeface="Wingdings" charset="0"/>
                <a:buChar char="§"/>
              </a:pPr>
              <a:r>
                <a:rPr lang="en-GB" sz="1300" b="1" dirty="0">
                  <a:solidFill>
                    <a:srgbClr val="000000"/>
                  </a:solidFill>
                  <a:latin typeface="Arial"/>
                </a:rPr>
                <a:t>Delay in decision to seek care</a:t>
              </a:r>
            </a:p>
            <a:p>
              <a:pPr marL="135634" indent="-135634" defTabSz="671036">
                <a:buClr>
                  <a:srgbClr val="036803"/>
                </a:buClr>
                <a:buFont typeface="Wingdings" charset="0"/>
                <a:buChar char="§"/>
              </a:pPr>
              <a:endParaRPr lang="en-GB" sz="1300" b="1" dirty="0">
                <a:solidFill>
                  <a:srgbClr val="000000"/>
                </a:solidFill>
                <a:latin typeface="Arial"/>
              </a:endParaRPr>
            </a:p>
            <a:p>
              <a:pPr marL="135634" indent="-135634" defTabSz="671036">
                <a:buClr>
                  <a:srgbClr val="036803"/>
                </a:buClr>
                <a:buFont typeface="Wingdings" charset="0"/>
                <a:buChar char="§"/>
              </a:pPr>
              <a:r>
                <a:rPr lang="en-GB" sz="1300" b="1" dirty="0">
                  <a:solidFill>
                    <a:srgbClr val="000000"/>
                  </a:solidFill>
                  <a:latin typeface="Arial"/>
                </a:rPr>
                <a:t>Delay in reaching care</a:t>
              </a:r>
            </a:p>
            <a:p>
              <a:pPr marL="135634" indent="-135634" defTabSz="671036">
                <a:buClr>
                  <a:srgbClr val="036803"/>
                </a:buClr>
                <a:buFont typeface="Wingdings" charset="0"/>
                <a:buChar char="§"/>
              </a:pPr>
              <a:endParaRPr lang="en-GB" sz="1300" b="1" dirty="0">
                <a:solidFill>
                  <a:srgbClr val="000000"/>
                </a:solidFill>
                <a:latin typeface="Arial"/>
              </a:endParaRPr>
            </a:p>
            <a:p>
              <a:pPr marL="135634" indent="-135634" defTabSz="671036">
                <a:buClr>
                  <a:srgbClr val="036803"/>
                </a:buClr>
                <a:buFont typeface="Wingdings" charset="0"/>
                <a:buChar char="§"/>
              </a:pPr>
              <a:r>
                <a:rPr lang="en-GB" sz="1300" b="1" dirty="0">
                  <a:solidFill>
                    <a:srgbClr val="000000"/>
                  </a:solidFill>
                  <a:latin typeface="Arial"/>
                </a:rPr>
                <a:t>Delay in receiving adequate healthcare</a:t>
              </a:r>
            </a:p>
            <a:p>
              <a:pPr defTabSz="671036">
                <a:buClr>
                  <a:srgbClr val="036803"/>
                </a:buClr>
              </a:pPr>
              <a:endParaRPr lang="en-GB" sz="1100" b="1" dirty="0">
                <a:solidFill>
                  <a:srgbClr val="000000"/>
                </a:solidFill>
                <a:latin typeface="Arial"/>
              </a:endParaRPr>
            </a:p>
            <a:p>
              <a:pPr algn="just" defTabSz="671036">
                <a:buClr>
                  <a:srgbClr val="036803"/>
                </a:buClr>
              </a:pPr>
              <a:r>
                <a:rPr lang="en-GB" sz="1300" dirty="0">
                  <a:solidFill>
                    <a:srgbClr val="000000"/>
                  </a:solidFill>
                  <a:latin typeface="Arial"/>
                </a:rPr>
                <a:t>CHIPS Programme will Increase the demand and utilization of MCH services in vulnerable communities through recruitment of a minimum of 10 women per ward</a:t>
              </a:r>
            </a:p>
          </p:txBody>
        </p:sp>
      </p:grpSp>
      <p:grpSp>
        <p:nvGrpSpPr>
          <p:cNvPr id="4" name="Group 3"/>
          <p:cNvGrpSpPr/>
          <p:nvPr/>
        </p:nvGrpSpPr>
        <p:grpSpPr>
          <a:xfrm>
            <a:off x="5162889" y="1368969"/>
            <a:ext cx="6571927" cy="4705250"/>
            <a:chOff x="373993" y="1768406"/>
            <a:chExt cx="6839042" cy="4756489"/>
          </a:xfrm>
        </p:grpSpPr>
        <p:sp>
          <p:nvSpPr>
            <p:cNvPr id="9" name="Rectangle 5"/>
            <p:cNvSpPr>
              <a:spLocks noChangeArrowheads="1"/>
            </p:cNvSpPr>
            <p:nvPr/>
          </p:nvSpPr>
          <p:spPr bwMode="gray">
            <a:xfrm>
              <a:off x="4741041" y="4479956"/>
              <a:ext cx="1547148" cy="158085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9779" tIns="34894" rIns="69779" bIns="34894"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683577">
                <a:spcBef>
                  <a:spcPct val="0"/>
                </a:spcBef>
                <a:buNone/>
              </a:pPr>
              <a:endParaRPr lang="en-US" altLang="en-US" sz="900">
                <a:solidFill>
                  <a:srgbClr val="000000"/>
                </a:solidFill>
                <a:latin typeface="Arial" pitchFamily="34" charset="0"/>
              </a:endParaRPr>
            </a:p>
          </p:txBody>
        </p:sp>
        <p:sp>
          <p:nvSpPr>
            <p:cNvPr id="10" name="Oval 3"/>
            <p:cNvSpPr>
              <a:spLocks noChangeArrowheads="1"/>
            </p:cNvSpPr>
            <p:nvPr/>
          </p:nvSpPr>
          <p:spPr bwMode="gray">
            <a:xfrm>
              <a:off x="1606958" y="2542198"/>
              <a:ext cx="4294358" cy="3279578"/>
            </a:xfrm>
            <a:prstGeom prst="ellipse">
              <a:avLst/>
            </a:prstGeom>
            <a:noFill/>
            <a:ln w="9525">
              <a:solidFill>
                <a:srgbClr val="FF5050"/>
              </a:solidFill>
              <a:prstDash val="dash"/>
              <a:round/>
              <a:headEnd/>
              <a:tailEnd/>
            </a:ln>
            <a:extLst>
              <a:ext uri="{909E8E84-426E-40DD-AFC4-6F175D3DCCD1}">
                <a14:hiddenFill xmlns:a14="http://schemas.microsoft.com/office/drawing/2010/main">
                  <a:solidFill>
                    <a:srgbClr val="FFFFFF"/>
                  </a:solidFill>
                </a14:hiddenFill>
              </a:ext>
            </a:extLst>
          </p:spPr>
          <p:txBody>
            <a:bodyPr wrap="none" lIns="69779" tIns="34894" rIns="69779" bIns="34894"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683577">
                <a:spcBef>
                  <a:spcPct val="0"/>
                </a:spcBef>
                <a:buNone/>
              </a:pPr>
              <a:endParaRPr lang="en-US" altLang="en-US" sz="900">
                <a:solidFill>
                  <a:srgbClr val="000000"/>
                </a:solidFill>
                <a:latin typeface="Arial" pitchFamily="34" charset="0"/>
              </a:endParaRPr>
            </a:p>
          </p:txBody>
        </p:sp>
        <p:grpSp>
          <p:nvGrpSpPr>
            <p:cNvPr id="11" name="Group 4"/>
            <p:cNvGrpSpPr>
              <a:grpSpLocks/>
            </p:cNvGrpSpPr>
            <p:nvPr/>
          </p:nvGrpSpPr>
          <p:grpSpPr bwMode="gray">
            <a:xfrm>
              <a:off x="2552150" y="4673914"/>
              <a:ext cx="820960" cy="482964"/>
              <a:chOff x="0" y="402"/>
              <a:chExt cx="5645" cy="2423"/>
            </a:xfrm>
          </p:grpSpPr>
          <p:sp>
            <p:nvSpPr>
              <p:cNvPr id="12" name="Freeform 5"/>
              <p:cNvSpPr>
                <a:spLocks/>
              </p:cNvSpPr>
              <p:nvPr>
                <p:custDataLst>
                  <p:tags r:id="rId134"/>
                </p:custDataLst>
              </p:nvPr>
            </p:nvSpPr>
            <p:spPr bwMode="gray">
              <a:xfrm>
                <a:off x="0" y="402"/>
                <a:ext cx="5645" cy="831"/>
              </a:xfrm>
              <a:custGeom>
                <a:avLst/>
                <a:gdLst>
                  <a:gd name="T0" fmla="*/ 148 w 5507"/>
                  <a:gd name="T1" fmla="*/ 5 h 1310"/>
                  <a:gd name="T2" fmla="*/ 449 w 5507"/>
                  <a:gd name="T3" fmla="*/ 4 h 1310"/>
                  <a:gd name="T4" fmla="*/ 854 w 5507"/>
                  <a:gd name="T5" fmla="*/ 4 h 1310"/>
                  <a:gd name="T6" fmla="*/ 1316 w 5507"/>
                  <a:gd name="T7" fmla="*/ 3 h 1310"/>
                  <a:gd name="T8" fmla="*/ 1808 w 5507"/>
                  <a:gd name="T9" fmla="*/ 2 h 1310"/>
                  <a:gd name="T10" fmla="*/ 2312 w 5507"/>
                  <a:gd name="T11" fmla="*/ 1 h 1310"/>
                  <a:gd name="T12" fmla="*/ 2786 w 5507"/>
                  <a:gd name="T13" fmla="*/ 1 h 1310"/>
                  <a:gd name="T14" fmla="*/ 3198 w 5507"/>
                  <a:gd name="T15" fmla="*/ 1 h 1310"/>
                  <a:gd name="T16" fmla="*/ 3529 w 5507"/>
                  <a:gd name="T17" fmla="*/ 1 h 1310"/>
                  <a:gd name="T18" fmla="*/ 3721 w 5507"/>
                  <a:gd name="T19" fmla="*/ 1 h 1310"/>
                  <a:gd name="T20" fmla="*/ 3828 w 5507"/>
                  <a:gd name="T21" fmla="*/ 1 h 1310"/>
                  <a:gd name="T22" fmla="*/ 3940 w 5507"/>
                  <a:gd name="T23" fmla="*/ 1 h 1310"/>
                  <a:gd name="T24" fmla="*/ 4079 w 5507"/>
                  <a:gd name="T25" fmla="*/ 1 h 1310"/>
                  <a:gd name="T26" fmla="*/ 4212 w 5507"/>
                  <a:gd name="T27" fmla="*/ 1 h 1310"/>
                  <a:gd name="T28" fmla="*/ 4367 w 5507"/>
                  <a:gd name="T29" fmla="*/ 1 h 1310"/>
                  <a:gd name="T30" fmla="*/ 4527 w 5507"/>
                  <a:gd name="T31" fmla="*/ 1 h 1310"/>
                  <a:gd name="T32" fmla="*/ 4701 w 5507"/>
                  <a:gd name="T33" fmla="*/ 1 h 1310"/>
                  <a:gd name="T34" fmla="*/ 4907 w 5507"/>
                  <a:gd name="T35" fmla="*/ 1 h 1310"/>
                  <a:gd name="T36" fmla="*/ 5308 w 5507"/>
                  <a:gd name="T37" fmla="*/ 2 h 1310"/>
                  <a:gd name="T38" fmla="*/ 5701 w 5507"/>
                  <a:gd name="T39" fmla="*/ 3 h 1310"/>
                  <a:gd name="T40" fmla="*/ 6087 w 5507"/>
                  <a:gd name="T41" fmla="*/ 3 h 1310"/>
                  <a:gd name="T42" fmla="*/ 6451 w 5507"/>
                  <a:gd name="T43" fmla="*/ 3 h 1310"/>
                  <a:gd name="T44" fmla="*/ 6778 w 5507"/>
                  <a:gd name="T45" fmla="*/ 4 h 1310"/>
                  <a:gd name="T46" fmla="*/ 7042 w 5507"/>
                  <a:gd name="T47" fmla="*/ 4 h 1310"/>
                  <a:gd name="T48" fmla="*/ 7252 w 5507"/>
                  <a:gd name="T49" fmla="*/ 4 h 1310"/>
                  <a:gd name="T50" fmla="*/ 7374 w 5507"/>
                  <a:gd name="T51" fmla="*/ 4 h 1310"/>
                  <a:gd name="T52" fmla="*/ 7367 w 5507"/>
                  <a:gd name="T53" fmla="*/ 5 h 1310"/>
                  <a:gd name="T54" fmla="*/ 7246 w 5507"/>
                  <a:gd name="T55" fmla="*/ 5 h 1310"/>
                  <a:gd name="T56" fmla="*/ 7096 w 5507"/>
                  <a:gd name="T57" fmla="*/ 5 h 1310"/>
                  <a:gd name="T58" fmla="*/ 7042 w 5507"/>
                  <a:gd name="T59" fmla="*/ 5 h 1310"/>
                  <a:gd name="T60" fmla="*/ 6937 w 5507"/>
                  <a:gd name="T61" fmla="*/ 4 h 1310"/>
                  <a:gd name="T62" fmla="*/ 6802 w 5507"/>
                  <a:gd name="T63" fmla="*/ 4 h 1310"/>
                  <a:gd name="T64" fmla="*/ 6624 w 5507"/>
                  <a:gd name="T65" fmla="*/ 4 h 1310"/>
                  <a:gd name="T66" fmla="*/ 6415 w 5507"/>
                  <a:gd name="T67" fmla="*/ 4 h 1310"/>
                  <a:gd name="T68" fmla="*/ 6181 w 5507"/>
                  <a:gd name="T69" fmla="*/ 4 h 1310"/>
                  <a:gd name="T70" fmla="*/ 5923 w 5507"/>
                  <a:gd name="T71" fmla="*/ 3 h 1310"/>
                  <a:gd name="T72" fmla="*/ 5645 w 5507"/>
                  <a:gd name="T73" fmla="*/ 3 h 1310"/>
                  <a:gd name="T74" fmla="*/ 5375 w 5507"/>
                  <a:gd name="T75" fmla="*/ 3 h 1310"/>
                  <a:gd name="T76" fmla="*/ 5144 w 5507"/>
                  <a:gd name="T77" fmla="*/ 3 h 1310"/>
                  <a:gd name="T78" fmla="*/ 4902 w 5507"/>
                  <a:gd name="T79" fmla="*/ 2 h 1310"/>
                  <a:gd name="T80" fmla="*/ 4672 w 5507"/>
                  <a:gd name="T81" fmla="*/ 2 h 1310"/>
                  <a:gd name="T82" fmla="*/ 4458 w 5507"/>
                  <a:gd name="T83" fmla="*/ 2 h 1310"/>
                  <a:gd name="T84" fmla="*/ 4255 w 5507"/>
                  <a:gd name="T85" fmla="*/ 1 h 1310"/>
                  <a:gd name="T86" fmla="*/ 4073 w 5507"/>
                  <a:gd name="T87" fmla="*/ 1 h 1310"/>
                  <a:gd name="T88" fmla="*/ 3912 w 5507"/>
                  <a:gd name="T89" fmla="*/ 1 h 1310"/>
                  <a:gd name="T90" fmla="*/ 3783 w 5507"/>
                  <a:gd name="T91" fmla="*/ 1 h 1310"/>
                  <a:gd name="T92" fmla="*/ 3644 w 5507"/>
                  <a:gd name="T93" fmla="*/ 1 h 1310"/>
                  <a:gd name="T94" fmla="*/ 3321 w 5507"/>
                  <a:gd name="T95" fmla="*/ 1 h 1310"/>
                  <a:gd name="T96" fmla="*/ 2909 w 5507"/>
                  <a:gd name="T97" fmla="*/ 1 h 1310"/>
                  <a:gd name="T98" fmla="*/ 2423 w 5507"/>
                  <a:gd name="T99" fmla="*/ 2 h 1310"/>
                  <a:gd name="T100" fmla="*/ 1911 w 5507"/>
                  <a:gd name="T101" fmla="*/ 3 h 1310"/>
                  <a:gd name="T102" fmla="*/ 1409 w 5507"/>
                  <a:gd name="T103" fmla="*/ 4 h 1310"/>
                  <a:gd name="T104" fmla="*/ 954 w 5507"/>
                  <a:gd name="T105" fmla="*/ 4 h 1310"/>
                  <a:gd name="T106" fmla="*/ 579 w 5507"/>
                  <a:gd name="T107" fmla="*/ 5 h 1310"/>
                  <a:gd name="T108" fmla="*/ 326 w 5507"/>
                  <a:gd name="T109" fmla="*/ 6 h 1310"/>
                  <a:gd name="T110" fmla="*/ 221 w 5507"/>
                  <a:gd name="T111" fmla="*/ 6 h 1310"/>
                  <a:gd name="T112" fmla="*/ 88 w 5507"/>
                  <a:gd name="T113" fmla="*/ 6 h 13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07"/>
                  <a:gd name="T172" fmla="*/ 0 h 1310"/>
                  <a:gd name="T173" fmla="*/ 5507 w 5507"/>
                  <a:gd name="T174" fmla="*/ 1310 h 13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07" h="1310">
                    <a:moveTo>
                      <a:pt x="0" y="1281"/>
                    </a:moveTo>
                    <a:lnTo>
                      <a:pt x="0" y="1264"/>
                    </a:lnTo>
                    <a:lnTo>
                      <a:pt x="18" y="1253"/>
                    </a:lnTo>
                    <a:lnTo>
                      <a:pt x="41" y="1236"/>
                    </a:lnTo>
                    <a:lnTo>
                      <a:pt x="64" y="1219"/>
                    </a:lnTo>
                    <a:lnTo>
                      <a:pt x="87" y="1205"/>
                    </a:lnTo>
                    <a:lnTo>
                      <a:pt x="110" y="1185"/>
                    </a:lnTo>
                    <a:lnTo>
                      <a:pt x="137" y="1165"/>
                    </a:lnTo>
                    <a:lnTo>
                      <a:pt x="165" y="1148"/>
                    </a:lnTo>
                    <a:lnTo>
                      <a:pt x="197" y="1125"/>
                    </a:lnTo>
                    <a:lnTo>
                      <a:pt x="229" y="1105"/>
                    </a:lnTo>
                    <a:lnTo>
                      <a:pt x="260" y="1082"/>
                    </a:lnTo>
                    <a:lnTo>
                      <a:pt x="297" y="1062"/>
                    </a:lnTo>
                    <a:lnTo>
                      <a:pt x="334" y="1039"/>
                    </a:lnTo>
                    <a:lnTo>
                      <a:pt x="379" y="1017"/>
                    </a:lnTo>
                    <a:lnTo>
                      <a:pt x="416" y="991"/>
                    </a:lnTo>
                    <a:lnTo>
                      <a:pt x="457" y="965"/>
                    </a:lnTo>
                    <a:lnTo>
                      <a:pt x="498" y="943"/>
                    </a:lnTo>
                    <a:lnTo>
                      <a:pt x="544" y="917"/>
                    </a:lnTo>
                    <a:lnTo>
                      <a:pt x="585" y="891"/>
                    </a:lnTo>
                    <a:lnTo>
                      <a:pt x="635" y="866"/>
                    </a:lnTo>
                    <a:lnTo>
                      <a:pt x="681" y="837"/>
                    </a:lnTo>
                    <a:lnTo>
                      <a:pt x="727" y="814"/>
                    </a:lnTo>
                    <a:lnTo>
                      <a:pt x="777" y="786"/>
                    </a:lnTo>
                    <a:lnTo>
                      <a:pt x="827" y="760"/>
                    </a:lnTo>
                    <a:lnTo>
                      <a:pt x="873" y="732"/>
                    </a:lnTo>
                    <a:lnTo>
                      <a:pt x="928" y="706"/>
                    </a:lnTo>
                    <a:lnTo>
                      <a:pt x="978" y="678"/>
                    </a:lnTo>
                    <a:lnTo>
                      <a:pt x="1028" y="652"/>
                    </a:lnTo>
                    <a:lnTo>
                      <a:pt x="1083" y="624"/>
                    </a:lnTo>
                    <a:lnTo>
                      <a:pt x="1133" y="598"/>
                    </a:lnTo>
                    <a:lnTo>
                      <a:pt x="1188" y="570"/>
                    </a:lnTo>
                    <a:lnTo>
                      <a:pt x="1239" y="547"/>
                    </a:lnTo>
                    <a:lnTo>
                      <a:pt x="1289" y="518"/>
                    </a:lnTo>
                    <a:lnTo>
                      <a:pt x="1344" y="493"/>
                    </a:lnTo>
                    <a:lnTo>
                      <a:pt x="1398" y="464"/>
                    </a:lnTo>
                    <a:lnTo>
                      <a:pt x="1453" y="439"/>
                    </a:lnTo>
                    <a:lnTo>
                      <a:pt x="1508" y="416"/>
                    </a:lnTo>
                    <a:lnTo>
                      <a:pt x="1563" y="387"/>
                    </a:lnTo>
                    <a:lnTo>
                      <a:pt x="1613" y="364"/>
                    </a:lnTo>
                    <a:lnTo>
                      <a:pt x="1668" y="342"/>
                    </a:lnTo>
                    <a:lnTo>
                      <a:pt x="1718" y="316"/>
                    </a:lnTo>
                    <a:lnTo>
                      <a:pt x="1769" y="293"/>
                    </a:lnTo>
                    <a:lnTo>
                      <a:pt x="1819" y="268"/>
                    </a:lnTo>
                    <a:lnTo>
                      <a:pt x="1874" y="248"/>
                    </a:lnTo>
                    <a:lnTo>
                      <a:pt x="1919" y="228"/>
                    </a:lnTo>
                    <a:lnTo>
                      <a:pt x="1970" y="208"/>
                    </a:lnTo>
                    <a:lnTo>
                      <a:pt x="2015" y="185"/>
                    </a:lnTo>
                    <a:lnTo>
                      <a:pt x="2070" y="171"/>
                    </a:lnTo>
                    <a:lnTo>
                      <a:pt x="2116" y="151"/>
                    </a:lnTo>
                    <a:lnTo>
                      <a:pt x="2162" y="134"/>
                    </a:lnTo>
                    <a:lnTo>
                      <a:pt x="2207" y="117"/>
                    </a:lnTo>
                    <a:lnTo>
                      <a:pt x="2253" y="103"/>
                    </a:lnTo>
                    <a:lnTo>
                      <a:pt x="2294" y="85"/>
                    </a:lnTo>
                    <a:lnTo>
                      <a:pt x="2340" y="74"/>
                    </a:lnTo>
                    <a:lnTo>
                      <a:pt x="2376" y="60"/>
                    </a:lnTo>
                    <a:lnTo>
                      <a:pt x="2418" y="48"/>
                    </a:lnTo>
                    <a:lnTo>
                      <a:pt x="2454" y="37"/>
                    </a:lnTo>
                    <a:lnTo>
                      <a:pt x="2495" y="28"/>
                    </a:lnTo>
                    <a:lnTo>
                      <a:pt x="2527" y="20"/>
                    </a:lnTo>
                    <a:lnTo>
                      <a:pt x="2564" y="14"/>
                    </a:lnTo>
                    <a:lnTo>
                      <a:pt x="2596" y="9"/>
                    </a:lnTo>
                    <a:lnTo>
                      <a:pt x="2623" y="3"/>
                    </a:lnTo>
                    <a:lnTo>
                      <a:pt x="2651" y="0"/>
                    </a:lnTo>
                    <a:lnTo>
                      <a:pt x="2683" y="0"/>
                    </a:lnTo>
                    <a:lnTo>
                      <a:pt x="2701" y="0"/>
                    </a:lnTo>
                    <a:lnTo>
                      <a:pt x="2719" y="0"/>
                    </a:lnTo>
                    <a:lnTo>
                      <a:pt x="2738" y="0"/>
                    </a:lnTo>
                    <a:lnTo>
                      <a:pt x="2756" y="3"/>
                    </a:lnTo>
                    <a:lnTo>
                      <a:pt x="2765" y="3"/>
                    </a:lnTo>
                    <a:lnTo>
                      <a:pt x="2774" y="6"/>
                    </a:lnTo>
                    <a:lnTo>
                      <a:pt x="2783" y="9"/>
                    </a:lnTo>
                    <a:lnTo>
                      <a:pt x="2797" y="11"/>
                    </a:lnTo>
                    <a:lnTo>
                      <a:pt x="2806" y="11"/>
                    </a:lnTo>
                    <a:lnTo>
                      <a:pt x="2820" y="11"/>
                    </a:lnTo>
                    <a:lnTo>
                      <a:pt x="2829" y="14"/>
                    </a:lnTo>
                    <a:lnTo>
                      <a:pt x="2843" y="20"/>
                    </a:lnTo>
                    <a:lnTo>
                      <a:pt x="2856" y="23"/>
                    </a:lnTo>
                    <a:lnTo>
                      <a:pt x="2865" y="23"/>
                    </a:lnTo>
                    <a:lnTo>
                      <a:pt x="2879" y="26"/>
                    </a:lnTo>
                    <a:lnTo>
                      <a:pt x="2893" y="31"/>
                    </a:lnTo>
                    <a:lnTo>
                      <a:pt x="2907" y="31"/>
                    </a:lnTo>
                    <a:lnTo>
                      <a:pt x="2916" y="37"/>
                    </a:lnTo>
                    <a:lnTo>
                      <a:pt x="2929" y="40"/>
                    </a:lnTo>
                    <a:lnTo>
                      <a:pt x="2943" y="46"/>
                    </a:lnTo>
                    <a:lnTo>
                      <a:pt x="2957" y="48"/>
                    </a:lnTo>
                    <a:lnTo>
                      <a:pt x="2971" y="51"/>
                    </a:lnTo>
                    <a:lnTo>
                      <a:pt x="2984" y="57"/>
                    </a:lnTo>
                    <a:lnTo>
                      <a:pt x="2998" y="60"/>
                    </a:lnTo>
                    <a:lnTo>
                      <a:pt x="3012" y="65"/>
                    </a:lnTo>
                    <a:lnTo>
                      <a:pt x="3030" y="71"/>
                    </a:lnTo>
                    <a:lnTo>
                      <a:pt x="3039" y="74"/>
                    </a:lnTo>
                    <a:lnTo>
                      <a:pt x="3057" y="80"/>
                    </a:lnTo>
                    <a:lnTo>
                      <a:pt x="3071" y="83"/>
                    </a:lnTo>
                    <a:lnTo>
                      <a:pt x="3085" y="88"/>
                    </a:lnTo>
                    <a:lnTo>
                      <a:pt x="3099" y="94"/>
                    </a:lnTo>
                    <a:lnTo>
                      <a:pt x="3117" y="100"/>
                    </a:lnTo>
                    <a:lnTo>
                      <a:pt x="3131" y="105"/>
                    </a:lnTo>
                    <a:lnTo>
                      <a:pt x="3144" y="108"/>
                    </a:lnTo>
                    <a:lnTo>
                      <a:pt x="3163" y="117"/>
                    </a:lnTo>
                    <a:lnTo>
                      <a:pt x="3181" y="120"/>
                    </a:lnTo>
                    <a:lnTo>
                      <a:pt x="3195" y="125"/>
                    </a:lnTo>
                    <a:lnTo>
                      <a:pt x="3208" y="131"/>
                    </a:lnTo>
                    <a:lnTo>
                      <a:pt x="3227" y="137"/>
                    </a:lnTo>
                    <a:lnTo>
                      <a:pt x="3245" y="142"/>
                    </a:lnTo>
                    <a:lnTo>
                      <a:pt x="3263" y="151"/>
                    </a:lnTo>
                    <a:lnTo>
                      <a:pt x="3277" y="157"/>
                    </a:lnTo>
                    <a:lnTo>
                      <a:pt x="3295" y="162"/>
                    </a:lnTo>
                    <a:lnTo>
                      <a:pt x="3313" y="171"/>
                    </a:lnTo>
                    <a:lnTo>
                      <a:pt x="3332" y="174"/>
                    </a:lnTo>
                    <a:lnTo>
                      <a:pt x="3345" y="182"/>
                    </a:lnTo>
                    <a:lnTo>
                      <a:pt x="3364" y="185"/>
                    </a:lnTo>
                    <a:lnTo>
                      <a:pt x="3382" y="194"/>
                    </a:lnTo>
                    <a:lnTo>
                      <a:pt x="3400" y="202"/>
                    </a:lnTo>
                    <a:lnTo>
                      <a:pt x="3418" y="208"/>
                    </a:lnTo>
                    <a:lnTo>
                      <a:pt x="3437" y="214"/>
                    </a:lnTo>
                    <a:lnTo>
                      <a:pt x="3455" y="222"/>
                    </a:lnTo>
                    <a:lnTo>
                      <a:pt x="3473" y="228"/>
                    </a:lnTo>
                    <a:lnTo>
                      <a:pt x="3492" y="236"/>
                    </a:lnTo>
                    <a:lnTo>
                      <a:pt x="3510" y="242"/>
                    </a:lnTo>
                    <a:lnTo>
                      <a:pt x="3528" y="251"/>
                    </a:lnTo>
                    <a:lnTo>
                      <a:pt x="3546" y="256"/>
                    </a:lnTo>
                    <a:lnTo>
                      <a:pt x="3569" y="265"/>
                    </a:lnTo>
                    <a:lnTo>
                      <a:pt x="3588" y="273"/>
                    </a:lnTo>
                    <a:lnTo>
                      <a:pt x="3610" y="279"/>
                    </a:lnTo>
                    <a:lnTo>
                      <a:pt x="3647" y="296"/>
                    </a:lnTo>
                    <a:lnTo>
                      <a:pt x="3688" y="310"/>
                    </a:lnTo>
                    <a:lnTo>
                      <a:pt x="3729" y="325"/>
                    </a:lnTo>
                    <a:lnTo>
                      <a:pt x="3770" y="342"/>
                    </a:lnTo>
                    <a:lnTo>
                      <a:pt x="3816" y="356"/>
                    </a:lnTo>
                    <a:lnTo>
                      <a:pt x="3853" y="376"/>
                    </a:lnTo>
                    <a:lnTo>
                      <a:pt x="3898" y="390"/>
                    </a:lnTo>
                    <a:lnTo>
                      <a:pt x="3944" y="407"/>
                    </a:lnTo>
                    <a:lnTo>
                      <a:pt x="3981" y="424"/>
                    </a:lnTo>
                    <a:lnTo>
                      <a:pt x="4026" y="441"/>
                    </a:lnTo>
                    <a:lnTo>
                      <a:pt x="4067" y="461"/>
                    </a:lnTo>
                    <a:lnTo>
                      <a:pt x="4109" y="476"/>
                    </a:lnTo>
                    <a:lnTo>
                      <a:pt x="4150" y="493"/>
                    </a:lnTo>
                    <a:lnTo>
                      <a:pt x="4195" y="510"/>
                    </a:lnTo>
                    <a:lnTo>
                      <a:pt x="4237" y="527"/>
                    </a:lnTo>
                    <a:lnTo>
                      <a:pt x="4278" y="547"/>
                    </a:lnTo>
                    <a:lnTo>
                      <a:pt x="4319" y="564"/>
                    </a:lnTo>
                    <a:lnTo>
                      <a:pt x="4364" y="578"/>
                    </a:lnTo>
                    <a:lnTo>
                      <a:pt x="4401" y="598"/>
                    </a:lnTo>
                    <a:lnTo>
                      <a:pt x="4442" y="615"/>
                    </a:lnTo>
                    <a:lnTo>
                      <a:pt x="4483" y="632"/>
                    </a:lnTo>
                    <a:lnTo>
                      <a:pt x="4524" y="649"/>
                    </a:lnTo>
                    <a:lnTo>
                      <a:pt x="4561" y="666"/>
                    </a:lnTo>
                    <a:lnTo>
                      <a:pt x="4607" y="686"/>
                    </a:lnTo>
                    <a:lnTo>
                      <a:pt x="4639" y="701"/>
                    </a:lnTo>
                    <a:lnTo>
                      <a:pt x="4680" y="718"/>
                    </a:lnTo>
                    <a:lnTo>
                      <a:pt x="4721" y="735"/>
                    </a:lnTo>
                    <a:lnTo>
                      <a:pt x="4757" y="752"/>
                    </a:lnTo>
                    <a:lnTo>
                      <a:pt x="4794" y="769"/>
                    </a:lnTo>
                    <a:lnTo>
                      <a:pt x="4831" y="786"/>
                    </a:lnTo>
                    <a:lnTo>
                      <a:pt x="4867" y="803"/>
                    </a:lnTo>
                    <a:lnTo>
                      <a:pt x="4904" y="817"/>
                    </a:lnTo>
                    <a:lnTo>
                      <a:pt x="4936" y="834"/>
                    </a:lnTo>
                    <a:lnTo>
                      <a:pt x="4968" y="849"/>
                    </a:lnTo>
                    <a:lnTo>
                      <a:pt x="5000" y="863"/>
                    </a:lnTo>
                    <a:lnTo>
                      <a:pt x="5036" y="880"/>
                    </a:lnTo>
                    <a:lnTo>
                      <a:pt x="5064" y="894"/>
                    </a:lnTo>
                    <a:lnTo>
                      <a:pt x="5096" y="908"/>
                    </a:lnTo>
                    <a:lnTo>
                      <a:pt x="5128" y="923"/>
                    </a:lnTo>
                    <a:lnTo>
                      <a:pt x="5155" y="937"/>
                    </a:lnTo>
                    <a:lnTo>
                      <a:pt x="5183" y="951"/>
                    </a:lnTo>
                    <a:lnTo>
                      <a:pt x="5210" y="965"/>
                    </a:lnTo>
                    <a:lnTo>
                      <a:pt x="5233" y="977"/>
                    </a:lnTo>
                    <a:lnTo>
                      <a:pt x="5260" y="988"/>
                    </a:lnTo>
                    <a:lnTo>
                      <a:pt x="5283" y="1002"/>
                    </a:lnTo>
                    <a:lnTo>
                      <a:pt x="5310" y="1011"/>
                    </a:lnTo>
                    <a:lnTo>
                      <a:pt x="5329" y="1022"/>
                    </a:lnTo>
                    <a:lnTo>
                      <a:pt x="5352" y="1037"/>
                    </a:lnTo>
                    <a:lnTo>
                      <a:pt x="5370" y="1045"/>
                    </a:lnTo>
                    <a:lnTo>
                      <a:pt x="5388" y="1056"/>
                    </a:lnTo>
                    <a:lnTo>
                      <a:pt x="5406" y="1065"/>
                    </a:lnTo>
                    <a:lnTo>
                      <a:pt x="5420" y="1071"/>
                    </a:lnTo>
                    <a:lnTo>
                      <a:pt x="5438" y="1082"/>
                    </a:lnTo>
                    <a:lnTo>
                      <a:pt x="5452" y="1091"/>
                    </a:lnTo>
                    <a:lnTo>
                      <a:pt x="5461" y="1096"/>
                    </a:lnTo>
                    <a:lnTo>
                      <a:pt x="5475" y="1105"/>
                    </a:lnTo>
                    <a:lnTo>
                      <a:pt x="5480" y="1111"/>
                    </a:lnTo>
                    <a:lnTo>
                      <a:pt x="5489" y="1116"/>
                    </a:lnTo>
                    <a:lnTo>
                      <a:pt x="5498" y="1122"/>
                    </a:lnTo>
                    <a:lnTo>
                      <a:pt x="5502" y="1128"/>
                    </a:lnTo>
                    <a:lnTo>
                      <a:pt x="5507" y="1136"/>
                    </a:lnTo>
                    <a:lnTo>
                      <a:pt x="5507" y="1139"/>
                    </a:lnTo>
                    <a:lnTo>
                      <a:pt x="5493" y="1148"/>
                    </a:lnTo>
                    <a:lnTo>
                      <a:pt x="5475" y="1156"/>
                    </a:lnTo>
                    <a:lnTo>
                      <a:pt x="5457" y="1165"/>
                    </a:lnTo>
                    <a:lnTo>
                      <a:pt x="5443" y="1170"/>
                    </a:lnTo>
                    <a:lnTo>
                      <a:pt x="5434" y="1170"/>
                    </a:lnTo>
                    <a:lnTo>
                      <a:pt x="5420" y="1176"/>
                    </a:lnTo>
                    <a:lnTo>
                      <a:pt x="5411" y="1179"/>
                    </a:lnTo>
                    <a:lnTo>
                      <a:pt x="5402" y="1179"/>
                    </a:lnTo>
                    <a:lnTo>
                      <a:pt x="5384" y="1185"/>
                    </a:lnTo>
                    <a:lnTo>
                      <a:pt x="5365" y="1187"/>
                    </a:lnTo>
                    <a:lnTo>
                      <a:pt x="5342" y="1187"/>
                    </a:lnTo>
                    <a:lnTo>
                      <a:pt x="5324" y="1190"/>
                    </a:lnTo>
                    <a:lnTo>
                      <a:pt x="5310" y="1190"/>
                    </a:lnTo>
                    <a:lnTo>
                      <a:pt x="5297" y="1190"/>
                    </a:lnTo>
                    <a:lnTo>
                      <a:pt x="5283" y="1187"/>
                    </a:lnTo>
                    <a:lnTo>
                      <a:pt x="5274" y="1185"/>
                    </a:lnTo>
                    <a:lnTo>
                      <a:pt x="5269" y="1182"/>
                    </a:lnTo>
                    <a:lnTo>
                      <a:pt x="5274" y="1179"/>
                    </a:lnTo>
                    <a:lnTo>
                      <a:pt x="5269" y="1176"/>
                    </a:lnTo>
                    <a:lnTo>
                      <a:pt x="5265" y="1170"/>
                    </a:lnTo>
                    <a:lnTo>
                      <a:pt x="5256" y="1165"/>
                    </a:lnTo>
                    <a:lnTo>
                      <a:pt x="5247" y="1159"/>
                    </a:lnTo>
                    <a:lnTo>
                      <a:pt x="5233" y="1150"/>
                    </a:lnTo>
                    <a:lnTo>
                      <a:pt x="5219" y="1142"/>
                    </a:lnTo>
                    <a:lnTo>
                      <a:pt x="5210" y="1136"/>
                    </a:lnTo>
                    <a:lnTo>
                      <a:pt x="5201" y="1131"/>
                    </a:lnTo>
                    <a:lnTo>
                      <a:pt x="5187" y="1125"/>
                    </a:lnTo>
                    <a:lnTo>
                      <a:pt x="5178" y="1122"/>
                    </a:lnTo>
                    <a:lnTo>
                      <a:pt x="5164" y="1116"/>
                    </a:lnTo>
                    <a:lnTo>
                      <a:pt x="5155" y="1108"/>
                    </a:lnTo>
                    <a:lnTo>
                      <a:pt x="5141" y="1102"/>
                    </a:lnTo>
                    <a:lnTo>
                      <a:pt x="5128" y="1093"/>
                    </a:lnTo>
                    <a:lnTo>
                      <a:pt x="5114" y="1088"/>
                    </a:lnTo>
                    <a:lnTo>
                      <a:pt x="5100" y="1079"/>
                    </a:lnTo>
                    <a:lnTo>
                      <a:pt x="5087" y="1071"/>
                    </a:lnTo>
                    <a:lnTo>
                      <a:pt x="5073" y="1065"/>
                    </a:lnTo>
                    <a:lnTo>
                      <a:pt x="5055" y="1054"/>
                    </a:lnTo>
                    <a:lnTo>
                      <a:pt x="5036" y="1045"/>
                    </a:lnTo>
                    <a:lnTo>
                      <a:pt x="5018" y="1039"/>
                    </a:lnTo>
                    <a:lnTo>
                      <a:pt x="5000" y="1028"/>
                    </a:lnTo>
                    <a:lnTo>
                      <a:pt x="4981" y="1019"/>
                    </a:lnTo>
                    <a:lnTo>
                      <a:pt x="4963" y="1011"/>
                    </a:lnTo>
                    <a:lnTo>
                      <a:pt x="4940" y="1002"/>
                    </a:lnTo>
                    <a:lnTo>
                      <a:pt x="4922" y="994"/>
                    </a:lnTo>
                    <a:lnTo>
                      <a:pt x="4904" y="982"/>
                    </a:lnTo>
                    <a:lnTo>
                      <a:pt x="4881" y="971"/>
                    </a:lnTo>
                    <a:lnTo>
                      <a:pt x="4858" y="962"/>
                    </a:lnTo>
                    <a:lnTo>
                      <a:pt x="4835" y="951"/>
                    </a:lnTo>
                    <a:lnTo>
                      <a:pt x="4817" y="940"/>
                    </a:lnTo>
                    <a:lnTo>
                      <a:pt x="4794" y="931"/>
                    </a:lnTo>
                    <a:lnTo>
                      <a:pt x="4767" y="920"/>
                    </a:lnTo>
                    <a:lnTo>
                      <a:pt x="4744" y="908"/>
                    </a:lnTo>
                    <a:lnTo>
                      <a:pt x="4721" y="897"/>
                    </a:lnTo>
                    <a:lnTo>
                      <a:pt x="4694" y="886"/>
                    </a:lnTo>
                    <a:lnTo>
                      <a:pt x="4671" y="874"/>
                    </a:lnTo>
                    <a:lnTo>
                      <a:pt x="4643" y="863"/>
                    </a:lnTo>
                    <a:lnTo>
                      <a:pt x="4620" y="851"/>
                    </a:lnTo>
                    <a:lnTo>
                      <a:pt x="4593" y="840"/>
                    </a:lnTo>
                    <a:lnTo>
                      <a:pt x="4561" y="829"/>
                    </a:lnTo>
                    <a:lnTo>
                      <a:pt x="4543" y="817"/>
                    </a:lnTo>
                    <a:lnTo>
                      <a:pt x="4511" y="803"/>
                    </a:lnTo>
                    <a:lnTo>
                      <a:pt x="4488" y="794"/>
                    </a:lnTo>
                    <a:lnTo>
                      <a:pt x="4456" y="777"/>
                    </a:lnTo>
                    <a:lnTo>
                      <a:pt x="4428" y="766"/>
                    </a:lnTo>
                    <a:lnTo>
                      <a:pt x="4401" y="755"/>
                    </a:lnTo>
                    <a:lnTo>
                      <a:pt x="4369" y="743"/>
                    </a:lnTo>
                    <a:lnTo>
                      <a:pt x="4342" y="729"/>
                    </a:lnTo>
                    <a:lnTo>
                      <a:pt x="4314" y="718"/>
                    </a:lnTo>
                    <a:lnTo>
                      <a:pt x="4282" y="706"/>
                    </a:lnTo>
                    <a:lnTo>
                      <a:pt x="4250" y="692"/>
                    </a:lnTo>
                    <a:lnTo>
                      <a:pt x="4223" y="681"/>
                    </a:lnTo>
                    <a:lnTo>
                      <a:pt x="4195" y="666"/>
                    </a:lnTo>
                    <a:lnTo>
                      <a:pt x="4163" y="655"/>
                    </a:lnTo>
                    <a:lnTo>
                      <a:pt x="4131" y="644"/>
                    </a:lnTo>
                    <a:lnTo>
                      <a:pt x="4099" y="629"/>
                    </a:lnTo>
                    <a:lnTo>
                      <a:pt x="4072" y="618"/>
                    </a:lnTo>
                    <a:lnTo>
                      <a:pt x="4045" y="609"/>
                    </a:lnTo>
                    <a:lnTo>
                      <a:pt x="4017" y="598"/>
                    </a:lnTo>
                    <a:lnTo>
                      <a:pt x="3994" y="587"/>
                    </a:lnTo>
                    <a:lnTo>
                      <a:pt x="3967" y="575"/>
                    </a:lnTo>
                    <a:lnTo>
                      <a:pt x="3944" y="564"/>
                    </a:lnTo>
                    <a:lnTo>
                      <a:pt x="3921" y="555"/>
                    </a:lnTo>
                    <a:lnTo>
                      <a:pt x="3889" y="547"/>
                    </a:lnTo>
                    <a:lnTo>
                      <a:pt x="3871" y="535"/>
                    </a:lnTo>
                    <a:lnTo>
                      <a:pt x="3839" y="527"/>
                    </a:lnTo>
                    <a:lnTo>
                      <a:pt x="3821" y="515"/>
                    </a:lnTo>
                    <a:lnTo>
                      <a:pt x="3789" y="507"/>
                    </a:lnTo>
                    <a:lnTo>
                      <a:pt x="3766" y="495"/>
                    </a:lnTo>
                    <a:lnTo>
                      <a:pt x="3743" y="484"/>
                    </a:lnTo>
                    <a:lnTo>
                      <a:pt x="3720" y="476"/>
                    </a:lnTo>
                    <a:lnTo>
                      <a:pt x="3693" y="467"/>
                    </a:lnTo>
                    <a:lnTo>
                      <a:pt x="3670" y="461"/>
                    </a:lnTo>
                    <a:lnTo>
                      <a:pt x="3642" y="450"/>
                    </a:lnTo>
                    <a:lnTo>
                      <a:pt x="3620" y="439"/>
                    </a:lnTo>
                    <a:lnTo>
                      <a:pt x="3597" y="430"/>
                    </a:lnTo>
                    <a:lnTo>
                      <a:pt x="3569" y="421"/>
                    </a:lnTo>
                    <a:lnTo>
                      <a:pt x="3546" y="413"/>
                    </a:lnTo>
                    <a:lnTo>
                      <a:pt x="3519" y="404"/>
                    </a:lnTo>
                    <a:lnTo>
                      <a:pt x="3496" y="396"/>
                    </a:lnTo>
                    <a:lnTo>
                      <a:pt x="3473" y="387"/>
                    </a:lnTo>
                    <a:lnTo>
                      <a:pt x="3455" y="376"/>
                    </a:lnTo>
                    <a:lnTo>
                      <a:pt x="3428" y="367"/>
                    </a:lnTo>
                    <a:lnTo>
                      <a:pt x="3405" y="362"/>
                    </a:lnTo>
                    <a:lnTo>
                      <a:pt x="3382" y="353"/>
                    </a:lnTo>
                    <a:lnTo>
                      <a:pt x="3359" y="345"/>
                    </a:lnTo>
                    <a:lnTo>
                      <a:pt x="3336" y="336"/>
                    </a:lnTo>
                    <a:lnTo>
                      <a:pt x="3313" y="330"/>
                    </a:lnTo>
                    <a:lnTo>
                      <a:pt x="3290" y="322"/>
                    </a:lnTo>
                    <a:lnTo>
                      <a:pt x="3268" y="313"/>
                    </a:lnTo>
                    <a:lnTo>
                      <a:pt x="3249" y="308"/>
                    </a:lnTo>
                    <a:lnTo>
                      <a:pt x="3227" y="299"/>
                    </a:lnTo>
                    <a:lnTo>
                      <a:pt x="3204" y="290"/>
                    </a:lnTo>
                    <a:lnTo>
                      <a:pt x="3181" y="285"/>
                    </a:lnTo>
                    <a:lnTo>
                      <a:pt x="3163" y="279"/>
                    </a:lnTo>
                    <a:lnTo>
                      <a:pt x="3144" y="271"/>
                    </a:lnTo>
                    <a:lnTo>
                      <a:pt x="3121" y="265"/>
                    </a:lnTo>
                    <a:lnTo>
                      <a:pt x="3103" y="259"/>
                    </a:lnTo>
                    <a:lnTo>
                      <a:pt x="3085" y="251"/>
                    </a:lnTo>
                    <a:lnTo>
                      <a:pt x="3062" y="248"/>
                    </a:lnTo>
                    <a:lnTo>
                      <a:pt x="3044" y="242"/>
                    </a:lnTo>
                    <a:lnTo>
                      <a:pt x="3025" y="236"/>
                    </a:lnTo>
                    <a:lnTo>
                      <a:pt x="3007" y="228"/>
                    </a:lnTo>
                    <a:lnTo>
                      <a:pt x="2993" y="225"/>
                    </a:lnTo>
                    <a:lnTo>
                      <a:pt x="2975" y="219"/>
                    </a:lnTo>
                    <a:lnTo>
                      <a:pt x="2957" y="214"/>
                    </a:lnTo>
                    <a:lnTo>
                      <a:pt x="2943" y="208"/>
                    </a:lnTo>
                    <a:lnTo>
                      <a:pt x="2925" y="205"/>
                    </a:lnTo>
                    <a:lnTo>
                      <a:pt x="2907" y="199"/>
                    </a:lnTo>
                    <a:lnTo>
                      <a:pt x="2888" y="196"/>
                    </a:lnTo>
                    <a:lnTo>
                      <a:pt x="2875" y="194"/>
                    </a:lnTo>
                    <a:lnTo>
                      <a:pt x="2861" y="188"/>
                    </a:lnTo>
                    <a:lnTo>
                      <a:pt x="2852" y="185"/>
                    </a:lnTo>
                    <a:lnTo>
                      <a:pt x="2838" y="182"/>
                    </a:lnTo>
                    <a:lnTo>
                      <a:pt x="2820" y="179"/>
                    </a:lnTo>
                    <a:lnTo>
                      <a:pt x="2811" y="174"/>
                    </a:lnTo>
                    <a:lnTo>
                      <a:pt x="2801" y="171"/>
                    </a:lnTo>
                    <a:lnTo>
                      <a:pt x="2783" y="171"/>
                    </a:lnTo>
                    <a:lnTo>
                      <a:pt x="2774" y="168"/>
                    </a:lnTo>
                    <a:lnTo>
                      <a:pt x="2765" y="165"/>
                    </a:lnTo>
                    <a:lnTo>
                      <a:pt x="2756" y="162"/>
                    </a:lnTo>
                    <a:lnTo>
                      <a:pt x="2733" y="159"/>
                    </a:lnTo>
                    <a:lnTo>
                      <a:pt x="2706" y="159"/>
                    </a:lnTo>
                    <a:lnTo>
                      <a:pt x="2674" y="159"/>
                    </a:lnTo>
                    <a:lnTo>
                      <a:pt x="2651" y="162"/>
                    </a:lnTo>
                    <a:lnTo>
                      <a:pt x="2614" y="165"/>
                    </a:lnTo>
                    <a:lnTo>
                      <a:pt x="2582" y="171"/>
                    </a:lnTo>
                    <a:lnTo>
                      <a:pt x="2546" y="179"/>
                    </a:lnTo>
                    <a:lnTo>
                      <a:pt x="2509" y="191"/>
                    </a:lnTo>
                    <a:lnTo>
                      <a:pt x="2468" y="199"/>
                    </a:lnTo>
                    <a:lnTo>
                      <a:pt x="2431" y="211"/>
                    </a:lnTo>
                    <a:lnTo>
                      <a:pt x="2386" y="225"/>
                    </a:lnTo>
                    <a:lnTo>
                      <a:pt x="2344" y="239"/>
                    </a:lnTo>
                    <a:lnTo>
                      <a:pt x="2299" y="253"/>
                    </a:lnTo>
                    <a:lnTo>
                      <a:pt x="2253" y="268"/>
                    </a:lnTo>
                    <a:lnTo>
                      <a:pt x="2207" y="288"/>
                    </a:lnTo>
                    <a:lnTo>
                      <a:pt x="2162" y="310"/>
                    </a:lnTo>
                    <a:lnTo>
                      <a:pt x="2111" y="327"/>
                    </a:lnTo>
                    <a:lnTo>
                      <a:pt x="2061" y="347"/>
                    </a:lnTo>
                    <a:lnTo>
                      <a:pt x="2011" y="367"/>
                    </a:lnTo>
                    <a:lnTo>
                      <a:pt x="1961" y="393"/>
                    </a:lnTo>
                    <a:lnTo>
                      <a:pt x="1906" y="416"/>
                    </a:lnTo>
                    <a:lnTo>
                      <a:pt x="1855" y="439"/>
                    </a:lnTo>
                    <a:lnTo>
                      <a:pt x="1801" y="464"/>
                    </a:lnTo>
                    <a:lnTo>
                      <a:pt x="1750" y="493"/>
                    </a:lnTo>
                    <a:lnTo>
                      <a:pt x="1691" y="515"/>
                    </a:lnTo>
                    <a:lnTo>
                      <a:pt x="1636" y="541"/>
                    </a:lnTo>
                    <a:lnTo>
                      <a:pt x="1581" y="570"/>
                    </a:lnTo>
                    <a:lnTo>
                      <a:pt x="1531" y="598"/>
                    </a:lnTo>
                    <a:lnTo>
                      <a:pt x="1472" y="624"/>
                    </a:lnTo>
                    <a:lnTo>
                      <a:pt x="1421" y="652"/>
                    </a:lnTo>
                    <a:lnTo>
                      <a:pt x="1366" y="681"/>
                    </a:lnTo>
                    <a:lnTo>
                      <a:pt x="1316" y="709"/>
                    </a:lnTo>
                    <a:lnTo>
                      <a:pt x="1257" y="735"/>
                    </a:lnTo>
                    <a:lnTo>
                      <a:pt x="1207" y="763"/>
                    </a:lnTo>
                    <a:lnTo>
                      <a:pt x="1152" y="792"/>
                    </a:lnTo>
                    <a:lnTo>
                      <a:pt x="1101" y="817"/>
                    </a:lnTo>
                    <a:lnTo>
                      <a:pt x="1047" y="846"/>
                    </a:lnTo>
                    <a:lnTo>
                      <a:pt x="996" y="874"/>
                    </a:lnTo>
                    <a:lnTo>
                      <a:pt x="946" y="900"/>
                    </a:lnTo>
                    <a:lnTo>
                      <a:pt x="896" y="928"/>
                    </a:lnTo>
                    <a:lnTo>
                      <a:pt x="845" y="954"/>
                    </a:lnTo>
                    <a:lnTo>
                      <a:pt x="800" y="980"/>
                    </a:lnTo>
                    <a:lnTo>
                      <a:pt x="754" y="1005"/>
                    </a:lnTo>
                    <a:lnTo>
                      <a:pt x="708" y="1031"/>
                    </a:lnTo>
                    <a:lnTo>
                      <a:pt x="663" y="1054"/>
                    </a:lnTo>
                    <a:lnTo>
                      <a:pt x="622" y="1076"/>
                    </a:lnTo>
                    <a:lnTo>
                      <a:pt x="580" y="1099"/>
                    </a:lnTo>
                    <a:lnTo>
                      <a:pt x="544" y="1122"/>
                    </a:lnTo>
                    <a:lnTo>
                      <a:pt x="503" y="1142"/>
                    </a:lnTo>
                    <a:lnTo>
                      <a:pt x="466" y="1162"/>
                    </a:lnTo>
                    <a:lnTo>
                      <a:pt x="430" y="1182"/>
                    </a:lnTo>
                    <a:lnTo>
                      <a:pt x="398" y="1199"/>
                    </a:lnTo>
                    <a:lnTo>
                      <a:pt x="366" y="1216"/>
                    </a:lnTo>
                    <a:lnTo>
                      <a:pt x="343" y="1230"/>
                    </a:lnTo>
                    <a:lnTo>
                      <a:pt x="311" y="1244"/>
                    </a:lnTo>
                    <a:lnTo>
                      <a:pt x="288" y="1261"/>
                    </a:lnTo>
                    <a:lnTo>
                      <a:pt x="260" y="1270"/>
                    </a:lnTo>
                    <a:lnTo>
                      <a:pt x="242" y="1281"/>
                    </a:lnTo>
                    <a:lnTo>
                      <a:pt x="229" y="1287"/>
                    </a:lnTo>
                    <a:lnTo>
                      <a:pt x="210" y="1299"/>
                    </a:lnTo>
                    <a:lnTo>
                      <a:pt x="201" y="1304"/>
                    </a:lnTo>
                    <a:lnTo>
                      <a:pt x="187" y="1307"/>
                    </a:lnTo>
                    <a:lnTo>
                      <a:pt x="183" y="1307"/>
                    </a:lnTo>
                    <a:lnTo>
                      <a:pt x="178" y="1310"/>
                    </a:lnTo>
                    <a:lnTo>
                      <a:pt x="165" y="1307"/>
                    </a:lnTo>
                    <a:lnTo>
                      <a:pt x="155" y="1307"/>
                    </a:lnTo>
                    <a:lnTo>
                      <a:pt x="137" y="1304"/>
                    </a:lnTo>
                    <a:lnTo>
                      <a:pt x="123" y="1304"/>
                    </a:lnTo>
                    <a:lnTo>
                      <a:pt x="105" y="1299"/>
                    </a:lnTo>
                    <a:lnTo>
                      <a:pt x="91" y="1299"/>
                    </a:lnTo>
                    <a:lnTo>
                      <a:pt x="73" y="1296"/>
                    </a:lnTo>
                    <a:lnTo>
                      <a:pt x="64" y="1293"/>
                    </a:lnTo>
                    <a:lnTo>
                      <a:pt x="46" y="1287"/>
                    </a:lnTo>
                    <a:lnTo>
                      <a:pt x="32" y="1287"/>
                    </a:lnTo>
                    <a:lnTo>
                      <a:pt x="18" y="1284"/>
                    </a:lnTo>
                    <a:lnTo>
                      <a:pt x="9" y="1284"/>
                    </a:lnTo>
                    <a:lnTo>
                      <a:pt x="0" y="128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3" name="Freeform 6"/>
              <p:cNvSpPr>
                <a:spLocks/>
              </p:cNvSpPr>
              <p:nvPr>
                <p:custDataLst>
                  <p:tags r:id="rId135"/>
                </p:custDataLst>
              </p:nvPr>
            </p:nvSpPr>
            <p:spPr bwMode="gray">
              <a:xfrm>
                <a:off x="0" y="1175"/>
                <a:ext cx="5547" cy="378"/>
              </a:xfrm>
              <a:custGeom>
                <a:avLst/>
                <a:gdLst>
                  <a:gd name="T0" fmla="*/ 97 w 5411"/>
                  <a:gd name="T1" fmla="*/ 79 h 413"/>
                  <a:gd name="T2" fmla="*/ 296 w 5411"/>
                  <a:gd name="T3" fmla="*/ 93 h 413"/>
                  <a:gd name="T4" fmla="*/ 560 w 5411"/>
                  <a:gd name="T5" fmla="*/ 103 h 413"/>
                  <a:gd name="T6" fmla="*/ 873 w 5411"/>
                  <a:gd name="T7" fmla="*/ 113 h 413"/>
                  <a:gd name="T8" fmla="*/ 1231 w 5411"/>
                  <a:gd name="T9" fmla="*/ 124 h 413"/>
                  <a:gd name="T10" fmla="*/ 1626 w 5411"/>
                  <a:gd name="T11" fmla="*/ 130 h 413"/>
                  <a:gd name="T12" fmla="*/ 2038 w 5411"/>
                  <a:gd name="T13" fmla="*/ 135 h 413"/>
                  <a:gd name="T14" fmla="*/ 2475 w 5411"/>
                  <a:gd name="T15" fmla="*/ 140 h 413"/>
                  <a:gd name="T16" fmla="*/ 2918 w 5411"/>
                  <a:gd name="T17" fmla="*/ 143 h 413"/>
                  <a:gd name="T18" fmla="*/ 3361 w 5411"/>
                  <a:gd name="T19" fmla="*/ 143 h 413"/>
                  <a:gd name="T20" fmla="*/ 3797 w 5411"/>
                  <a:gd name="T21" fmla="*/ 141 h 413"/>
                  <a:gd name="T22" fmla="*/ 4213 w 5411"/>
                  <a:gd name="T23" fmla="*/ 137 h 413"/>
                  <a:gd name="T24" fmla="*/ 4610 w 5411"/>
                  <a:gd name="T25" fmla="*/ 132 h 413"/>
                  <a:gd name="T26" fmla="*/ 4968 w 5411"/>
                  <a:gd name="T27" fmla="*/ 124 h 413"/>
                  <a:gd name="T28" fmla="*/ 5312 w 5411"/>
                  <a:gd name="T29" fmla="*/ 113 h 413"/>
                  <a:gd name="T30" fmla="*/ 5632 w 5411"/>
                  <a:gd name="T31" fmla="*/ 105 h 413"/>
                  <a:gd name="T32" fmla="*/ 5935 w 5411"/>
                  <a:gd name="T33" fmla="*/ 94 h 413"/>
                  <a:gd name="T34" fmla="*/ 6206 w 5411"/>
                  <a:gd name="T35" fmla="*/ 86 h 413"/>
                  <a:gd name="T36" fmla="*/ 6449 w 5411"/>
                  <a:gd name="T37" fmla="*/ 75 h 413"/>
                  <a:gd name="T38" fmla="*/ 6666 w 5411"/>
                  <a:gd name="T39" fmla="*/ 66 h 413"/>
                  <a:gd name="T40" fmla="*/ 6856 w 5411"/>
                  <a:gd name="T41" fmla="*/ 57 h 413"/>
                  <a:gd name="T42" fmla="*/ 7012 w 5411"/>
                  <a:gd name="T43" fmla="*/ 49 h 413"/>
                  <a:gd name="T44" fmla="*/ 7133 w 5411"/>
                  <a:gd name="T45" fmla="*/ 42 h 413"/>
                  <a:gd name="T46" fmla="*/ 7227 w 5411"/>
                  <a:gd name="T47" fmla="*/ 38 h 413"/>
                  <a:gd name="T48" fmla="*/ 7289 w 5411"/>
                  <a:gd name="T49" fmla="*/ 35 h 413"/>
                  <a:gd name="T50" fmla="*/ 7050 w 5411"/>
                  <a:gd name="T51" fmla="*/ 3 h 413"/>
                  <a:gd name="T52" fmla="*/ 6950 w 5411"/>
                  <a:gd name="T53" fmla="*/ 5 h 413"/>
                  <a:gd name="T54" fmla="*/ 6809 w 5411"/>
                  <a:gd name="T55" fmla="*/ 13 h 413"/>
                  <a:gd name="T56" fmla="*/ 6606 w 5411"/>
                  <a:gd name="T57" fmla="*/ 20 h 413"/>
                  <a:gd name="T58" fmla="*/ 6371 w 5411"/>
                  <a:gd name="T59" fmla="*/ 29 h 413"/>
                  <a:gd name="T60" fmla="*/ 6096 w 5411"/>
                  <a:gd name="T61" fmla="*/ 38 h 413"/>
                  <a:gd name="T62" fmla="*/ 5785 w 5411"/>
                  <a:gd name="T63" fmla="*/ 48 h 413"/>
                  <a:gd name="T64" fmla="*/ 5442 w 5411"/>
                  <a:gd name="T65" fmla="*/ 57 h 413"/>
                  <a:gd name="T66" fmla="*/ 5080 w 5411"/>
                  <a:gd name="T67" fmla="*/ 66 h 413"/>
                  <a:gd name="T68" fmla="*/ 4691 w 5411"/>
                  <a:gd name="T69" fmla="*/ 75 h 413"/>
                  <a:gd name="T70" fmla="*/ 4285 w 5411"/>
                  <a:gd name="T71" fmla="*/ 82 h 413"/>
                  <a:gd name="T72" fmla="*/ 3873 w 5411"/>
                  <a:gd name="T73" fmla="*/ 87 h 413"/>
                  <a:gd name="T74" fmla="*/ 3440 w 5411"/>
                  <a:gd name="T75" fmla="*/ 93 h 413"/>
                  <a:gd name="T76" fmla="*/ 3022 w 5411"/>
                  <a:gd name="T77" fmla="*/ 94 h 413"/>
                  <a:gd name="T78" fmla="*/ 2628 w 5411"/>
                  <a:gd name="T79" fmla="*/ 93 h 413"/>
                  <a:gd name="T80" fmla="*/ 2253 w 5411"/>
                  <a:gd name="T81" fmla="*/ 91 h 413"/>
                  <a:gd name="T82" fmla="*/ 1907 w 5411"/>
                  <a:gd name="T83" fmla="*/ 86 h 413"/>
                  <a:gd name="T84" fmla="*/ 1583 w 5411"/>
                  <a:gd name="T85" fmla="*/ 81 h 413"/>
                  <a:gd name="T86" fmla="*/ 1298 w 5411"/>
                  <a:gd name="T87" fmla="*/ 75 h 413"/>
                  <a:gd name="T88" fmla="*/ 1023 w 5411"/>
                  <a:gd name="T89" fmla="*/ 70 h 413"/>
                  <a:gd name="T90" fmla="*/ 806 w 5411"/>
                  <a:gd name="T91" fmla="*/ 64 h 413"/>
                  <a:gd name="T92" fmla="*/ 615 w 5411"/>
                  <a:gd name="T93" fmla="*/ 59 h 413"/>
                  <a:gd name="T94" fmla="*/ 463 w 5411"/>
                  <a:gd name="T95" fmla="*/ 54 h 413"/>
                  <a:gd name="T96" fmla="*/ 363 w 5411"/>
                  <a:gd name="T97" fmla="*/ 48 h 413"/>
                  <a:gd name="T98" fmla="*/ 290 w 5411"/>
                  <a:gd name="T99" fmla="*/ 46 h 413"/>
                  <a:gd name="T100" fmla="*/ 178 w 5411"/>
                  <a:gd name="T101" fmla="*/ 47 h 413"/>
                  <a:gd name="T102" fmla="*/ 53 w 5411"/>
                  <a:gd name="T103" fmla="*/ 60 h 413"/>
                  <a:gd name="T104" fmla="*/ 0 w 5411"/>
                  <a:gd name="T105" fmla="*/ 67 h 4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11"/>
                  <a:gd name="T160" fmla="*/ 0 h 413"/>
                  <a:gd name="T161" fmla="*/ 5411 w 5411"/>
                  <a:gd name="T162" fmla="*/ 413 h 4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11" h="413">
                    <a:moveTo>
                      <a:pt x="0" y="199"/>
                    </a:moveTo>
                    <a:lnTo>
                      <a:pt x="5" y="208"/>
                    </a:lnTo>
                    <a:lnTo>
                      <a:pt x="23" y="213"/>
                    </a:lnTo>
                    <a:lnTo>
                      <a:pt x="46" y="222"/>
                    </a:lnTo>
                    <a:lnTo>
                      <a:pt x="73" y="231"/>
                    </a:lnTo>
                    <a:lnTo>
                      <a:pt x="96" y="239"/>
                    </a:lnTo>
                    <a:lnTo>
                      <a:pt x="123" y="248"/>
                    </a:lnTo>
                    <a:lnTo>
                      <a:pt x="155" y="253"/>
                    </a:lnTo>
                    <a:lnTo>
                      <a:pt x="187" y="262"/>
                    </a:lnTo>
                    <a:lnTo>
                      <a:pt x="219" y="268"/>
                    </a:lnTo>
                    <a:lnTo>
                      <a:pt x="256" y="273"/>
                    </a:lnTo>
                    <a:lnTo>
                      <a:pt x="292" y="282"/>
                    </a:lnTo>
                    <a:lnTo>
                      <a:pt x="334" y="287"/>
                    </a:lnTo>
                    <a:lnTo>
                      <a:pt x="375" y="293"/>
                    </a:lnTo>
                    <a:lnTo>
                      <a:pt x="416" y="299"/>
                    </a:lnTo>
                    <a:lnTo>
                      <a:pt x="462" y="307"/>
                    </a:lnTo>
                    <a:lnTo>
                      <a:pt x="507" y="313"/>
                    </a:lnTo>
                    <a:lnTo>
                      <a:pt x="553" y="319"/>
                    </a:lnTo>
                    <a:lnTo>
                      <a:pt x="599" y="324"/>
                    </a:lnTo>
                    <a:lnTo>
                      <a:pt x="649" y="330"/>
                    </a:lnTo>
                    <a:lnTo>
                      <a:pt x="699" y="336"/>
                    </a:lnTo>
                    <a:lnTo>
                      <a:pt x="750" y="339"/>
                    </a:lnTo>
                    <a:lnTo>
                      <a:pt x="804" y="344"/>
                    </a:lnTo>
                    <a:lnTo>
                      <a:pt x="859" y="350"/>
                    </a:lnTo>
                    <a:lnTo>
                      <a:pt x="914" y="356"/>
                    </a:lnTo>
                    <a:lnTo>
                      <a:pt x="969" y="359"/>
                    </a:lnTo>
                    <a:lnTo>
                      <a:pt x="1028" y="364"/>
                    </a:lnTo>
                    <a:lnTo>
                      <a:pt x="1088" y="367"/>
                    </a:lnTo>
                    <a:lnTo>
                      <a:pt x="1147" y="373"/>
                    </a:lnTo>
                    <a:lnTo>
                      <a:pt x="1207" y="376"/>
                    </a:lnTo>
                    <a:lnTo>
                      <a:pt x="1266" y="379"/>
                    </a:lnTo>
                    <a:lnTo>
                      <a:pt x="1325" y="384"/>
                    </a:lnTo>
                    <a:lnTo>
                      <a:pt x="1394" y="390"/>
                    </a:lnTo>
                    <a:lnTo>
                      <a:pt x="1453" y="390"/>
                    </a:lnTo>
                    <a:lnTo>
                      <a:pt x="1513" y="393"/>
                    </a:lnTo>
                    <a:lnTo>
                      <a:pt x="1577" y="396"/>
                    </a:lnTo>
                    <a:lnTo>
                      <a:pt x="1645" y="399"/>
                    </a:lnTo>
                    <a:lnTo>
                      <a:pt x="1709" y="401"/>
                    </a:lnTo>
                    <a:lnTo>
                      <a:pt x="1773" y="401"/>
                    </a:lnTo>
                    <a:lnTo>
                      <a:pt x="1837" y="404"/>
                    </a:lnTo>
                    <a:lnTo>
                      <a:pt x="1906" y="407"/>
                    </a:lnTo>
                    <a:lnTo>
                      <a:pt x="1970" y="410"/>
                    </a:lnTo>
                    <a:lnTo>
                      <a:pt x="2034" y="410"/>
                    </a:lnTo>
                    <a:lnTo>
                      <a:pt x="2098" y="410"/>
                    </a:lnTo>
                    <a:lnTo>
                      <a:pt x="2166" y="413"/>
                    </a:lnTo>
                    <a:lnTo>
                      <a:pt x="2235" y="413"/>
                    </a:lnTo>
                    <a:lnTo>
                      <a:pt x="2299" y="413"/>
                    </a:lnTo>
                    <a:lnTo>
                      <a:pt x="2363" y="413"/>
                    </a:lnTo>
                    <a:lnTo>
                      <a:pt x="2431" y="413"/>
                    </a:lnTo>
                    <a:lnTo>
                      <a:pt x="2495" y="413"/>
                    </a:lnTo>
                    <a:lnTo>
                      <a:pt x="2559" y="413"/>
                    </a:lnTo>
                    <a:lnTo>
                      <a:pt x="2623" y="410"/>
                    </a:lnTo>
                    <a:lnTo>
                      <a:pt x="2692" y="410"/>
                    </a:lnTo>
                    <a:lnTo>
                      <a:pt x="2751" y="410"/>
                    </a:lnTo>
                    <a:lnTo>
                      <a:pt x="2820" y="407"/>
                    </a:lnTo>
                    <a:lnTo>
                      <a:pt x="2879" y="404"/>
                    </a:lnTo>
                    <a:lnTo>
                      <a:pt x="2943" y="404"/>
                    </a:lnTo>
                    <a:lnTo>
                      <a:pt x="3003" y="401"/>
                    </a:lnTo>
                    <a:lnTo>
                      <a:pt x="3067" y="401"/>
                    </a:lnTo>
                    <a:lnTo>
                      <a:pt x="3126" y="399"/>
                    </a:lnTo>
                    <a:lnTo>
                      <a:pt x="3185" y="396"/>
                    </a:lnTo>
                    <a:lnTo>
                      <a:pt x="3245" y="390"/>
                    </a:lnTo>
                    <a:lnTo>
                      <a:pt x="3304" y="390"/>
                    </a:lnTo>
                    <a:lnTo>
                      <a:pt x="3364" y="384"/>
                    </a:lnTo>
                    <a:lnTo>
                      <a:pt x="3423" y="381"/>
                    </a:lnTo>
                    <a:lnTo>
                      <a:pt x="3473" y="376"/>
                    </a:lnTo>
                    <a:lnTo>
                      <a:pt x="3528" y="373"/>
                    </a:lnTo>
                    <a:lnTo>
                      <a:pt x="3583" y="367"/>
                    </a:lnTo>
                    <a:lnTo>
                      <a:pt x="3638" y="364"/>
                    </a:lnTo>
                    <a:lnTo>
                      <a:pt x="3688" y="359"/>
                    </a:lnTo>
                    <a:lnTo>
                      <a:pt x="3743" y="353"/>
                    </a:lnTo>
                    <a:lnTo>
                      <a:pt x="3789" y="347"/>
                    </a:lnTo>
                    <a:lnTo>
                      <a:pt x="3843" y="344"/>
                    </a:lnTo>
                    <a:lnTo>
                      <a:pt x="3889" y="339"/>
                    </a:lnTo>
                    <a:lnTo>
                      <a:pt x="3944" y="333"/>
                    </a:lnTo>
                    <a:lnTo>
                      <a:pt x="3990" y="327"/>
                    </a:lnTo>
                    <a:lnTo>
                      <a:pt x="4040" y="324"/>
                    </a:lnTo>
                    <a:lnTo>
                      <a:pt x="4086" y="316"/>
                    </a:lnTo>
                    <a:lnTo>
                      <a:pt x="4136" y="313"/>
                    </a:lnTo>
                    <a:lnTo>
                      <a:pt x="4182" y="307"/>
                    </a:lnTo>
                    <a:lnTo>
                      <a:pt x="4232" y="302"/>
                    </a:lnTo>
                    <a:lnTo>
                      <a:pt x="4273" y="296"/>
                    </a:lnTo>
                    <a:lnTo>
                      <a:pt x="4319" y="287"/>
                    </a:lnTo>
                    <a:lnTo>
                      <a:pt x="4360" y="285"/>
                    </a:lnTo>
                    <a:lnTo>
                      <a:pt x="4406" y="279"/>
                    </a:lnTo>
                    <a:lnTo>
                      <a:pt x="4447" y="273"/>
                    </a:lnTo>
                    <a:lnTo>
                      <a:pt x="4488" y="265"/>
                    </a:lnTo>
                    <a:lnTo>
                      <a:pt x="4529" y="262"/>
                    </a:lnTo>
                    <a:lnTo>
                      <a:pt x="4570" y="256"/>
                    </a:lnTo>
                    <a:lnTo>
                      <a:pt x="4607" y="250"/>
                    </a:lnTo>
                    <a:lnTo>
                      <a:pt x="4643" y="239"/>
                    </a:lnTo>
                    <a:lnTo>
                      <a:pt x="4680" y="236"/>
                    </a:lnTo>
                    <a:lnTo>
                      <a:pt x="4721" y="231"/>
                    </a:lnTo>
                    <a:lnTo>
                      <a:pt x="4753" y="225"/>
                    </a:lnTo>
                    <a:lnTo>
                      <a:pt x="4789" y="219"/>
                    </a:lnTo>
                    <a:lnTo>
                      <a:pt x="4821" y="213"/>
                    </a:lnTo>
                    <a:lnTo>
                      <a:pt x="4858" y="208"/>
                    </a:lnTo>
                    <a:lnTo>
                      <a:pt x="4890" y="202"/>
                    </a:lnTo>
                    <a:lnTo>
                      <a:pt x="4922" y="196"/>
                    </a:lnTo>
                    <a:lnTo>
                      <a:pt x="4949" y="191"/>
                    </a:lnTo>
                    <a:lnTo>
                      <a:pt x="4981" y="185"/>
                    </a:lnTo>
                    <a:lnTo>
                      <a:pt x="5009" y="179"/>
                    </a:lnTo>
                    <a:lnTo>
                      <a:pt x="5041" y="174"/>
                    </a:lnTo>
                    <a:lnTo>
                      <a:pt x="5064" y="168"/>
                    </a:lnTo>
                    <a:lnTo>
                      <a:pt x="5091" y="165"/>
                    </a:lnTo>
                    <a:lnTo>
                      <a:pt x="5119" y="159"/>
                    </a:lnTo>
                    <a:lnTo>
                      <a:pt x="5141" y="154"/>
                    </a:lnTo>
                    <a:lnTo>
                      <a:pt x="5164" y="151"/>
                    </a:lnTo>
                    <a:lnTo>
                      <a:pt x="5187" y="148"/>
                    </a:lnTo>
                    <a:lnTo>
                      <a:pt x="5205" y="142"/>
                    </a:lnTo>
                    <a:lnTo>
                      <a:pt x="5228" y="139"/>
                    </a:lnTo>
                    <a:lnTo>
                      <a:pt x="5247" y="137"/>
                    </a:lnTo>
                    <a:lnTo>
                      <a:pt x="5265" y="131"/>
                    </a:lnTo>
                    <a:lnTo>
                      <a:pt x="5283" y="128"/>
                    </a:lnTo>
                    <a:lnTo>
                      <a:pt x="5297" y="122"/>
                    </a:lnTo>
                    <a:lnTo>
                      <a:pt x="5315" y="119"/>
                    </a:lnTo>
                    <a:lnTo>
                      <a:pt x="5329" y="117"/>
                    </a:lnTo>
                    <a:lnTo>
                      <a:pt x="5338" y="114"/>
                    </a:lnTo>
                    <a:lnTo>
                      <a:pt x="5352" y="111"/>
                    </a:lnTo>
                    <a:lnTo>
                      <a:pt x="5365" y="111"/>
                    </a:lnTo>
                    <a:lnTo>
                      <a:pt x="5374" y="108"/>
                    </a:lnTo>
                    <a:lnTo>
                      <a:pt x="5388" y="102"/>
                    </a:lnTo>
                    <a:lnTo>
                      <a:pt x="5402" y="102"/>
                    </a:lnTo>
                    <a:lnTo>
                      <a:pt x="5411" y="100"/>
                    </a:lnTo>
                    <a:lnTo>
                      <a:pt x="5265" y="0"/>
                    </a:lnTo>
                    <a:lnTo>
                      <a:pt x="5260" y="0"/>
                    </a:lnTo>
                    <a:lnTo>
                      <a:pt x="5251" y="3"/>
                    </a:lnTo>
                    <a:lnTo>
                      <a:pt x="5242" y="3"/>
                    </a:lnTo>
                    <a:lnTo>
                      <a:pt x="5233" y="3"/>
                    </a:lnTo>
                    <a:lnTo>
                      <a:pt x="5219" y="3"/>
                    </a:lnTo>
                    <a:lnTo>
                      <a:pt x="5210" y="8"/>
                    </a:lnTo>
                    <a:lnTo>
                      <a:pt x="5196" y="11"/>
                    </a:lnTo>
                    <a:lnTo>
                      <a:pt x="5178" y="14"/>
                    </a:lnTo>
                    <a:lnTo>
                      <a:pt x="5160" y="17"/>
                    </a:lnTo>
                    <a:lnTo>
                      <a:pt x="5141" y="20"/>
                    </a:lnTo>
                    <a:lnTo>
                      <a:pt x="5119" y="23"/>
                    </a:lnTo>
                    <a:lnTo>
                      <a:pt x="5100" y="25"/>
                    </a:lnTo>
                    <a:lnTo>
                      <a:pt x="5077" y="31"/>
                    </a:lnTo>
                    <a:lnTo>
                      <a:pt x="5055" y="37"/>
                    </a:lnTo>
                    <a:lnTo>
                      <a:pt x="5023" y="40"/>
                    </a:lnTo>
                    <a:lnTo>
                      <a:pt x="5000" y="43"/>
                    </a:lnTo>
                    <a:lnTo>
                      <a:pt x="4968" y="48"/>
                    </a:lnTo>
                    <a:lnTo>
                      <a:pt x="4940" y="51"/>
                    </a:lnTo>
                    <a:lnTo>
                      <a:pt x="4904" y="57"/>
                    </a:lnTo>
                    <a:lnTo>
                      <a:pt x="4872" y="60"/>
                    </a:lnTo>
                    <a:lnTo>
                      <a:pt x="4840" y="68"/>
                    </a:lnTo>
                    <a:lnTo>
                      <a:pt x="4808" y="71"/>
                    </a:lnTo>
                    <a:lnTo>
                      <a:pt x="4767" y="77"/>
                    </a:lnTo>
                    <a:lnTo>
                      <a:pt x="4730" y="82"/>
                    </a:lnTo>
                    <a:lnTo>
                      <a:pt x="4694" y="88"/>
                    </a:lnTo>
                    <a:lnTo>
                      <a:pt x="4652" y="91"/>
                    </a:lnTo>
                    <a:lnTo>
                      <a:pt x="4611" y="97"/>
                    </a:lnTo>
                    <a:lnTo>
                      <a:pt x="4570" y="102"/>
                    </a:lnTo>
                    <a:lnTo>
                      <a:pt x="4524" y="111"/>
                    </a:lnTo>
                    <a:lnTo>
                      <a:pt x="4488" y="117"/>
                    </a:lnTo>
                    <a:lnTo>
                      <a:pt x="4438" y="122"/>
                    </a:lnTo>
                    <a:lnTo>
                      <a:pt x="4392" y="128"/>
                    </a:lnTo>
                    <a:lnTo>
                      <a:pt x="4342" y="134"/>
                    </a:lnTo>
                    <a:lnTo>
                      <a:pt x="4296" y="139"/>
                    </a:lnTo>
                    <a:lnTo>
                      <a:pt x="4246" y="142"/>
                    </a:lnTo>
                    <a:lnTo>
                      <a:pt x="4200" y="151"/>
                    </a:lnTo>
                    <a:lnTo>
                      <a:pt x="4145" y="154"/>
                    </a:lnTo>
                    <a:lnTo>
                      <a:pt x="4095" y="162"/>
                    </a:lnTo>
                    <a:lnTo>
                      <a:pt x="4040" y="165"/>
                    </a:lnTo>
                    <a:lnTo>
                      <a:pt x="3990" y="174"/>
                    </a:lnTo>
                    <a:lnTo>
                      <a:pt x="3935" y="176"/>
                    </a:lnTo>
                    <a:lnTo>
                      <a:pt x="3885" y="185"/>
                    </a:lnTo>
                    <a:lnTo>
                      <a:pt x="3830" y="185"/>
                    </a:lnTo>
                    <a:lnTo>
                      <a:pt x="3770" y="193"/>
                    </a:lnTo>
                    <a:lnTo>
                      <a:pt x="3716" y="199"/>
                    </a:lnTo>
                    <a:lnTo>
                      <a:pt x="3661" y="205"/>
                    </a:lnTo>
                    <a:lnTo>
                      <a:pt x="3597" y="208"/>
                    </a:lnTo>
                    <a:lnTo>
                      <a:pt x="3542" y="213"/>
                    </a:lnTo>
                    <a:lnTo>
                      <a:pt x="3482" y="219"/>
                    </a:lnTo>
                    <a:lnTo>
                      <a:pt x="3423" y="225"/>
                    </a:lnTo>
                    <a:lnTo>
                      <a:pt x="3364" y="228"/>
                    </a:lnTo>
                    <a:lnTo>
                      <a:pt x="3304" y="231"/>
                    </a:lnTo>
                    <a:lnTo>
                      <a:pt x="3245" y="236"/>
                    </a:lnTo>
                    <a:lnTo>
                      <a:pt x="3181" y="239"/>
                    </a:lnTo>
                    <a:lnTo>
                      <a:pt x="3121" y="242"/>
                    </a:lnTo>
                    <a:lnTo>
                      <a:pt x="3057" y="248"/>
                    </a:lnTo>
                    <a:lnTo>
                      <a:pt x="2998" y="250"/>
                    </a:lnTo>
                    <a:lnTo>
                      <a:pt x="2934" y="253"/>
                    </a:lnTo>
                    <a:lnTo>
                      <a:pt x="2875" y="256"/>
                    </a:lnTo>
                    <a:lnTo>
                      <a:pt x="2806" y="259"/>
                    </a:lnTo>
                    <a:lnTo>
                      <a:pt x="2747" y="262"/>
                    </a:lnTo>
                    <a:lnTo>
                      <a:pt x="2683" y="265"/>
                    </a:lnTo>
                    <a:lnTo>
                      <a:pt x="2619" y="265"/>
                    </a:lnTo>
                    <a:lnTo>
                      <a:pt x="2555" y="268"/>
                    </a:lnTo>
                    <a:lnTo>
                      <a:pt x="2495" y="268"/>
                    </a:lnTo>
                    <a:lnTo>
                      <a:pt x="2431" y="270"/>
                    </a:lnTo>
                    <a:lnTo>
                      <a:pt x="2367" y="270"/>
                    </a:lnTo>
                    <a:lnTo>
                      <a:pt x="2308" y="270"/>
                    </a:lnTo>
                    <a:lnTo>
                      <a:pt x="2244" y="270"/>
                    </a:lnTo>
                    <a:lnTo>
                      <a:pt x="2185" y="270"/>
                    </a:lnTo>
                    <a:lnTo>
                      <a:pt x="2125" y="270"/>
                    </a:lnTo>
                    <a:lnTo>
                      <a:pt x="2070" y="268"/>
                    </a:lnTo>
                    <a:lnTo>
                      <a:pt x="2011" y="268"/>
                    </a:lnTo>
                    <a:lnTo>
                      <a:pt x="1951" y="268"/>
                    </a:lnTo>
                    <a:lnTo>
                      <a:pt x="1897" y="265"/>
                    </a:lnTo>
                    <a:lnTo>
                      <a:pt x="1842" y="265"/>
                    </a:lnTo>
                    <a:lnTo>
                      <a:pt x="1787" y="262"/>
                    </a:lnTo>
                    <a:lnTo>
                      <a:pt x="1732" y="262"/>
                    </a:lnTo>
                    <a:lnTo>
                      <a:pt x="1673" y="262"/>
                    </a:lnTo>
                    <a:lnTo>
                      <a:pt x="1622" y="259"/>
                    </a:lnTo>
                    <a:lnTo>
                      <a:pt x="1568" y="256"/>
                    </a:lnTo>
                    <a:lnTo>
                      <a:pt x="1517" y="253"/>
                    </a:lnTo>
                    <a:lnTo>
                      <a:pt x="1467" y="250"/>
                    </a:lnTo>
                    <a:lnTo>
                      <a:pt x="1417" y="250"/>
                    </a:lnTo>
                    <a:lnTo>
                      <a:pt x="1362" y="248"/>
                    </a:lnTo>
                    <a:lnTo>
                      <a:pt x="1321" y="245"/>
                    </a:lnTo>
                    <a:lnTo>
                      <a:pt x="1270" y="239"/>
                    </a:lnTo>
                    <a:lnTo>
                      <a:pt x="1220" y="239"/>
                    </a:lnTo>
                    <a:lnTo>
                      <a:pt x="1175" y="236"/>
                    </a:lnTo>
                    <a:lnTo>
                      <a:pt x="1129" y="233"/>
                    </a:lnTo>
                    <a:lnTo>
                      <a:pt x="1088" y="231"/>
                    </a:lnTo>
                    <a:lnTo>
                      <a:pt x="1042" y="228"/>
                    </a:lnTo>
                    <a:lnTo>
                      <a:pt x="1001" y="225"/>
                    </a:lnTo>
                    <a:lnTo>
                      <a:pt x="964" y="219"/>
                    </a:lnTo>
                    <a:lnTo>
                      <a:pt x="919" y="216"/>
                    </a:lnTo>
                    <a:lnTo>
                      <a:pt x="877" y="213"/>
                    </a:lnTo>
                    <a:lnTo>
                      <a:pt x="841" y="208"/>
                    </a:lnTo>
                    <a:lnTo>
                      <a:pt x="804" y="208"/>
                    </a:lnTo>
                    <a:lnTo>
                      <a:pt x="759" y="202"/>
                    </a:lnTo>
                    <a:lnTo>
                      <a:pt x="731" y="199"/>
                    </a:lnTo>
                    <a:lnTo>
                      <a:pt x="695" y="196"/>
                    </a:lnTo>
                    <a:lnTo>
                      <a:pt x="663" y="193"/>
                    </a:lnTo>
                    <a:lnTo>
                      <a:pt x="631" y="188"/>
                    </a:lnTo>
                    <a:lnTo>
                      <a:pt x="599" y="185"/>
                    </a:lnTo>
                    <a:lnTo>
                      <a:pt x="567" y="182"/>
                    </a:lnTo>
                    <a:lnTo>
                      <a:pt x="539" y="179"/>
                    </a:lnTo>
                    <a:lnTo>
                      <a:pt x="507" y="174"/>
                    </a:lnTo>
                    <a:lnTo>
                      <a:pt x="484" y="174"/>
                    </a:lnTo>
                    <a:lnTo>
                      <a:pt x="457" y="168"/>
                    </a:lnTo>
                    <a:lnTo>
                      <a:pt x="434" y="165"/>
                    </a:lnTo>
                    <a:lnTo>
                      <a:pt x="411" y="162"/>
                    </a:lnTo>
                    <a:lnTo>
                      <a:pt x="384" y="159"/>
                    </a:lnTo>
                    <a:lnTo>
                      <a:pt x="361" y="156"/>
                    </a:lnTo>
                    <a:lnTo>
                      <a:pt x="343" y="154"/>
                    </a:lnTo>
                    <a:lnTo>
                      <a:pt x="329" y="151"/>
                    </a:lnTo>
                    <a:lnTo>
                      <a:pt x="311" y="148"/>
                    </a:lnTo>
                    <a:lnTo>
                      <a:pt x="292" y="145"/>
                    </a:lnTo>
                    <a:lnTo>
                      <a:pt x="283" y="142"/>
                    </a:lnTo>
                    <a:lnTo>
                      <a:pt x="270" y="139"/>
                    </a:lnTo>
                    <a:lnTo>
                      <a:pt x="256" y="139"/>
                    </a:lnTo>
                    <a:lnTo>
                      <a:pt x="242" y="137"/>
                    </a:lnTo>
                    <a:lnTo>
                      <a:pt x="238" y="137"/>
                    </a:lnTo>
                    <a:lnTo>
                      <a:pt x="224" y="134"/>
                    </a:lnTo>
                    <a:lnTo>
                      <a:pt x="215" y="134"/>
                    </a:lnTo>
                    <a:lnTo>
                      <a:pt x="201" y="128"/>
                    </a:lnTo>
                    <a:lnTo>
                      <a:pt x="187" y="128"/>
                    </a:lnTo>
                    <a:lnTo>
                      <a:pt x="169" y="131"/>
                    </a:lnTo>
                    <a:lnTo>
                      <a:pt x="155" y="134"/>
                    </a:lnTo>
                    <a:lnTo>
                      <a:pt x="133" y="137"/>
                    </a:lnTo>
                    <a:lnTo>
                      <a:pt x="114" y="142"/>
                    </a:lnTo>
                    <a:lnTo>
                      <a:pt x="96" y="151"/>
                    </a:lnTo>
                    <a:lnTo>
                      <a:pt x="78" y="159"/>
                    </a:lnTo>
                    <a:lnTo>
                      <a:pt x="59" y="165"/>
                    </a:lnTo>
                    <a:lnTo>
                      <a:pt x="41" y="174"/>
                    </a:lnTo>
                    <a:lnTo>
                      <a:pt x="23" y="179"/>
                    </a:lnTo>
                    <a:lnTo>
                      <a:pt x="14" y="185"/>
                    </a:lnTo>
                    <a:lnTo>
                      <a:pt x="0" y="191"/>
                    </a:lnTo>
                    <a:lnTo>
                      <a:pt x="0" y="196"/>
                    </a:lnTo>
                    <a:lnTo>
                      <a:pt x="0" y="19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 name="Freeform 7"/>
              <p:cNvSpPr>
                <a:spLocks/>
              </p:cNvSpPr>
              <p:nvPr>
                <p:custDataLst>
                  <p:tags r:id="rId136"/>
                </p:custDataLst>
              </p:nvPr>
            </p:nvSpPr>
            <p:spPr bwMode="gray">
              <a:xfrm>
                <a:off x="932" y="1412"/>
                <a:ext cx="3823" cy="1413"/>
              </a:xfrm>
              <a:custGeom>
                <a:avLst/>
                <a:gdLst>
                  <a:gd name="T0" fmla="*/ 159 w 3730"/>
                  <a:gd name="T1" fmla="*/ 41 h 1546"/>
                  <a:gd name="T2" fmla="*/ 142 w 3730"/>
                  <a:gd name="T3" fmla="*/ 75 h 1546"/>
                  <a:gd name="T4" fmla="*/ 129 w 3730"/>
                  <a:gd name="T5" fmla="*/ 121 h 1546"/>
                  <a:gd name="T6" fmla="*/ 102 w 3730"/>
                  <a:gd name="T7" fmla="*/ 173 h 1546"/>
                  <a:gd name="T8" fmla="*/ 83 w 3730"/>
                  <a:gd name="T9" fmla="*/ 231 h 1546"/>
                  <a:gd name="T10" fmla="*/ 54 w 3730"/>
                  <a:gd name="T11" fmla="*/ 291 h 1546"/>
                  <a:gd name="T12" fmla="*/ 40 w 3730"/>
                  <a:gd name="T13" fmla="*/ 345 h 1546"/>
                  <a:gd name="T14" fmla="*/ 14 w 3730"/>
                  <a:gd name="T15" fmla="*/ 396 h 1546"/>
                  <a:gd name="T16" fmla="*/ 5 w 3730"/>
                  <a:gd name="T17" fmla="*/ 435 h 1546"/>
                  <a:gd name="T18" fmla="*/ 0 w 3730"/>
                  <a:gd name="T19" fmla="*/ 461 h 1546"/>
                  <a:gd name="T20" fmla="*/ 5 w 3730"/>
                  <a:gd name="T21" fmla="*/ 467 h 1546"/>
                  <a:gd name="T22" fmla="*/ 88 w 3730"/>
                  <a:gd name="T23" fmla="*/ 471 h 1546"/>
                  <a:gd name="T24" fmla="*/ 192 w 3730"/>
                  <a:gd name="T25" fmla="*/ 474 h 1546"/>
                  <a:gd name="T26" fmla="*/ 327 w 3730"/>
                  <a:gd name="T27" fmla="*/ 480 h 1546"/>
                  <a:gd name="T28" fmla="*/ 492 w 3730"/>
                  <a:gd name="T29" fmla="*/ 485 h 1546"/>
                  <a:gd name="T30" fmla="*/ 683 w 3730"/>
                  <a:gd name="T31" fmla="*/ 493 h 1546"/>
                  <a:gd name="T32" fmla="*/ 887 w 3730"/>
                  <a:gd name="T33" fmla="*/ 499 h 1546"/>
                  <a:gd name="T34" fmla="*/ 1113 w 3730"/>
                  <a:gd name="T35" fmla="*/ 505 h 1546"/>
                  <a:gd name="T36" fmla="*/ 1340 w 3730"/>
                  <a:gd name="T37" fmla="*/ 511 h 1546"/>
                  <a:gd name="T38" fmla="*/ 1567 w 3730"/>
                  <a:gd name="T39" fmla="*/ 517 h 1546"/>
                  <a:gd name="T40" fmla="*/ 1797 w 3730"/>
                  <a:gd name="T41" fmla="*/ 522 h 1546"/>
                  <a:gd name="T42" fmla="*/ 2041 w 3730"/>
                  <a:gd name="T43" fmla="*/ 524 h 1546"/>
                  <a:gd name="T44" fmla="*/ 2293 w 3730"/>
                  <a:gd name="T45" fmla="*/ 525 h 1546"/>
                  <a:gd name="T46" fmla="*/ 2556 w 3730"/>
                  <a:gd name="T47" fmla="*/ 525 h 1546"/>
                  <a:gd name="T48" fmla="*/ 2820 w 3730"/>
                  <a:gd name="T49" fmla="*/ 523 h 1546"/>
                  <a:gd name="T50" fmla="*/ 3089 w 3730"/>
                  <a:gd name="T51" fmla="*/ 522 h 1546"/>
                  <a:gd name="T52" fmla="*/ 3335 w 3730"/>
                  <a:gd name="T53" fmla="*/ 519 h 1546"/>
                  <a:gd name="T54" fmla="*/ 3575 w 3730"/>
                  <a:gd name="T55" fmla="*/ 515 h 1546"/>
                  <a:gd name="T56" fmla="*/ 3792 w 3730"/>
                  <a:gd name="T57" fmla="*/ 510 h 1546"/>
                  <a:gd name="T58" fmla="*/ 3984 w 3730"/>
                  <a:gd name="T59" fmla="*/ 507 h 1546"/>
                  <a:gd name="T60" fmla="*/ 4142 w 3730"/>
                  <a:gd name="T61" fmla="*/ 504 h 1546"/>
                  <a:gd name="T62" fmla="*/ 4268 w 3730"/>
                  <a:gd name="T63" fmla="*/ 499 h 1546"/>
                  <a:gd name="T64" fmla="*/ 4392 w 3730"/>
                  <a:gd name="T65" fmla="*/ 494 h 1546"/>
                  <a:gd name="T66" fmla="*/ 4509 w 3730"/>
                  <a:gd name="T67" fmla="*/ 491 h 1546"/>
                  <a:gd name="T68" fmla="*/ 4607 w 3730"/>
                  <a:gd name="T69" fmla="*/ 485 h 1546"/>
                  <a:gd name="T70" fmla="*/ 4704 w 3730"/>
                  <a:gd name="T71" fmla="*/ 481 h 1546"/>
                  <a:gd name="T72" fmla="*/ 4816 w 3730"/>
                  <a:gd name="T73" fmla="*/ 474 h 1546"/>
                  <a:gd name="T74" fmla="*/ 4943 w 3730"/>
                  <a:gd name="T75" fmla="*/ 469 h 1546"/>
                  <a:gd name="T76" fmla="*/ 5013 w 3730"/>
                  <a:gd name="T77" fmla="*/ 466 h 1546"/>
                  <a:gd name="T78" fmla="*/ 4600 w 3730"/>
                  <a:gd name="T79" fmla="*/ 435 h 1546"/>
                  <a:gd name="T80" fmla="*/ 4515 w 3730"/>
                  <a:gd name="T81" fmla="*/ 437 h 1546"/>
                  <a:gd name="T82" fmla="*/ 4399 w 3730"/>
                  <a:gd name="T83" fmla="*/ 441 h 1546"/>
                  <a:gd name="T84" fmla="*/ 4250 w 3730"/>
                  <a:gd name="T85" fmla="*/ 444 h 1546"/>
                  <a:gd name="T86" fmla="*/ 4064 w 3730"/>
                  <a:gd name="T87" fmla="*/ 451 h 1546"/>
                  <a:gd name="T88" fmla="*/ 3862 w 3730"/>
                  <a:gd name="T89" fmla="*/ 456 h 1546"/>
                  <a:gd name="T90" fmla="*/ 3634 w 3730"/>
                  <a:gd name="T91" fmla="*/ 461 h 1546"/>
                  <a:gd name="T92" fmla="*/ 3399 w 3730"/>
                  <a:gd name="T93" fmla="*/ 466 h 1546"/>
                  <a:gd name="T94" fmla="*/ 3151 w 3730"/>
                  <a:gd name="T95" fmla="*/ 471 h 1546"/>
                  <a:gd name="T96" fmla="*/ 2893 w 3730"/>
                  <a:gd name="T97" fmla="*/ 474 h 1546"/>
                  <a:gd name="T98" fmla="*/ 2641 w 3730"/>
                  <a:gd name="T99" fmla="*/ 474 h 1546"/>
                  <a:gd name="T100" fmla="*/ 2358 w 3730"/>
                  <a:gd name="T101" fmla="*/ 474 h 1546"/>
                  <a:gd name="T102" fmla="*/ 2062 w 3730"/>
                  <a:gd name="T103" fmla="*/ 473 h 1546"/>
                  <a:gd name="T104" fmla="*/ 1759 w 3730"/>
                  <a:gd name="T105" fmla="*/ 467 h 1546"/>
                  <a:gd name="T106" fmla="*/ 1462 w 3730"/>
                  <a:gd name="T107" fmla="*/ 463 h 1546"/>
                  <a:gd name="T108" fmla="*/ 1180 w 3730"/>
                  <a:gd name="T109" fmla="*/ 457 h 1546"/>
                  <a:gd name="T110" fmla="*/ 921 w 3730"/>
                  <a:gd name="T111" fmla="*/ 451 h 1546"/>
                  <a:gd name="T112" fmla="*/ 700 w 3730"/>
                  <a:gd name="T113" fmla="*/ 443 h 1546"/>
                  <a:gd name="T114" fmla="*/ 529 w 3730"/>
                  <a:gd name="T115" fmla="*/ 440 h 1546"/>
                  <a:gd name="T116" fmla="*/ 413 w 3730"/>
                  <a:gd name="T117" fmla="*/ 435 h 1546"/>
                  <a:gd name="T118" fmla="*/ 418 w 3730"/>
                  <a:gd name="T119" fmla="*/ 31 h 1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30"/>
                  <a:gd name="T181" fmla="*/ 0 h 1546"/>
                  <a:gd name="T182" fmla="*/ 3730 w 3730"/>
                  <a:gd name="T183" fmla="*/ 1546 h 15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30" h="1546">
                    <a:moveTo>
                      <a:pt x="133" y="85"/>
                    </a:moveTo>
                    <a:lnTo>
                      <a:pt x="133" y="88"/>
                    </a:lnTo>
                    <a:lnTo>
                      <a:pt x="128" y="94"/>
                    </a:lnTo>
                    <a:lnTo>
                      <a:pt x="124" y="102"/>
                    </a:lnTo>
                    <a:lnTo>
                      <a:pt x="124" y="114"/>
                    </a:lnTo>
                    <a:lnTo>
                      <a:pt x="119" y="122"/>
                    </a:lnTo>
                    <a:lnTo>
                      <a:pt x="119" y="136"/>
                    </a:lnTo>
                    <a:lnTo>
                      <a:pt x="119" y="151"/>
                    </a:lnTo>
                    <a:lnTo>
                      <a:pt x="119" y="168"/>
                    </a:lnTo>
                    <a:lnTo>
                      <a:pt x="115" y="182"/>
                    </a:lnTo>
                    <a:lnTo>
                      <a:pt x="110" y="199"/>
                    </a:lnTo>
                    <a:lnTo>
                      <a:pt x="106" y="219"/>
                    </a:lnTo>
                    <a:lnTo>
                      <a:pt x="106" y="239"/>
                    </a:lnTo>
                    <a:lnTo>
                      <a:pt x="106" y="259"/>
                    </a:lnTo>
                    <a:lnTo>
                      <a:pt x="101" y="282"/>
                    </a:lnTo>
                    <a:lnTo>
                      <a:pt x="96" y="304"/>
                    </a:lnTo>
                    <a:lnTo>
                      <a:pt x="96" y="327"/>
                    </a:lnTo>
                    <a:lnTo>
                      <a:pt x="96" y="353"/>
                    </a:lnTo>
                    <a:lnTo>
                      <a:pt x="92" y="376"/>
                    </a:lnTo>
                    <a:lnTo>
                      <a:pt x="87" y="401"/>
                    </a:lnTo>
                    <a:lnTo>
                      <a:pt x="87" y="427"/>
                    </a:lnTo>
                    <a:lnTo>
                      <a:pt x="87" y="453"/>
                    </a:lnTo>
                    <a:lnTo>
                      <a:pt x="83" y="481"/>
                    </a:lnTo>
                    <a:lnTo>
                      <a:pt x="78" y="509"/>
                    </a:lnTo>
                    <a:lnTo>
                      <a:pt x="74" y="535"/>
                    </a:lnTo>
                    <a:lnTo>
                      <a:pt x="74" y="564"/>
                    </a:lnTo>
                    <a:lnTo>
                      <a:pt x="74" y="592"/>
                    </a:lnTo>
                    <a:lnTo>
                      <a:pt x="69" y="621"/>
                    </a:lnTo>
                    <a:lnTo>
                      <a:pt x="64" y="649"/>
                    </a:lnTo>
                    <a:lnTo>
                      <a:pt x="60" y="680"/>
                    </a:lnTo>
                    <a:lnTo>
                      <a:pt x="60" y="709"/>
                    </a:lnTo>
                    <a:lnTo>
                      <a:pt x="55" y="737"/>
                    </a:lnTo>
                    <a:lnTo>
                      <a:pt x="55" y="766"/>
                    </a:lnTo>
                    <a:lnTo>
                      <a:pt x="51" y="797"/>
                    </a:lnTo>
                    <a:lnTo>
                      <a:pt x="51" y="826"/>
                    </a:lnTo>
                    <a:lnTo>
                      <a:pt x="42" y="854"/>
                    </a:lnTo>
                    <a:lnTo>
                      <a:pt x="42" y="883"/>
                    </a:lnTo>
                    <a:lnTo>
                      <a:pt x="37" y="911"/>
                    </a:lnTo>
                    <a:lnTo>
                      <a:pt x="37" y="939"/>
                    </a:lnTo>
                    <a:lnTo>
                      <a:pt x="37" y="968"/>
                    </a:lnTo>
                    <a:lnTo>
                      <a:pt x="37" y="994"/>
                    </a:lnTo>
                    <a:lnTo>
                      <a:pt x="28" y="1019"/>
                    </a:lnTo>
                    <a:lnTo>
                      <a:pt x="28" y="1045"/>
                    </a:lnTo>
                    <a:lnTo>
                      <a:pt x="19" y="1073"/>
                    </a:lnTo>
                    <a:lnTo>
                      <a:pt x="19" y="1099"/>
                    </a:lnTo>
                    <a:lnTo>
                      <a:pt x="19" y="1122"/>
                    </a:lnTo>
                    <a:lnTo>
                      <a:pt x="19" y="1142"/>
                    </a:lnTo>
                    <a:lnTo>
                      <a:pt x="14" y="1167"/>
                    </a:lnTo>
                    <a:lnTo>
                      <a:pt x="14" y="1190"/>
                    </a:lnTo>
                    <a:lnTo>
                      <a:pt x="10" y="1210"/>
                    </a:lnTo>
                    <a:lnTo>
                      <a:pt x="10" y="1227"/>
                    </a:lnTo>
                    <a:lnTo>
                      <a:pt x="10" y="1247"/>
                    </a:lnTo>
                    <a:lnTo>
                      <a:pt x="5" y="1267"/>
                    </a:lnTo>
                    <a:lnTo>
                      <a:pt x="5" y="1281"/>
                    </a:lnTo>
                    <a:lnTo>
                      <a:pt x="0" y="1298"/>
                    </a:lnTo>
                    <a:lnTo>
                      <a:pt x="0" y="1312"/>
                    </a:lnTo>
                    <a:lnTo>
                      <a:pt x="0" y="1327"/>
                    </a:lnTo>
                    <a:lnTo>
                      <a:pt x="0" y="1338"/>
                    </a:lnTo>
                    <a:lnTo>
                      <a:pt x="0" y="1347"/>
                    </a:lnTo>
                    <a:lnTo>
                      <a:pt x="0" y="1355"/>
                    </a:lnTo>
                    <a:lnTo>
                      <a:pt x="0" y="1364"/>
                    </a:lnTo>
                    <a:lnTo>
                      <a:pt x="0" y="1372"/>
                    </a:lnTo>
                    <a:lnTo>
                      <a:pt x="0" y="1375"/>
                    </a:lnTo>
                    <a:lnTo>
                      <a:pt x="0" y="1378"/>
                    </a:lnTo>
                    <a:lnTo>
                      <a:pt x="5" y="1378"/>
                    </a:lnTo>
                    <a:lnTo>
                      <a:pt x="14" y="1378"/>
                    </a:lnTo>
                    <a:lnTo>
                      <a:pt x="28" y="1381"/>
                    </a:lnTo>
                    <a:lnTo>
                      <a:pt x="37" y="1381"/>
                    </a:lnTo>
                    <a:lnTo>
                      <a:pt x="42" y="1387"/>
                    </a:lnTo>
                    <a:lnTo>
                      <a:pt x="55" y="1387"/>
                    </a:lnTo>
                    <a:lnTo>
                      <a:pt x="64" y="1387"/>
                    </a:lnTo>
                    <a:lnTo>
                      <a:pt x="74" y="1387"/>
                    </a:lnTo>
                    <a:lnTo>
                      <a:pt x="87" y="1389"/>
                    </a:lnTo>
                    <a:lnTo>
                      <a:pt x="96" y="1392"/>
                    </a:lnTo>
                    <a:lnTo>
                      <a:pt x="115" y="1395"/>
                    </a:lnTo>
                    <a:lnTo>
                      <a:pt x="124" y="1398"/>
                    </a:lnTo>
                    <a:lnTo>
                      <a:pt x="142" y="1398"/>
                    </a:lnTo>
                    <a:lnTo>
                      <a:pt x="156" y="1398"/>
                    </a:lnTo>
                    <a:lnTo>
                      <a:pt x="174" y="1404"/>
                    </a:lnTo>
                    <a:lnTo>
                      <a:pt x="188" y="1406"/>
                    </a:lnTo>
                    <a:lnTo>
                      <a:pt x="206" y="1409"/>
                    </a:lnTo>
                    <a:lnTo>
                      <a:pt x="224" y="1409"/>
                    </a:lnTo>
                    <a:lnTo>
                      <a:pt x="243" y="1412"/>
                    </a:lnTo>
                    <a:lnTo>
                      <a:pt x="261" y="1415"/>
                    </a:lnTo>
                    <a:lnTo>
                      <a:pt x="279" y="1418"/>
                    </a:lnTo>
                    <a:lnTo>
                      <a:pt x="302" y="1421"/>
                    </a:lnTo>
                    <a:lnTo>
                      <a:pt x="325" y="1424"/>
                    </a:lnTo>
                    <a:lnTo>
                      <a:pt x="343" y="1426"/>
                    </a:lnTo>
                    <a:lnTo>
                      <a:pt x="366" y="1429"/>
                    </a:lnTo>
                    <a:lnTo>
                      <a:pt x="389" y="1432"/>
                    </a:lnTo>
                    <a:lnTo>
                      <a:pt x="416" y="1435"/>
                    </a:lnTo>
                    <a:lnTo>
                      <a:pt x="435" y="1441"/>
                    </a:lnTo>
                    <a:lnTo>
                      <a:pt x="457" y="1443"/>
                    </a:lnTo>
                    <a:lnTo>
                      <a:pt x="485" y="1443"/>
                    </a:lnTo>
                    <a:lnTo>
                      <a:pt x="508" y="1449"/>
                    </a:lnTo>
                    <a:lnTo>
                      <a:pt x="531" y="1452"/>
                    </a:lnTo>
                    <a:lnTo>
                      <a:pt x="558" y="1455"/>
                    </a:lnTo>
                    <a:lnTo>
                      <a:pt x="581" y="1458"/>
                    </a:lnTo>
                    <a:lnTo>
                      <a:pt x="608" y="1463"/>
                    </a:lnTo>
                    <a:lnTo>
                      <a:pt x="636" y="1463"/>
                    </a:lnTo>
                    <a:lnTo>
                      <a:pt x="659" y="1466"/>
                    </a:lnTo>
                    <a:lnTo>
                      <a:pt x="686" y="1469"/>
                    </a:lnTo>
                    <a:lnTo>
                      <a:pt x="713" y="1475"/>
                    </a:lnTo>
                    <a:lnTo>
                      <a:pt x="741" y="1478"/>
                    </a:lnTo>
                    <a:lnTo>
                      <a:pt x="768" y="1481"/>
                    </a:lnTo>
                    <a:lnTo>
                      <a:pt x="800" y="1486"/>
                    </a:lnTo>
                    <a:lnTo>
                      <a:pt x="828" y="1486"/>
                    </a:lnTo>
                    <a:lnTo>
                      <a:pt x="855" y="1489"/>
                    </a:lnTo>
                    <a:lnTo>
                      <a:pt x="882" y="1492"/>
                    </a:lnTo>
                    <a:lnTo>
                      <a:pt x="910" y="1495"/>
                    </a:lnTo>
                    <a:lnTo>
                      <a:pt x="937" y="1498"/>
                    </a:lnTo>
                    <a:lnTo>
                      <a:pt x="965" y="1500"/>
                    </a:lnTo>
                    <a:lnTo>
                      <a:pt x="997" y="1506"/>
                    </a:lnTo>
                    <a:lnTo>
                      <a:pt x="1020" y="1506"/>
                    </a:lnTo>
                    <a:lnTo>
                      <a:pt x="1052" y="1512"/>
                    </a:lnTo>
                    <a:lnTo>
                      <a:pt x="1079" y="1512"/>
                    </a:lnTo>
                    <a:lnTo>
                      <a:pt x="1106" y="1515"/>
                    </a:lnTo>
                    <a:lnTo>
                      <a:pt x="1138" y="1518"/>
                    </a:lnTo>
                    <a:lnTo>
                      <a:pt x="1166" y="1520"/>
                    </a:lnTo>
                    <a:lnTo>
                      <a:pt x="1193" y="1523"/>
                    </a:lnTo>
                    <a:lnTo>
                      <a:pt x="1225" y="1526"/>
                    </a:lnTo>
                    <a:lnTo>
                      <a:pt x="1253" y="1529"/>
                    </a:lnTo>
                    <a:lnTo>
                      <a:pt x="1285" y="1532"/>
                    </a:lnTo>
                    <a:lnTo>
                      <a:pt x="1308" y="1535"/>
                    </a:lnTo>
                    <a:lnTo>
                      <a:pt x="1335" y="1535"/>
                    </a:lnTo>
                    <a:lnTo>
                      <a:pt x="1362" y="1535"/>
                    </a:lnTo>
                    <a:lnTo>
                      <a:pt x="1394" y="1537"/>
                    </a:lnTo>
                    <a:lnTo>
                      <a:pt x="1422" y="1537"/>
                    </a:lnTo>
                    <a:lnTo>
                      <a:pt x="1454" y="1540"/>
                    </a:lnTo>
                    <a:lnTo>
                      <a:pt x="1486" y="1540"/>
                    </a:lnTo>
                    <a:lnTo>
                      <a:pt x="1518" y="1543"/>
                    </a:lnTo>
                    <a:lnTo>
                      <a:pt x="1545" y="1543"/>
                    </a:lnTo>
                    <a:lnTo>
                      <a:pt x="1577" y="1546"/>
                    </a:lnTo>
                    <a:lnTo>
                      <a:pt x="1609" y="1546"/>
                    </a:lnTo>
                    <a:lnTo>
                      <a:pt x="1641" y="1546"/>
                    </a:lnTo>
                    <a:lnTo>
                      <a:pt x="1673" y="1546"/>
                    </a:lnTo>
                    <a:lnTo>
                      <a:pt x="1705" y="1546"/>
                    </a:lnTo>
                    <a:lnTo>
                      <a:pt x="1742" y="1546"/>
                    </a:lnTo>
                    <a:lnTo>
                      <a:pt x="1774" y="1546"/>
                    </a:lnTo>
                    <a:lnTo>
                      <a:pt x="1806" y="1546"/>
                    </a:lnTo>
                    <a:lnTo>
                      <a:pt x="1838" y="1546"/>
                    </a:lnTo>
                    <a:lnTo>
                      <a:pt x="1865" y="1546"/>
                    </a:lnTo>
                    <a:lnTo>
                      <a:pt x="1902" y="1546"/>
                    </a:lnTo>
                    <a:lnTo>
                      <a:pt x="1929" y="1546"/>
                    </a:lnTo>
                    <a:lnTo>
                      <a:pt x="1966" y="1546"/>
                    </a:lnTo>
                    <a:lnTo>
                      <a:pt x="1998" y="1546"/>
                    </a:lnTo>
                    <a:lnTo>
                      <a:pt x="2034" y="1546"/>
                    </a:lnTo>
                    <a:lnTo>
                      <a:pt x="2066" y="1543"/>
                    </a:lnTo>
                    <a:lnTo>
                      <a:pt x="2098" y="1540"/>
                    </a:lnTo>
                    <a:lnTo>
                      <a:pt x="2130" y="1540"/>
                    </a:lnTo>
                    <a:lnTo>
                      <a:pt x="2167" y="1540"/>
                    </a:lnTo>
                    <a:lnTo>
                      <a:pt x="2199" y="1537"/>
                    </a:lnTo>
                    <a:lnTo>
                      <a:pt x="2235" y="1537"/>
                    </a:lnTo>
                    <a:lnTo>
                      <a:pt x="2263" y="1535"/>
                    </a:lnTo>
                    <a:lnTo>
                      <a:pt x="2299" y="1535"/>
                    </a:lnTo>
                    <a:lnTo>
                      <a:pt x="2327" y="1535"/>
                    </a:lnTo>
                    <a:lnTo>
                      <a:pt x="2359" y="1535"/>
                    </a:lnTo>
                    <a:lnTo>
                      <a:pt x="2391" y="1529"/>
                    </a:lnTo>
                    <a:lnTo>
                      <a:pt x="2423" y="1529"/>
                    </a:lnTo>
                    <a:lnTo>
                      <a:pt x="2455" y="1526"/>
                    </a:lnTo>
                    <a:lnTo>
                      <a:pt x="2482" y="1526"/>
                    </a:lnTo>
                    <a:lnTo>
                      <a:pt x="2514" y="1523"/>
                    </a:lnTo>
                    <a:lnTo>
                      <a:pt x="2546" y="1523"/>
                    </a:lnTo>
                    <a:lnTo>
                      <a:pt x="2573" y="1520"/>
                    </a:lnTo>
                    <a:lnTo>
                      <a:pt x="2601" y="1520"/>
                    </a:lnTo>
                    <a:lnTo>
                      <a:pt x="2633" y="1518"/>
                    </a:lnTo>
                    <a:lnTo>
                      <a:pt x="2660" y="1515"/>
                    </a:lnTo>
                    <a:lnTo>
                      <a:pt x="2688" y="1512"/>
                    </a:lnTo>
                    <a:lnTo>
                      <a:pt x="2715" y="1512"/>
                    </a:lnTo>
                    <a:lnTo>
                      <a:pt x="2743" y="1509"/>
                    </a:lnTo>
                    <a:lnTo>
                      <a:pt x="2775" y="1509"/>
                    </a:lnTo>
                    <a:lnTo>
                      <a:pt x="2797" y="1506"/>
                    </a:lnTo>
                    <a:lnTo>
                      <a:pt x="2820" y="1503"/>
                    </a:lnTo>
                    <a:lnTo>
                      <a:pt x="2848" y="1500"/>
                    </a:lnTo>
                    <a:lnTo>
                      <a:pt x="2875" y="1498"/>
                    </a:lnTo>
                    <a:lnTo>
                      <a:pt x="2893" y="1498"/>
                    </a:lnTo>
                    <a:lnTo>
                      <a:pt x="2921" y="1495"/>
                    </a:lnTo>
                    <a:lnTo>
                      <a:pt x="2944" y="1492"/>
                    </a:lnTo>
                    <a:lnTo>
                      <a:pt x="2962" y="1492"/>
                    </a:lnTo>
                    <a:lnTo>
                      <a:pt x="2989" y="1489"/>
                    </a:lnTo>
                    <a:lnTo>
                      <a:pt x="3008" y="1486"/>
                    </a:lnTo>
                    <a:lnTo>
                      <a:pt x="3026" y="1486"/>
                    </a:lnTo>
                    <a:lnTo>
                      <a:pt x="3049" y="1486"/>
                    </a:lnTo>
                    <a:lnTo>
                      <a:pt x="3067" y="1481"/>
                    </a:lnTo>
                    <a:lnTo>
                      <a:pt x="3081" y="1481"/>
                    </a:lnTo>
                    <a:lnTo>
                      <a:pt x="3099" y="1478"/>
                    </a:lnTo>
                    <a:lnTo>
                      <a:pt x="3117" y="1478"/>
                    </a:lnTo>
                    <a:lnTo>
                      <a:pt x="3131" y="1475"/>
                    </a:lnTo>
                    <a:lnTo>
                      <a:pt x="3145" y="1472"/>
                    </a:lnTo>
                    <a:lnTo>
                      <a:pt x="3163" y="1469"/>
                    </a:lnTo>
                    <a:lnTo>
                      <a:pt x="3177" y="1466"/>
                    </a:lnTo>
                    <a:lnTo>
                      <a:pt x="3190" y="1463"/>
                    </a:lnTo>
                    <a:lnTo>
                      <a:pt x="3209" y="1463"/>
                    </a:lnTo>
                    <a:lnTo>
                      <a:pt x="3222" y="1461"/>
                    </a:lnTo>
                    <a:lnTo>
                      <a:pt x="3241" y="1461"/>
                    </a:lnTo>
                    <a:lnTo>
                      <a:pt x="3254" y="1455"/>
                    </a:lnTo>
                    <a:lnTo>
                      <a:pt x="3268" y="1455"/>
                    </a:lnTo>
                    <a:lnTo>
                      <a:pt x="3282" y="1452"/>
                    </a:lnTo>
                    <a:lnTo>
                      <a:pt x="3296" y="1452"/>
                    </a:lnTo>
                    <a:lnTo>
                      <a:pt x="3309" y="1449"/>
                    </a:lnTo>
                    <a:lnTo>
                      <a:pt x="3323" y="1446"/>
                    </a:lnTo>
                    <a:lnTo>
                      <a:pt x="3341" y="1443"/>
                    </a:lnTo>
                    <a:lnTo>
                      <a:pt x="3355" y="1443"/>
                    </a:lnTo>
                    <a:lnTo>
                      <a:pt x="3364" y="1441"/>
                    </a:lnTo>
                    <a:lnTo>
                      <a:pt x="3378" y="1438"/>
                    </a:lnTo>
                    <a:lnTo>
                      <a:pt x="3391" y="1435"/>
                    </a:lnTo>
                    <a:lnTo>
                      <a:pt x="3405" y="1432"/>
                    </a:lnTo>
                    <a:lnTo>
                      <a:pt x="3419" y="1432"/>
                    </a:lnTo>
                    <a:lnTo>
                      <a:pt x="3428" y="1429"/>
                    </a:lnTo>
                    <a:lnTo>
                      <a:pt x="3442" y="1426"/>
                    </a:lnTo>
                    <a:lnTo>
                      <a:pt x="3455" y="1424"/>
                    </a:lnTo>
                    <a:lnTo>
                      <a:pt x="3465" y="1421"/>
                    </a:lnTo>
                    <a:lnTo>
                      <a:pt x="3478" y="1421"/>
                    </a:lnTo>
                    <a:lnTo>
                      <a:pt x="3492" y="1418"/>
                    </a:lnTo>
                    <a:lnTo>
                      <a:pt x="3501" y="1415"/>
                    </a:lnTo>
                    <a:lnTo>
                      <a:pt x="3515" y="1412"/>
                    </a:lnTo>
                    <a:lnTo>
                      <a:pt x="3529" y="1412"/>
                    </a:lnTo>
                    <a:lnTo>
                      <a:pt x="3538" y="1409"/>
                    </a:lnTo>
                    <a:lnTo>
                      <a:pt x="3547" y="1409"/>
                    </a:lnTo>
                    <a:lnTo>
                      <a:pt x="3565" y="1404"/>
                    </a:lnTo>
                    <a:lnTo>
                      <a:pt x="3583" y="1398"/>
                    </a:lnTo>
                    <a:lnTo>
                      <a:pt x="3602" y="1398"/>
                    </a:lnTo>
                    <a:lnTo>
                      <a:pt x="3620" y="1392"/>
                    </a:lnTo>
                    <a:lnTo>
                      <a:pt x="3634" y="1389"/>
                    </a:lnTo>
                    <a:lnTo>
                      <a:pt x="3652" y="1387"/>
                    </a:lnTo>
                    <a:lnTo>
                      <a:pt x="3666" y="1387"/>
                    </a:lnTo>
                    <a:lnTo>
                      <a:pt x="3679" y="1381"/>
                    </a:lnTo>
                    <a:lnTo>
                      <a:pt x="3689" y="1378"/>
                    </a:lnTo>
                    <a:lnTo>
                      <a:pt x="3698" y="1375"/>
                    </a:lnTo>
                    <a:lnTo>
                      <a:pt x="3707" y="1372"/>
                    </a:lnTo>
                    <a:lnTo>
                      <a:pt x="3711" y="1372"/>
                    </a:lnTo>
                    <a:lnTo>
                      <a:pt x="3725" y="1372"/>
                    </a:lnTo>
                    <a:lnTo>
                      <a:pt x="3730" y="1372"/>
                    </a:lnTo>
                    <a:lnTo>
                      <a:pt x="3538" y="0"/>
                    </a:lnTo>
                    <a:lnTo>
                      <a:pt x="3341" y="11"/>
                    </a:lnTo>
                    <a:lnTo>
                      <a:pt x="3442" y="1281"/>
                    </a:lnTo>
                    <a:lnTo>
                      <a:pt x="3433" y="1281"/>
                    </a:lnTo>
                    <a:lnTo>
                      <a:pt x="3423" y="1281"/>
                    </a:lnTo>
                    <a:lnTo>
                      <a:pt x="3410" y="1281"/>
                    </a:lnTo>
                    <a:lnTo>
                      <a:pt x="3401" y="1281"/>
                    </a:lnTo>
                    <a:lnTo>
                      <a:pt x="3391" y="1284"/>
                    </a:lnTo>
                    <a:lnTo>
                      <a:pt x="3378" y="1284"/>
                    </a:lnTo>
                    <a:lnTo>
                      <a:pt x="3369" y="1287"/>
                    </a:lnTo>
                    <a:lnTo>
                      <a:pt x="3359" y="1287"/>
                    </a:lnTo>
                    <a:lnTo>
                      <a:pt x="3346" y="1290"/>
                    </a:lnTo>
                    <a:lnTo>
                      <a:pt x="3332" y="1293"/>
                    </a:lnTo>
                    <a:lnTo>
                      <a:pt x="3323" y="1293"/>
                    </a:lnTo>
                    <a:lnTo>
                      <a:pt x="3305" y="1295"/>
                    </a:lnTo>
                    <a:lnTo>
                      <a:pt x="3291" y="1295"/>
                    </a:lnTo>
                    <a:lnTo>
                      <a:pt x="3273" y="1298"/>
                    </a:lnTo>
                    <a:lnTo>
                      <a:pt x="3254" y="1301"/>
                    </a:lnTo>
                    <a:lnTo>
                      <a:pt x="3236" y="1301"/>
                    </a:lnTo>
                    <a:lnTo>
                      <a:pt x="3218" y="1304"/>
                    </a:lnTo>
                    <a:lnTo>
                      <a:pt x="3200" y="1307"/>
                    </a:lnTo>
                    <a:lnTo>
                      <a:pt x="3181" y="1310"/>
                    </a:lnTo>
                    <a:lnTo>
                      <a:pt x="3163" y="1310"/>
                    </a:lnTo>
                    <a:lnTo>
                      <a:pt x="3140" y="1312"/>
                    </a:lnTo>
                    <a:lnTo>
                      <a:pt x="3117" y="1315"/>
                    </a:lnTo>
                    <a:lnTo>
                      <a:pt x="3099" y="1318"/>
                    </a:lnTo>
                    <a:lnTo>
                      <a:pt x="3072" y="1321"/>
                    </a:lnTo>
                    <a:lnTo>
                      <a:pt x="3049" y="1324"/>
                    </a:lnTo>
                    <a:lnTo>
                      <a:pt x="3026" y="1327"/>
                    </a:lnTo>
                    <a:lnTo>
                      <a:pt x="3003" y="1330"/>
                    </a:lnTo>
                    <a:lnTo>
                      <a:pt x="2980" y="1332"/>
                    </a:lnTo>
                    <a:lnTo>
                      <a:pt x="2953" y="1332"/>
                    </a:lnTo>
                    <a:lnTo>
                      <a:pt x="2925" y="1335"/>
                    </a:lnTo>
                    <a:lnTo>
                      <a:pt x="2898" y="1338"/>
                    </a:lnTo>
                    <a:lnTo>
                      <a:pt x="2875" y="1341"/>
                    </a:lnTo>
                    <a:lnTo>
                      <a:pt x="2848" y="1344"/>
                    </a:lnTo>
                    <a:lnTo>
                      <a:pt x="2820" y="1347"/>
                    </a:lnTo>
                    <a:lnTo>
                      <a:pt x="2793" y="1350"/>
                    </a:lnTo>
                    <a:lnTo>
                      <a:pt x="2765" y="1350"/>
                    </a:lnTo>
                    <a:lnTo>
                      <a:pt x="2733" y="1352"/>
                    </a:lnTo>
                    <a:lnTo>
                      <a:pt x="2706" y="1355"/>
                    </a:lnTo>
                    <a:lnTo>
                      <a:pt x="2679" y="1361"/>
                    </a:lnTo>
                    <a:lnTo>
                      <a:pt x="2651" y="1361"/>
                    </a:lnTo>
                    <a:lnTo>
                      <a:pt x="2619" y="1364"/>
                    </a:lnTo>
                    <a:lnTo>
                      <a:pt x="2587" y="1367"/>
                    </a:lnTo>
                    <a:lnTo>
                      <a:pt x="2560" y="1369"/>
                    </a:lnTo>
                    <a:lnTo>
                      <a:pt x="2528" y="1372"/>
                    </a:lnTo>
                    <a:lnTo>
                      <a:pt x="2500" y="1372"/>
                    </a:lnTo>
                    <a:lnTo>
                      <a:pt x="2468" y="1375"/>
                    </a:lnTo>
                    <a:lnTo>
                      <a:pt x="2436" y="1378"/>
                    </a:lnTo>
                    <a:lnTo>
                      <a:pt x="2404" y="1378"/>
                    </a:lnTo>
                    <a:lnTo>
                      <a:pt x="2377" y="1381"/>
                    </a:lnTo>
                    <a:lnTo>
                      <a:pt x="2345" y="1384"/>
                    </a:lnTo>
                    <a:lnTo>
                      <a:pt x="2313" y="1387"/>
                    </a:lnTo>
                    <a:lnTo>
                      <a:pt x="2281" y="1387"/>
                    </a:lnTo>
                    <a:lnTo>
                      <a:pt x="2254" y="1389"/>
                    </a:lnTo>
                    <a:lnTo>
                      <a:pt x="2217" y="1392"/>
                    </a:lnTo>
                    <a:lnTo>
                      <a:pt x="2190" y="1392"/>
                    </a:lnTo>
                    <a:lnTo>
                      <a:pt x="2153" y="1395"/>
                    </a:lnTo>
                    <a:lnTo>
                      <a:pt x="2126" y="1398"/>
                    </a:lnTo>
                    <a:lnTo>
                      <a:pt x="2094" y="1398"/>
                    </a:lnTo>
                    <a:lnTo>
                      <a:pt x="2066" y="1398"/>
                    </a:lnTo>
                    <a:lnTo>
                      <a:pt x="2034" y="1398"/>
                    </a:lnTo>
                    <a:lnTo>
                      <a:pt x="1998" y="1398"/>
                    </a:lnTo>
                    <a:lnTo>
                      <a:pt x="1966" y="1398"/>
                    </a:lnTo>
                    <a:lnTo>
                      <a:pt x="1929" y="1401"/>
                    </a:lnTo>
                    <a:lnTo>
                      <a:pt x="1897" y="1401"/>
                    </a:lnTo>
                    <a:lnTo>
                      <a:pt x="1860" y="1401"/>
                    </a:lnTo>
                    <a:lnTo>
                      <a:pt x="1829" y="1401"/>
                    </a:lnTo>
                    <a:lnTo>
                      <a:pt x="1792" y="1401"/>
                    </a:lnTo>
                    <a:lnTo>
                      <a:pt x="1755" y="1398"/>
                    </a:lnTo>
                    <a:lnTo>
                      <a:pt x="1723" y="1398"/>
                    </a:lnTo>
                    <a:lnTo>
                      <a:pt x="1682" y="1398"/>
                    </a:lnTo>
                    <a:lnTo>
                      <a:pt x="1646" y="1398"/>
                    </a:lnTo>
                    <a:lnTo>
                      <a:pt x="1609" y="1398"/>
                    </a:lnTo>
                    <a:lnTo>
                      <a:pt x="1573" y="1395"/>
                    </a:lnTo>
                    <a:lnTo>
                      <a:pt x="1536" y="1392"/>
                    </a:lnTo>
                    <a:lnTo>
                      <a:pt x="1499" y="1392"/>
                    </a:lnTo>
                    <a:lnTo>
                      <a:pt x="1458" y="1389"/>
                    </a:lnTo>
                    <a:lnTo>
                      <a:pt x="1422" y="1387"/>
                    </a:lnTo>
                    <a:lnTo>
                      <a:pt x="1385" y="1387"/>
                    </a:lnTo>
                    <a:lnTo>
                      <a:pt x="1344" y="1381"/>
                    </a:lnTo>
                    <a:lnTo>
                      <a:pt x="1308" y="1378"/>
                    </a:lnTo>
                    <a:lnTo>
                      <a:pt x="1271" y="1378"/>
                    </a:lnTo>
                    <a:lnTo>
                      <a:pt x="1234" y="1375"/>
                    </a:lnTo>
                    <a:lnTo>
                      <a:pt x="1198" y="1372"/>
                    </a:lnTo>
                    <a:lnTo>
                      <a:pt x="1161" y="1369"/>
                    </a:lnTo>
                    <a:lnTo>
                      <a:pt x="1125" y="1367"/>
                    </a:lnTo>
                    <a:lnTo>
                      <a:pt x="1088" y="1364"/>
                    </a:lnTo>
                    <a:lnTo>
                      <a:pt x="1052" y="1361"/>
                    </a:lnTo>
                    <a:lnTo>
                      <a:pt x="1020" y="1358"/>
                    </a:lnTo>
                    <a:lnTo>
                      <a:pt x="983" y="1355"/>
                    </a:lnTo>
                    <a:lnTo>
                      <a:pt x="946" y="1352"/>
                    </a:lnTo>
                    <a:lnTo>
                      <a:pt x="914" y="1350"/>
                    </a:lnTo>
                    <a:lnTo>
                      <a:pt x="878" y="1347"/>
                    </a:lnTo>
                    <a:lnTo>
                      <a:pt x="846" y="1344"/>
                    </a:lnTo>
                    <a:lnTo>
                      <a:pt x="809" y="1338"/>
                    </a:lnTo>
                    <a:lnTo>
                      <a:pt x="777" y="1335"/>
                    </a:lnTo>
                    <a:lnTo>
                      <a:pt x="745" y="1332"/>
                    </a:lnTo>
                    <a:lnTo>
                      <a:pt x="718" y="1330"/>
                    </a:lnTo>
                    <a:lnTo>
                      <a:pt x="686" y="1327"/>
                    </a:lnTo>
                    <a:lnTo>
                      <a:pt x="659" y="1324"/>
                    </a:lnTo>
                    <a:lnTo>
                      <a:pt x="627" y="1321"/>
                    </a:lnTo>
                    <a:lnTo>
                      <a:pt x="599" y="1315"/>
                    </a:lnTo>
                    <a:lnTo>
                      <a:pt x="576" y="1312"/>
                    </a:lnTo>
                    <a:lnTo>
                      <a:pt x="549" y="1310"/>
                    </a:lnTo>
                    <a:lnTo>
                      <a:pt x="521" y="1307"/>
                    </a:lnTo>
                    <a:lnTo>
                      <a:pt x="499" y="1304"/>
                    </a:lnTo>
                    <a:lnTo>
                      <a:pt x="476" y="1304"/>
                    </a:lnTo>
                    <a:lnTo>
                      <a:pt x="453" y="1301"/>
                    </a:lnTo>
                    <a:lnTo>
                      <a:pt x="430" y="1298"/>
                    </a:lnTo>
                    <a:lnTo>
                      <a:pt x="412" y="1295"/>
                    </a:lnTo>
                    <a:lnTo>
                      <a:pt x="393" y="1293"/>
                    </a:lnTo>
                    <a:lnTo>
                      <a:pt x="380" y="1293"/>
                    </a:lnTo>
                    <a:lnTo>
                      <a:pt x="361" y="1290"/>
                    </a:lnTo>
                    <a:lnTo>
                      <a:pt x="343" y="1287"/>
                    </a:lnTo>
                    <a:lnTo>
                      <a:pt x="330" y="1284"/>
                    </a:lnTo>
                    <a:lnTo>
                      <a:pt x="320" y="1284"/>
                    </a:lnTo>
                    <a:lnTo>
                      <a:pt x="307" y="1281"/>
                    </a:lnTo>
                    <a:lnTo>
                      <a:pt x="298" y="1281"/>
                    </a:lnTo>
                    <a:lnTo>
                      <a:pt x="288" y="1281"/>
                    </a:lnTo>
                    <a:lnTo>
                      <a:pt x="279" y="1281"/>
                    </a:lnTo>
                    <a:lnTo>
                      <a:pt x="275" y="1281"/>
                    </a:lnTo>
                    <a:lnTo>
                      <a:pt x="270" y="1281"/>
                    </a:lnTo>
                    <a:lnTo>
                      <a:pt x="311" y="91"/>
                    </a:lnTo>
                    <a:lnTo>
                      <a:pt x="133" y="85"/>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 name="Freeform 8"/>
              <p:cNvSpPr>
                <a:spLocks/>
              </p:cNvSpPr>
              <p:nvPr>
                <p:custDataLst>
                  <p:tags r:id="rId137"/>
                </p:custDataLst>
              </p:nvPr>
            </p:nvSpPr>
            <p:spPr bwMode="gray">
              <a:xfrm>
                <a:off x="2572" y="1972"/>
                <a:ext cx="800" cy="748"/>
              </a:xfrm>
              <a:custGeom>
                <a:avLst/>
                <a:gdLst>
                  <a:gd name="T0" fmla="*/ 0 w 781"/>
                  <a:gd name="T1" fmla="*/ 266 h 820"/>
                  <a:gd name="T2" fmla="*/ 0 w 781"/>
                  <a:gd name="T3" fmla="*/ 258 h 820"/>
                  <a:gd name="T4" fmla="*/ 5 w 781"/>
                  <a:gd name="T5" fmla="*/ 248 h 820"/>
                  <a:gd name="T6" fmla="*/ 5 w 781"/>
                  <a:gd name="T7" fmla="*/ 236 h 820"/>
                  <a:gd name="T8" fmla="*/ 5 w 781"/>
                  <a:gd name="T9" fmla="*/ 224 h 820"/>
                  <a:gd name="T10" fmla="*/ 5 w 781"/>
                  <a:gd name="T11" fmla="*/ 213 h 820"/>
                  <a:gd name="T12" fmla="*/ 5 w 781"/>
                  <a:gd name="T13" fmla="*/ 198 h 820"/>
                  <a:gd name="T14" fmla="*/ 9 w 781"/>
                  <a:gd name="T15" fmla="*/ 184 h 820"/>
                  <a:gd name="T16" fmla="*/ 9 w 781"/>
                  <a:gd name="T17" fmla="*/ 169 h 820"/>
                  <a:gd name="T18" fmla="*/ 9 w 781"/>
                  <a:gd name="T19" fmla="*/ 154 h 820"/>
                  <a:gd name="T20" fmla="*/ 18 w 781"/>
                  <a:gd name="T21" fmla="*/ 139 h 820"/>
                  <a:gd name="T22" fmla="*/ 18 w 781"/>
                  <a:gd name="T23" fmla="*/ 123 h 820"/>
                  <a:gd name="T24" fmla="*/ 44 w 781"/>
                  <a:gd name="T25" fmla="*/ 109 h 820"/>
                  <a:gd name="T26" fmla="*/ 49 w 781"/>
                  <a:gd name="T27" fmla="*/ 95 h 820"/>
                  <a:gd name="T28" fmla="*/ 62 w 781"/>
                  <a:gd name="T29" fmla="*/ 81 h 820"/>
                  <a:gd name="T30" fmla="*/ 88 w 781"/>
                  <a:gd name="T31" fmla="*/ 68 h 820"/>
                  <a:gd name="T32" fmla="*/ 97 w 781"/>
                  <a:gd name="T33" fmla="*/ 57 h 820"/>
                  <a:gd name="T34" fmla="*/ 121 w 781"/>
                  <a:gd name="T35" fmla="*/ 46 h 820"/>
                  <a:gd name="T36" fmla="*/ 152 w 781"/>
                  <a:gd name="T37" fmla="*/ 36 h 820"/>
                  <a:gd name="T38" fmla="*/ 182 w 781"/>
                  <a:gd name="T39" fmla="*/ 27 h 820"/>
                  <a:gd name="T40" fmla="*/ 220 w 781"/>
                  <a:gd name="T41" fmla="*/ 20 h 820"/>
                  <a:gd name="T42" fmla="*/ 273 w 781"/>
                  <a:gd name="T43" fmla="*/ 14 h 820"/>
                  <a:gd name="T44" fmla="*/ 353 w 781"/>
                  <a:gd name="T45" fmla="*/ 5 h 820"/>
                  <a:gd name="T46" fmla="*/ 389 w 781"/>
                  <a:gd name="T47" fmla="*/ 5 h 820"/>
                  <a:gd name="T48" fmla="*/ 432 w 781"/>
                  <a:gd name="T49" fmla="*/ 5 h 820"/>
                  <a:gd name="T50" fmla="*/ 489 w 781"/>
                  <a:gd name="T51" fmla="*/ 0 h 820"/>
                  <a:gd name="T52" fmla="*/ 543 w 781"/>
                  <a:gd name="T53" fmla="*/ 3 h 820"/>
                  <a:gd name="T54" fmla="*/ 591 w 781"/>
                  <a:gd name="T55" fmla="*/ 5 h 820"/>
                  <a:gd name="T56" fmla="*/ 671 w 781"/>
                  <a:gd name="T57" fmla="*/ 6 h 820"/>
                  <a:gd name="T58" fmla="*/ 738 w 781"/>
                  <a:gd name="T59" fmla="*/ 13 h 820"/>
                  <a:gd name="T60" fmla="*/ 805 w 781"/>
                  <a:gd name="T61" fmla="*/ 20 h 820"/>
                  <a:gd name="T62" fmla="*/ 873 w 781"/>
                  <a:gd name="T63" fmla="*/ 28 h 820"/>
                  <a:gd name="T64" fmla="*/ 920 w 781"/>
                  <a:gd name="T65" fmla="*/ 39 h 820"/>
                  <a:gd name="T66" fmla="*/ 958 w 781"/>
                  <a:gd name="T67" fmla="*/ 52 h 820"/>
                  <a:gd name="T68" fmla="*/ 977 w 781"/>
                  <a:gd name="T69" fmla="*/ 58 h 820"/>
                  <a:gd name="T70" fmla="*/ 986 w 781"/>
                  <a:gd name="T71" fmla="*/ 67 h 820"/>
                  <a:gd name="T72" fmla="*/ 993 w 781"/>
                  <a:gd name="T73" fmla="*/ 75 h 820"/>
                  <a:gd name="T74" fmla="*/ 1006 w 781"/>
                  <a:gd name="T75" fmla="*/ 84 h 820"/>
                  <a:gd name="T76" fmla="*/ 1011 w 781"/>
                  <a:gd name="T77" fmla="*/ 98 h 820"/>
                  <a:gd name="T78" fmla="*/ 1017 w 781"/>
                  <a:gd name="T79" fmla="*/ 109 h 820"/>
                  <a:gd name="T80" fmla="*/ 1026 w 781"/>
                  <a:gd name="T81" fmla="*/ 120 h 820"/>
                  <a:gd name="T82" fmla="*/ 1030 w 781"/>
                  <a:gd name="T83" fmla="*/ 134 h 820"/>
                  <a:gd name="T84" fmla="*/ 1036 w 781"/>
                  <a:gd name="T85" fmla="*/ 147 h 820"/>
                  <a:gd name="T86" fmla="*/ 1036 w 781"/>
                  <a:gd name="T87" fmla="*/ 161 h 820"/>
                  <a:gd name="T88" fmla="*/ 1041 w 781"/>
                  <a:gd name="T89" fmla="*/ 174 h 820"/>
                  <a:gd name="T90" fmla="*/ 1041 w 781"/>
                  <a:gd name="T91" fmla="*/ 186 h 820"/>
                  <a:gd name="T92" fmla="*/ 1041 w 781"/>
                  <a:gd name="T93" fmla="*/ 200 h 820"/>
                  <a:gd name="T94" fmla="*/ 1041 w 781"/>
                  <a:gd name="T95" fmla="*/ 212 h 820"/>
                  <a:gd name="T96" fmla="*/ 1041 w 781"/>
                  <a:gd name="T97" fmla="*/ 221 h 820"/>
                  <a:gd name="T98" fmla="*/ 1041 w 781"/>
                  <a:gd name="T99" fmla="*/ 233 h 820"/>
                  <a:gd name="T100" fmla="*/ 1041 w 781"/>
                  <a:gd name="T101" fmla="*/ 241 h 820"/>
                  <a:gd name="T102" fmla="*/ 1041 w 781"/>
                  <a:gd name="T103" fmla="*/ 248 h 820"/>
                  <a:gd name="T104" fmla="*/ 1041 w 781"/>
                  <a:gd name="T105" fmla="*/ 255 h 820"/>
                  <a:gd name="T106" fmla="*/ 1041 w 781"/>
                  <a:gd name="T107" fmla="*/ 262 h 820"/>
                  <a:gd name="T108" fmla="*/ 0 w 781"/>
                  <a:gd name="T109" fmla="*/ 272 h 8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1"/>
                  <a:gd name="T166" fmla="*/ 0 h 820"/>
                  <a:gd name="T167" fmla="*/ 781 w 781"/>
                  <a:gd name="T168" fmla="*/ 820 h 8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1" h="820">
                    <a:moveTo>
                      <a:pt x="0" y="820"/>
                    </a:moveTo>
                    <a:lnTo>
                      <a:pt x="0" y="812"/>
                    </a:lnTo>
                    <a:lnTo>
                      <a:pt x="0" y="806"/>
                    </a:lnTo>
                    <a:lnTo>
                      <a:pt x="0" y="797"/>
                    </a:lnTo>
                    <a:lnTo>
                      <a:pt x="0" y="786"/>
                    </a:lnTo>
                    <a:lnTo>
                      <a:pt x="0" y="777"/>
                    </a:lnTo>
                    <a:lnTo>
                      <a:pt x="0" y="766"/>
                    </a:lnTo>
                    <a:lnTo>
                      <a:pt x="0" y="757"/>
                    </a:lnTo>
                    <a:lnTo>
                      <a:pt x="5" y="749"/>
                    </a:lnTo>
                    <a:lnTo>
                      <a:pt x="5" y="738"/>
                    </a:lnTo>
                    <a:lnTo>
                      <a:pt x="5" y="726"/>
                    </a:lnTo>
                    <a:lnTo>
                      <a:pt x="5" y="712"/>
                    </a:lnTo>
                    <a:lnTo>
                      <a:pt x="5" y="700"/>
                    </a:lnTo>
                    <a:lnTo>
                      <a:pt x="5" y="689"/>
                    </a:lnTo>
                    <a:lnTo>
                      <a:pt x="5" y="675"/>
                    </a:lnTo>
                    <a:lnTo>
                      <a:pt x="5" y="663"/>
                    </a:lnTo>
                    <a:lnTo>
                      <a:pt x="5" y="649"/>
                    </a:lnTo>
                    <a:lnTo>
                      <a:pt x="5" y="638"/>
                    </a:lnTo>
                    <a:lnTo>
                      <a:pt x="5" y="624"/>
                    </a:lnTo>
                    <a:lnTo>
                      <a:pt x="5" y="609"/>
                    </a:lnTo>
                    <a:lnTo>
                      <a:pt x="5" y="595"/>
                    </a:lnTo>
                    <a:lnTo>
                      <a:pt x="5" y="578"/>
                    </a:lnTo>
                    <a:lnTo>
                      <a:pt x="9" y="564"/>
                    </a:lnTo>
                    <a:lnTo>
                      <a:pt x="9" y="552"/>
                    </a:lnTo>
                    <a:lnTo>
                      <a:pt x="9" y="538"/>
                    </a:lnTo>
                    <a:lnTo>
                      <a:pt x="9" y="521"/>
                    </a:lnTo>
                    <a:lnTo>
                      <a:pt x="9" y="510"/>
                    </a:lnTo>
                    <a:lnTo>
                      <a:pt x="9" y="493"/>
                    </a:lnTo>
                    <a:lnTo>
                      <a:pt x="9" y="478"/>
                    </a:lnTo>
                    <a:lnTo>
                      <a:pt x="9" y="464"/>
                    </a:lnTo>
                    <a:lnTo>
                      <a:pt x="14" y="450"/>
                    </a:lnTo>
                    <a:lnTo>
                      <a:pt x="14" y="433"/>
                    </a:lnTo>
                    <a:lnTo>
                      <a:pt x="18" y="419"/>
                    </a:lnTo>
                    <a:lnTo>
                      <a:pt x="18" y="404"/>
                    </a:lnTo>
                    <a:lnTo>
                      <a:pt x="18" y="387"/>
                    </a:lnTo>
                    <a:lnTo>
                      <a:pt x="18" y="373"/>
                    </a:lnTo>
                    <a:lnTo>
                      <a:pt x="23" y="359"/>
                    </a:lnTo>
                    <a:lnTo>
                      <a:pt x="27" y="345"/>
                    </a:lnTo>
                    <a:lnTo>
                      <a:pt x="32" y="330"/>
                    </a:lnTo>
                    <a:lnTo>
                      <a:pt x="32" y="316"/>
                    </a:lnTo>
                    <a:lnTo>
                      <a:pt x="37" y="302"/>
                    </a:lnTo>
                    <a:lnTo>
                      <a:pt x="37" y="285"/>
                    </a:lnTo>
                    <a:lnTo>
                      <a:pt x="46" y="273"/>
                    </a:lnTo>
                    <a:lnTo>
                      <a:pt x="46" y="259"/>
                    </a:lnTo>
                    <a:lnTo>
                      <a:pt x="50" y="245"/>
                    </a:lnTo>
                    <a:lnTo>
                      <a:pt x="55" y="231"/>
                    </a:lnTo>
                    <a:lnTo>
                      <a:pt x="55" y="219"/>
                    </a:lnTo>
                    <a:lnTo>
                      <a:pt x="64" y="208"/>
                    </a:lnTo>
                    <a:lnTo>
                      <a:pt x="69" y="196"/>
                    </a:lnTo>
                    <a:lnTo>
                      <a:pt x="73" y="182"/>
                    </a:lnTo>
                    <a:lnTo>
                      <a:pt x="73" y="171"/>
                    </a:lnTo>
                    <a:lnTo>
                      <a:pt x="82" y="159"/>
                    </a:lnTo>
                    <a:lnTo>
                      <a:pt x="87" y="148"/>
                    </a:lnTo>
                    <a:lnTo>
                      <a:pt x="91" y="137"/>
                    </a:lnTo>
                    <a:lnTo>
                      <a:pt x="96" y="125"/>
                    </a:lnTo>
                    <a:lnTo>
                      <a:pt x="110" y="117"/>
                    </a:lnTo>
                    <a:lnTo>
                      <a:pt x="114" y="108"/>
                    </a:lnTo>
                    <a:lnTo>
                      <a:pt x="123" y="97"/>
                    </a:lnTo>
                    <a:lnTo>
                      <a:pt x="128" y="91"/>
                    </a:lnTo>
                    <a:lnTo>
                      <a:pt x="137" y="83"/>
                    </a:lnTo>
                    <a:lnTo>
                      <a:pt x="146" y="74"/>
                    </a:lnTo>
                    <a:lnTo>
                      <a:pt x="155" y="68"/>
                    </a:lnTo>
                    <a:lnTo>
                      <a:pt x="165" y="60"/>
                    </a:lnTo>
                    <a:lnTo>
                      <a:pt x="174" y="54"/>
                    </a:lnTo>
                    <a:lnTo>
                      <a:pt x="187" y="48"/>
                    </a:lnTo>
                    <a:lnTo>
                      <a:pt x="206" y="40"/>
                    </a:lnTo>
                    <a:lnTo>
                      <a:pt x="224" y="31"/>
                    </a:lnTo>
                    <a:lnTo>
                      <a:pt x="242" y="23"/>
                    </a:lnTo>
                    <a:lnTo>
                      <a:pt x="265" y="17"/>
                    </a:lnTo>
                    <a:lnTo>
                      <a:pt x="274" y="14"/>
                    </a:lnTo>
                    <a:lnTo>
                      <a:pt x="283" y="11"/>
                    </a:lnTo>
                    <a:lnTo>
                      <a:pt x="292" y="9"/>
                    </a:lnTo>
                    <a:lnTo>
                      <a:pt x="306" y="6"/>
                    </a:lnTo>
                    <a:lnTo>
                      <a:pt x="311" y="6"/>
                    </a:lnTo>
                    <a:lnTo>
                      <a:pt x="324" y="6"/>
                    </a:lnTo>
                    <a:lnTo>
                      <a:pt x="334" y="3"/>
                    </a:lnTo>
                    <a:lnTo>
                      <a:pt x="347" y="3"/>
                    </a:lnTo>
                    <a:lnTo>
                      <a:pt x="366" y="0"/>
                    </a:lnTo>
                    <a:lnTo>
                      <a:pt x="384" y="3"/>
                    </a:lnTo>
                    <a:lnTo>
                      <a:pt x="398" y="3"/>
                    </a:lnTo>
                    <a:lnTo>
                      <a:pt x="407" y="3"/>
                    </a:lnTo>
                    <a:lnTo>
                      <a:pt x="416" y="3"/>
                    </a:lnTo>
                    <a:lnTo>
                      <a:pt x="425" y="6"/>
                    </a:lnTo>
                    <a:lnTo>
                      <a:pt x="443" y="6"/>
                    </a:lnTo>
                    <a:lnTo>
                      <a:pt x="466" y="9"/>
                    </a:lnTo>
                    <a:lnTo>
                      <a:pt x="484" y="14"/>
                    </a:lnTo>
                    <a:lnTo>
                      <a:pt x="503" y="20"/>
                    </a:lnTo>
                    <a:lnTo>
                      <a:pt x="521" y="23"/>
                    </a:lnTo>
                    <a:lnTo>
                      <a:pt x="539" y="28"/>
                    </a:lnTo>
                    <a:lnTo>
                      <a:pt x="553" y="37"/>
                    </a:lnTo>
                    <a:lnTo>
                      <a:pt x="576" y="43"/>
                    </a:lnTo>
                    <a:lnTo>
                      <a:pt x="590" y="48"/>
                    </a:lnTo>
                    <a:lnTo>
                      <a:pt x="603" y="60"/>
                    </a:lnTo>
                    <a:lnTo>
                      <a:pt x="622" y="68"/>
                    </a:lnTo>
                    <a:lnTo>
                      <a:pt x="635" y="77"/>
                    </a:lnTo>
                    <a:lnTo>
                      <a:pt x="654" y="85"/>
                    </a:lnTo>
                    <a:lnTo>
                      <a:pt x="663" y="97"/>
                    </a:lnTo>
                    <a:lnTo>
                      <a:pt x="672" y="108"/>
                    </a:lnTo>
                    <a:lnTo>
                      <a:pt x="690" y="120"/>
                    </a:lnTo>
                    <a:lnTo>
                      <a:pt x="699" y="131"/>
                    </a:lnTo>
                    <a:lnTo>
                      <a:pt x="708" y="142"/>
                    </a:lnTo>
                    <a:lnTo>
                      <a:pt x="718" y="154"/>
                    </a:lnTo>
                    <a:lnTo>
                      <a:pt x="727" y="165"/>
                    </a:lnTo>
                    <a:lnTo>
                      <a:pt x="727" y="171"/>
                    </a:lnTo>
                    <a:lnTo>
                      <a:pt x="731" y="177"/>
                    </a:lnTo>
                    <a:lnTo>
                      <a:pt x="736" y="185"/>
                    </a:lnTo>
                    <a:lnTo>
                      <a:pt x="736" y="194"/>
                    </a:lnTo>
                    <a:lnTo>
                      <a:pt x="740" y="199"/>
                    </a:lnTo>
                    <a:lnTo>
                      <a:pt x="745" y="208"/>
                    </a:lnTo>
                    <a:lnTo>
                      <a:pt x="745" y="216"/>
                    </a:lnTo>
                    <a:lnTo>
                      <a:pt x="745" y="228"/>
                    </a:lnTo>
                    <a:lnTo>
                      <a:pt x="745" y="236"/>
                    </a:lnTo>
                    <a:lnTo>
                      <a:pt x="754" y="245"/>
                    </a:lnTo>
                    <a:lnTo>
                      <a:pt x="754" y="256"/>
                    </a:lnTo>
                    <a:lnTo>
                      <a:pt x="754" y="268"/>
                    </a:lnTo>
                    <a:lnTo>
                      <a:pt x="759" y="279"/>
                    </a:lnTo>
                    <a:lnTo>
                      <a:pt x="759" y="290"/>
                    </a:lnTo>
                    <a:lnTo>
                      <a:pt x="759" y="302"/>
                    </a:lnTo>
                    <a:lnTo>
                      <a:pt x="763" y="313"/>
                    </a:lnTo>
                    <a:lnTo>
                      <a:pt x="763" y="327"/>
                    </a:lnTo>
                    <a:lnTo>
                      <a:pt x="763" y="336"/>
                    </a:lnTo>
                    <a:lnTo>
                      <a:pt x="763" y="347"/>
                    </a:lnTo>
                    <a:lnTo>
                      <a:pt x="768" y="362"/>
                    </a:lnTo>
                    <a:lnTo>
                      <a:pt x="768" y="379"/>
                    </a:lnTo>
                    <a:lnTo>
                      <a:pt x="772" y="390"/>
                    </a:lnTo>
                    <a:lnTo>
                      <a:pt x="772" y="401"/>
                    </a:lnTo>
                    <a:lnTo>
                      <a:pt x="777" y="416"/>
                    </a:lnTo>
                    <a:lnTo>
                      <a:pt x="777" y="430"/>
                    </a:lnTo>
                    <a:lnTo>
                      <a:pt x="777" y="444"/>
                    </a:lnTo>
                    <a:lnTo>
                      <a:pt x="777" y="456"/>
                    </a:lnTo>
                    <a:lnTo>
                      <a:pt x="777" y="470"/>
                    </a:lnTo>
                    <a:lnTo>
                      <a:pt x="777" y="484"/>
                    </a:lnTo>
                    <a:lnTo>
                      <a:pt x="777" y="498"/>
                    </a:lnTo>
                    <a:lnTo>
                      <a:pt x="777" y="510"/>
                    </a:lnTo>
                    <a:lnTo>
                      <a:pt x="781" y="524"/>
                    </a:lnTo>
                    <a:lnTo>
                      <a:pt x="781" y="538"/>
                    </a:lnTo>
                    <a:lnTo>
                      <a:pt x="781" y="552"/>
                    </a:lnTo>
                    <a:lnTo>
                      <a:pt x="781" y="561"/>
                    </a:lnTo>
                    <a:lnTo>
                      <a:pt x="781" y="575"/>
                    </a:lnTo>
                    <a:lnTo>
                      <a:pt x="781" y="587"/>
                    </a:lnTo>
                    <a:lnTo>
                      <a:pt x="781" y="601"/>
                    </a:lnTo>
                    <a:lnTo>
                      <a:pt x="781" y="612"/>
                    </a:lnTo>
                    <a:lnTo>
                      <a:pt x="781" y="626"/>
                    </a:lnTo>
                    <a:lnTo>
                      <a:pt x="781" y="635"/>
                    </a:lnTo>
                    <a:lnTo>
                      <a:pt x="781" y="649"/>
                    </a:lnTo>
                    <a:lnTo>
                      <a:pt x="781" y="658"/>
                    </a:lnTo>
                    <a:lnTo>
                      <a:pt x="781" y="669"/>
                    </a:lnTo>
                    <a:lnTo>
                      <a:pt x="781" y="681"/>
                    </a:lnTo>
                    <a:lnTo>
                      <a:pt x="781" y="692"/>
                    </a:lnTo>
                    <a:lnTo>
                      <a:pt x="781" y="700"/>
                    </a:lnTo>
                    <a:lnTo>
                      <a:pt x="781" y="712"/>
                    </a:lnTo>
                    <a:lnTo>
                      <a:pt x="781" y="720"/>
                    </a:lnTo>
                    <a:lnTo>
                      <a:pt x="781" y="726"/>
                    </a:lnTo>
                    <a:lnTo>
                      <a:pt x="781" y="735"/>
                    </a:lnTo>
                    <a:lnTo>
                      <a:pt x="781" y="743"/>
                    </a:lnTo>
                    <a:lnTo>
                      <a:pt x="781" y="749"/>
                    </a:lnTo>
                    <a:lnTo>
                      <a:pt x="781" y="757"/>
                    </a:lnTo>
                    <a:lnTo>
                      <a:pt x="781" y="763"/>
                    </a:lnTo>
                    <a:lnTo>
                      <a:pt x="781" y="769"/>
                    </a:lnTo>
                    <a:lnTo>
                      <a:pt x="781" y="777"/>
                    </a:lnTo>
                    <a:lnTo>
                      <a:pt x="781" y="786"/>
                    </a:lnTo>
                    <a:lnTo>
                      <a:pt x="781" y="789"/>
                    </a:lnTo>
                    <a:lnTo>
                      <a:pt x="781" y="792"/>
                    </a:lnTo>
                    <a:lnTo>
                      <a:pt x="0" y="82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 name="Freeform 9"/>
              <p:cNvSpPr>
                <a:spLocks/>
              </p:cNvSpPr>
              <p:nvPr>
                <p:custDataLst>
                  <p:tags r:id="rId138"/>
                </p:custDataLst>
              </p:nvPr>
            </p:nvSpPr>
            <p:spPr bwMode="gray">
              <a:xfrm>
                <a:off x="1134" y="2045"/>
                <a:ext cx="1339" cy="362"/>
              </a:xfrm>
              <a:custGeom>
                <a:avLst/>
                <a:gdLst>
                  <a:gd name="T0" fmla="*/ 62 w 1307"/>
                  <a:gd name="T1" fmla="*/ 5 h 396"/>
                  <a:gd name="T2" fmla="*/ 147 w 1307"/>
                  <a:gd name="T3" fmla="*/ 5 h 396"/>
                  <a:gd name="T4" fmla="*/ 232 w 1307"/>
                  <a:gd name="T5" fmla="*/ 10 h 396"/>
                  <a:gd name="T6" fmla="*/ 318 w 1307"/>
                  <a:gd name="T7" fmla="*/ 14 h 396"/>
                  <a:gd name="T8" fmla="*/ 421 w 1307"/>
                  <a:gd name="T9" fmla="*/ 15 h 396"/>
                  <a:gd name="T10" fmla="*/ 526 w 1307"/>
                  <a:gd name="T11" fmla="*/ 18 h 396"/>
                  <a:gd name="T12" fmla="*/ 630 w 1307"/>
                  <a:gd name="T13" fmla="*/ 22 h 396"/>
                  <a:gd name="T14" fmla="*/ 740 w 1307"/>
                  <a:gd name="T15" fmla="*/ 24 h 396"/>
                  <a:gd name="T16" fmla="*/ 849 w 1307"/>
                  <a:gd name="T17" fmla="*/ 26 h 396"/>
                  <a:gd name="T18" fmla="*/ 953 w 1307"/>
                  <a:gd name="T19" fmla="*/ 26 h 396"/>
                  <a:gd name="T20" fmla="*/ 1061 w 1307"/>
                  <a:gd name="T21" fmla="*/ 28 h 396"/>
                  <a:gd name="T22" fmla="*/ 1167 w 1307"/>
                  <a:gd name="T23" fmla="*/ 28 h 396"/>
                  <a:gd name="T24" fmla="*/ 1265 w 1307"/>
                  <a:gd name="T25" fmla="*/ 28 h 396"/>
                  <a:gd name="T26" fmla="*/ 1356 w 1307"/>
                  <a:gd name="T27" fmla="*/ 31 h 396"/>
                  <a:gd name="T28" fmla="*/ 1442 w 1307"/>
                  <a:gd name="T29" fmla="*/ 32 h 396"/>
                  <a:gd name="T30" fmla="*/ 1514 w 1307"/>
                  <a:gd name="T31" fmla="*/ 32 h 396"/>
                  <a:gd name="T32" fmla="*/ 1583 w 1307"/>
                  <a:gd name="T33" fmla="*/ 32 h 396"/>
                  <a:gd name="T34" fmla="*/ 1643 w 1307"/>
                  <a:gd name="T35" fmla="*/ 32 h 396"/>
                  <a:gd name="T36" fmla="*/ 1694 w 1307"/>
                  <a:gd name="T37" fmla="*/ 34 h 396"/>
                  <a:gd name="T38" fmla="*/ 1742 w 1307"/>
                  <a:gd name="T39" fmla="*/ 34 h 396"/>
                  <a:gd name="T40" fmla="*/ 1723 w 1307"/>
                  <a:gd name="T41" fmla="*/ 134 h 396"/>
                  <a:gd name="T42" fmla="*/ 1680 w 1307"/>
                  <a:gd name="T43" fmla="*/ 134 h 396"/>
                  <a:gd name="T44" fmla="*/ 1637 w 1307"/>
                  <a:gd name="T45" fmla="*/ 134 h 396"/>
                  <a:gd name="T46" fmla="*/ 1583 w 1307"/>
                  <a:gd name="T47" fmla="*/ 134 h 396"/>
                  <a:gd name="T48" fmla="*/ 1514 w 1307"/>
                  <a:gd name="T49" fmla="*/ 134 h 396"/>
                  <a:gd name="T50" fmla="*/ 1435 w 1307"/>
                  <a:gd name="T51" fmla="*/ 134 h 396"/>
                  <a:gd name="T52" fmla="*/ 1394 w 1307"/>
                  <a:gd name="T53" fmla="*/ 134 h 396"/>
                  <a:gd name="T54" fmla="*/ 1351 w 1307"/>
                  <a:gd name="T55" fmla="*/ 134 h 396"/>
                  <a:gd name="T56" fmla="*/ 1296 w 1307"/>
                  <a:gd name="T57" fmla="*/ 133 h 396"/>
                  <a:gd name="T58" fmla="*/ 1246 w 1307"/>
                  <a:gd name="T59" fmla="*/ 133 h 396"/>
                  <a:gd name="T60" fmla="*/ 1190 w 1307"/>
                  <a:gd name="T61" fmla="*/ 133 h 396"/>
                  <a:gd name="T62" fmla="*/ 1130 w 1307"/>
                  <a:gd name="T63" fmla="*/ 133 h 396"/>
                  <a:gd name="T64" fmla="*/ 1075 w 1307"/>
                  <a:gd name="T65" fmla="*/ 133 h 396"/>
                  <a:gd name="T66" fmla="*/ 1015 w 1307"/>
                  <a:gd name="T67" fmla="*/ 131 h 396"/>
                  <a:gd name="T68" fmla="*/ 948 w 1307"/>
                  <a:gd name="T69" fmla="*/ 130 h 396"/>
                  <a:gd name="T70" fmla="*/ 881 w 1307"/>
                  <a:gd name="T71" fmla="*/ 128 h 396"/>
                  <a:gd name="T72" fmla="*/ 813 w 1307"/>
                  <a:gd name="T73" fmla="*/ 126 h 396"/>
                  <a:gd name="T74" fmla="*/ 746 w 1307"/>
                  <a:gd name="T75" fmla="*/ 126 h 396"/>
                  <a:gd name="T76" fmla="*/ 677 w 1307"/>
                  <a:gd name="T77" fmla="*/ 123 h 396"/>
                  <a:gd name="T78" fmla="*/ 611 w 1307"/>
                  <a:gd name="T79" fmla="*/ 122 h 396"/>
                  <a:gd name="T80" fmla="*/ 544 w 1307"/>
                  <a:gd name="T81" fmla="*/ 122 h 396"/>
                  <a:gd name="T82" fmla="*/ 489 w 1307"/>
                  <a:gd name="T83" fmla="*/ 121 h 396"/>
                  <a:gd name="T84" fmla="*/ 421 w 1307"/>
                  <a:gd name="T85" fmla="*/ 120 h 396"/>
                  <a:gd name="T86" fmla="*/ 367 w 1307"/>
                  <a:gd name="T87" fmla="*/ 117 h 396"/>
                  <a:gd name="T88" fmla="*/ 311 w 1307"/>
                  <a:gd name="T89" fmla="*/ 116 h 396"/>
                  <a:gd name="T90" fmla="*/ 257 w 1307"/>
                  <a:gd name="T91" fmla="*/ 115 h 396"/>
                  <a:gd name="T92" fmla="*/ 214 w 1307"/>
                  <a:gd name="T93" fmla="*/ 112 h 396"/>
                  <a:gd name="T94" fmla="*/ 164 w 1307"/>
                  <a:gd name="T95" fmla="*/ 112 h 396"/>
                  <a:gd name="T96" fmla="*/ 107 w 1307"/>
                  <a:gd name="T97" fmla="*/ 112 h 396"/>
                  <a:gd name="T98" fmla="*/ 49 w 1307"/>
                  <a:gd name="T99" fmla="*/ 110 h 396"/>
                  <a:gd name="T100" fmla="*/ 5 w 1307"/>
                  <a:gd name="T101" fmla="*/ 109 h 396"/>
                  <a:gd name="T102" fmla="*/ 18 w 1307"/>
                  <a:gd name="T103" fmla="*/ 0 h 3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7"/>
                  <a:gd name="T157" fmla="*/ 0 h 396"/>
                  <a:gd name="T158" fmla="*/ 1307 w 1307"/>
                  <a:gd name="T159" fmla="*/ 396 h 3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7" h="396">
                    <a:moveTo>
                      <a:pt x="18" y="0"/>
                    </a:moveTo>
                    <a:lnTo>
                      <a:pt x="32" y="3"/>
                    </a:lnTo>
                    <a:lnTo>
                      <a:pt x="50" y="5"/>
                    </a:lnTo>
                    <a:lnTo>
                      <a:pt x="69" y="11"/>
                    </a:lnTo>
                    <a:lnTo>
                      <a:pt x="91" y="14"/>
                    </a:lnTo>
                    <a:lnTo>
                      <a:pt x="110" y="17"/>
                    </a:lnTo>
                    <a:lnTo>
                      <a:pt x="128" y="22"/>
                    </a:lnTo>
                    <a:lnTo>
                      <a:pt x="151" y="25"/>
                    </a:lnTo>
                    <a:lnTo>
                      <a:pt x="174" y="28"/>
                    </a:lnTo>
                    <a:lnTo>
                      <a:pt x="196" y="31"/>
                    </a:lnTo>
                    <a:lnTo>
                      <a:pt x="219" y="34"/>
                    </a:lnTo>
                    <a:lnTo>
                      <a:pt x="238" y="40"/>
                    </a:lnTo>
                    <a:lnTo>
                      <a:pt x="270" y="40"/>
                    </a:lnTo>
                    <a:lnTo>
                      <a:pt x="288" y="42"/>
                    </a:lnTo>
                    <a:lnTo>
                      <a:pt x="315" y="45"/>
                    </a:lnTo>
                    <a:lnTo>
                      <a:pt x="338" y="51"/>
                    </a:lnTo>
                    <a:lnTo>
                      <a:pt x="366" y="51"/>
                    </a:lnTo>
                    <a:lnTo>
                      <a:pt x="393" y="54"/>
                    </a:lnTo>
                    <a:lnTo>
                      <a:pt x="420" y="57"/>
                    </a:lnTo>
                    <a:lnTo>
                      <a:pt x="443" y="60"/>
                    </a:lnTo>
                    <a:lnTo>
                      <a:pt x="471" y="62"/>
                    </a:lnTo>
                    <a:lnTo>
                      <a:pt x="498" y="62"/>
                    </a:lnTo>
                    <a:lnTo>
                      <a:pt x="526" y="65"/>
                    </a:lnTo>
                    <a:lnTo>
                      <a:pt x="553" y="68"/>
                    </a:lnTo>
                    <a:lnTo>
                      <a:pt x="580" y="71"/>
                    </a:lnTo>
                    <a:lnTo>
                      <a:pt x="608" y="71"/>
                    </a:lnTo>
                    <a:lnTo>
                      <a:pt x="635" y="74"/>
                    </a:lnTo>
                    <a:lnTo>
                      <a:pt x="658" y="74"/>
                    </a:lnTo>
                    <a:lnTo>
                      <a:pt x="685" y="74"/>
                    </a:lnTo>
                    <a:lnTo>
                      <a:pt x="713" y="77"/>
                    </a:lnTo>
                    <a:lnTo>
                      <a:pt x="740" y="79"/>
                    </a:lnTo>
                    <a:lnTo>
                      <a:pt x="768" y="79"/>
                    </a:lnTo>
                    <a:lnTo>
                      <a:pt x="795" y="82"/>
                    </a:lnTo>
                    <a:lnTo>
                      <a:pt x="823" y="82"/>
                    </a:lnTo>
                    <a:lnTo>
                      <a:pt x="845" y="85"/>
                    </a:lnTo>
                    <a:lnTo>
                      <a:pt x="873" y="85"/>
                    </a:lnTo>
                    <a:lnTo>
                      <a:pt x="896" y="85"/>
                    </a:lnTo>
                    <a:lnTo>
                      <a:pt x="919" y="85"/>
                    </a:lnTo>
                    <a:lnTo>
                      <a:pt x="946" y="85"/>
                    </a:lnTo>
                    <a:lnTo>
                      <a:pt x="969" y="88"/>
                    </a:lnTo>
                    <a:lnTo>
                      <a:pt x="992" y="91"/>
                    </a:lnTo>
                    <a:lnTo>
                      <a:pt x="1015" y="91"/>
                    </a:lnTo>
                    <a:lnTo>
                      <a:pt x="1037" y="91"/>
                    </a:lnTo>
                    <a:lnTo>
                      <a:pt x="1056" y="91"/>
                    </a:lnTo>
                    <a:lnTo>
                      <a:pt x="1079" y="94"/>
                    </a:lnTo>
                    <a:lnTo>
                      <a:pt x="1097" y="94"/>
                    </a:lnTo>
                    <a:lnTo>
                      <a:pt x="1115" y="94"/>
                    </a:lnTo>
                    <a:lnTo>
                      <a:pt x="1133" y="94"/>
                    </a:lnTo>
                    <a:lnTo>
                      <a:pt x="1156" y="94"/>
                    </a:lnTo>
                    <a:lnTo>
                      <a:pt x="1165" y="94"/>
                    </a:lnTo>
                    <a:lnTo>
                      <a:pt x="1184" y="94"/>
                    </a:lnTo>
                    <a:lnTo>
                      <a:pt x="1202" y="94"/>
                    </a:lnTo>
                    <a:lnTo>
                      <a:pt x="1216" y="94"/>
                    </a:lnTo>
                    <a:lnTo>
                      <a:pt x="1229" y="94"/>
                    </a:lnTo>
                    <a:lnTo>
                      <a:pt x="1243" y="94"/>
                    </a:lnTo>
                    <a:lnTo>
                      <a:pt x="1252" y="94"/>
                    </a:lnTo>
                    <a:lnTo>
                      <a:pt x="1266" y="97"/>
                    </a:lnTo>
                    <a:lnTo>
                      <a:pt x="1280" y="97"/>
                    </a:lnTo>
                    <a:lnTo>
                      <a:pt x="1298" y="97"/>
                    </a:lnTo>
                    <a:lnTo>
                      <a:pt x="1302" y="97"/>
                    </a:lnTo>
                    <a:lnTo>
                      <a:pt x="1307" y="97"/>
                    </a:lnTo>
                    <a:lnTo>
                      <a:pt x="1293" y="396"/>
                    </a:lnTo>
                    <a:lnTo>
                      <a:pt x="1289" y="396"/>
                    </a:lnTo>
                    <a:lnTo>
                      <a:pt x="1284" y="396"/>
                    </a:lnTo>
                    <a:lnTo>
                      <a:pt x="1270" y="396"/>
                    </a:lnTo>
                    <a:lnTo>
                      <a:pt x="1257" y="396"/>
                    </a:lnTo>
                    <a:lnTo>
                      <a:pt x="1248" y="396"/>
                    </a:lnTo>
                    <a:lnTo>
                      <a:pt x="1234" y="396"/>
                    </a:lnTo>
                    <a:lnTo>
                      <a:pt x="1225" y="396"/>
                    </a:lnTo>
                    <a:lnTo>
                      <a:pt x="1216" y="396"/>
                    </a:lnTo>
                    <a:lnTo>
                      <a:pt x="1197" y="396"/>
                    </a:lnTo>
                    <a:lnTo>
                      <a:pt x="1184" y="396"/>
                    </a:lnTo>
                    <a:lnTo>
                      <a:pt x="1165" y="396"/>
                    </a:lnTo>
                    <a:lnTo>
                      <a:pt x="1156" y="396"/>
                    </a:lnTo>
                    <a:lnTo>
                      <a:pt x="1133" y="396"/>
                    </a:lnTo>
                    <a:lnTo>
                      <a:pt x="1115" y="396"/>
                    </a:lnTo>
                    <a:lnTo>
                      <a:pt x="1097" y="396"/>
                    </a:lnTo>
                    <a:lnTo>
                      <a:pt x="1074" y="396"/>
                    </a:lnTo>
                    <a:lnTo>
                      <a:pt x="1065" y="396"/>
                    </a:lnTo>
                    <a:lnTo>
                      <a:pt x="1056" y="396"/>
                    </a:lnTo>
                    <a:lnTo>
                      <a:pt x="1042" y="396"/>
                    </a:lnTo>
                    <a:lnTo>
                      <a:pt x="1033" y="396"/>
                    </a:lnTo>
                    <a:lnTo>
                      <a:pt x="1019" y="396"/>
                    </a:lnTo>
                    <a:lnTo>
                      <a:pt x="1010" y="396"/>
                    </a:lnTo>
                    <a:lnTo>
                      <a:pt x="996" y="396"/>
                    </a:lnTo>
                    <a:lnTo>
                      <a:pt x="987" y="396"/>
                    </a:lnTo>
                    <a:lnTo>
                      <a:pt x="969" y="393"/>
                    </a:lnTo>
                    <a:lnTo>
                      <a:pt x="960" y="393"/>
                    </a:lnTo>
                    <a:lnTo>
                      <a:pt x="946" y="393"/>
                    </a:lnTo>
                    <a:lnTo>
                      <a:pt x="932" y="393"/>
                    </a:lnTo>
                    <a:lnTo>
                      <a:pt x="919" y="390"/>
                    </a:lnTo>
                    <a:lnTo>
                      <a:pt x="905" y="390"/>
                    </a:lnTo>
                    <a:lnTo>
                      <a:pt x="891" y="387"/>
                    </a:lnTo>
                    <a:lnTo>
                      <a:pt x="877" y="387"/>
                    </a:lnTo>
                    <a:lnTo>
                      <a:pt x="864" y="387"/>
                    </a:lnTo>
                    <a:lnTo>
                      <a:pt x="845" y="387"/>
                    </a:lnTo>
                    <a:lnTo>
                      <a:pt x="836" y="387"/>
                    </a:lnTo>
                    <a:lnTo>
                      <a:pt x="823" y="387"/>
                    </a:lnTo>
                    <a:lnTo>
                      <a:pt x="804" y="387"/>
                    </a:lnTo>
                    <a:lnTo>
                      <a:pt x="786" y="387"/>
                    </a:lnTo>
                    <a:lnTo>
                      <a:pt x="772" y="384"/>
                    </a:lnTo>
                    <a:lnTo>
                      <a:pt x="759" y="384"/>
                    </a:lnTo>
                    <a:lnTo>
                      <a:pt x="740" y="381"/>
                    </a:lnTo>
                    <a:lnTo>
                      <a:pt x="722" y="381"/>
                    </a:lnTo>
                    <a:lnTo>
                      <a:pt x="708" y="381"/>
                    </a:lnTo>
                    <a:lnTo>
                      <a:pt x="695" y="378"/>
                    </a:lnTo>
                    <a:lnTo>
                      <a:pt x="676" y="376"/>
                    </a:lnTo>
                    <a:lnTo>
                      <a:pt x="658" y="376"/>
                    </a:lnTo>
                    <a:lnTo>
                      <a:pt x="640" y="376"/>
                    </a:lnTo>
                    <a:lnTo>
                      <a:pt x="622" y="376"/>
                    </a:lnTo>
                    <a:lnTo>
                      <a:pt x="608" y="370"/>
                    </a:lnTo>
                    <a:lnTo>
                      <a:pt x="590" y="370"/>
                    </a:lnTo>
                    <a:lnTo>
                      <a:pt x="571" y="370"/>
                    </a:lnTo>
                    <a:lnTo>
                      <a:pt x="558" y="370"/>
                    </a:lnTo>
                    <a:lnTo>
                      <a:pt x="539" y="367"/>
                    </a:lnTo>
                    <a:lnTo>
                      <a:pt x="526" y="367"/>
                    </a:lnTo>
                    <a:lnTo>
                      <a:pt x="507" y="364"/>
                    </a:lnTo>
                    <a:lnTo>
                      <a:pt x="489" y="364"/>
                    </a:lnTo>
                    <a:lnTo>
                      <a:pt x="475" y="361"/>
                    </a:lnTo>
                    <a:lnTo>
                      <a:pt x="457" y="359"/>
                    </a:lnTo>
                    <a:lnTo>
                      <a:pt x="439" y="359"/>
                    </a:lnTo>
                    <a:lnTo>
                      <a:pt x="425" y="359"/>
                    </a:lnTo>
                    <a:lnTo>
                      <a:pt x="407" y="356"/>
                    </a:lnTo>
                    <a:lnTo>
                      <a:pt x="393" y="356"/>
                    </a:lnTo>
                    <a:lnTo>
                      <a:pt x="379" y="353"/>
                    </a:lnTo>
                    <a:lnTo>
                      <a:pt x="366" y="353"/>
                    </a:lnTo>
                    <a:lnTo>
                      <a:pt x="347" y="353"/>
                    </a:lnTo>
                    <a:lnTo>
                      <a:pt x="334" y="350"/>
                    </a:lnTo>
                    <a:lnTo>
                      <a:pt x="315" y="350"/>
                    </a:lnTo>
                    <a:lnTo>
                      <a:pt x="302" y="347"/>
                    </a:lnTo>
                    <a:lnTo>
                      <a:pt x="288" y="344"/>
                    </a:lnTo>
                    <a:lnTo>
                      <a:pt x="274" y="344"/>
                    </a:lnTo>
                    <a:lnTo>
                      <a:pt x="256" y="341"/>
                    </a:lnTo>
                    <a:lnTo>
                      <a:pt x="247" y="341"/>
                    </a:lnTo>
                    <a:lnTo>
                      <a:pt x="233" y="341"/>
                    </a:lnTo>
                    <a:lnTo>
                      <a:pt x="219" y="339"/>
                    </a:lnTo>
                    <a:lnTo>
                      <a:pt x="201" y="339"/>
                    </a:lnTo>
                    <a:lnTo>
                      <a:pt x="192" y="339"/>
                    </a:lnTo>
                    <a:lnTo>
                      <a:pt x="183" y="336"/>
                    </a:lnTo>
                    <a:lnTo>
                      <a:pt x="169" y="336"/>
                    </a:lnTo>
                    <a:lnTo>
                      <a:pt x="160" y="333"/>
                    </a:lnTo>
                    <a:lnTo>
                      <a:pt x="146" y="333"/>
                    </a:lnTo>
                    <a:lnTo>
                      <a:pt x="133" y="330"/>
                    </a:lnTo>
                    <a:lnTo>
                      <a:pt x="123" y="330"/>
                    </a:lnTo>
                    <a:lnTo>
                      <a:pt x="114" y="327"/>
                    </a:lnTo>
                    <a:lnTo>
                      <a:pt x="101" y="327"/>
                    </a:lnTo>
                    <a:lnTo>
                      <a:pt x="82" y="327"/>
                    </a:lnTo>
                    <a:lnTo>
                      <a:pt x="69" y="324"/>
                    </a:lnTo>
                    <a:lnTo>
                      <a:pt x="50" y="321"/>
                    </a:lnTo>
                    <a:lnTo>
                      <a:pt x="37" y="321"/>
                    </a:lnTo>
                    <a:lnTo>
                      <a:pt x="23" y="319"/>
                    </a:lnTo>
                    <a:lnTo>
                      <a:pt x="18" y="319"/>
                    </a:lnTo>
                    <a:lnTo>
                      <a:pt x="5" y="319"/>
                    </a:lnTo>
                    <a:lnTo>
                      <a:pt x="0" y="319"/>
                    </a:lnTo>
                    <a:lnTo>
                      <a:pt x="1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7" name="Freeform 10"/>
              <p:cNvSpPr>
                <a:spLocks/>
              </p:cNvSpPr>
              <p:nvPr>
                <p:custDataLst>
                  <p:tags r:id="rId139"/>
                </p:custDataLst>
              </p:nvPr>
            </p:nvSpPr>
            <p:spPr bwMode="gray">
              <a:xfrm>
                <a:off x="3527" y="2060"/>
                <a:ext cx="1022" cy="403"/>
              </a:xfrm>
              <a:custGeom>
                <a:avLst/>
                <a:gdLst>
                  <a:gd name="T0" fmla="*/ 58 w 997"/>
                  <a:gd name="T1" fmla="*/ 20 h 441"/>
                  <a:gd name="T2" fmla="*/ 148 w 997"/>
                  <a:gd name="T3" fmla="*/ 20 h 441"/>
                  <a:gd name="T4" fmla="*/ 241 w 997"/>
                  <a:gd name="T5" fmla="*/ 20 h 441"/>
                  <a:gd name="T6" fmla="*/ 327 w 997"/>
                  <a:gd name="T7" fmla="*/ 18 h 441"/>
                  <a:gd name="T8" fmla="*/ 414 w 997"/>
                  <a:gd name="T9" fmla="*/ 17 h 441"/>
                  <a:gd name="T10" fmla="*/ 492 w 997"/>
                  <a:gd name="T11" fmla="*/ 16 h 441"/>
                  <a:gd name="T12" fmla="*/ 579 w 997"/>
                  <a:gd name="T13" fmla="*/ 15 h 441"/>
                  <a:gd name="T14" fmla="*/ 652 w 997"/>
                  <a:gd name="T15" fmla="*/ 15 h 441"/>
                  <a:gd name="T16" fmla="*/ 732 w 997"/>
                  <a:gd name="T17" fmla="*/ 13 h 441"/>
                  <a:gd name="T18" fmla="*/ 806 w 997"/>
                  <a:gd name="T19" fmla="*/ 12 h 441"/>
                  <a:gd name="T20" fmla="*/ 873 w 997"/>
                  <a:gd name="T21" fmla="*/ 11 h 441"/>
                  <a:gd name="T22" fmla="*/ 935 w 997"/>
                  <a:gd name="T23" fmla="*/ 9 h 441"/>
                  <a:gd name="T24" fmla="*/ 989 w 997"/>
                  <a:gd name="T25" fmla="*/ 8 h 441"/>
                  <a:gd name="T26" fmla="*/ 1045 w 997"/>
                  <a:gd name="T27" fmla="*/ 5 h 441"/>
                  <a:gd name="T28" fmla="*/ 1096 w 997"/>
                  <a:gd name="T29" fmla="*/ 5 h 441"/>
                  <a:gd name="T30" fmla="*/ 1139 w 997"/>
                  <a:gd name="T31" fmla="*/ 5 h 441"/>
                  <a:gd name="T32" fmla="*/ 1193 w 997"/>
                  <a:gd name="T33" fmla="*/ 5 h 441"/>
                  <a:gd name="T34" fmla="*/ 1249 w 997"/>
                  <a:gd name="T35" fmla="*/ 0 h 441"/>
                  <a:gd name="T36" fmla="*/ 1256 w 997"/>
                  <a:gd name="T37" fmla="*/ 5 h 441"/>
                  <a:gd name="T38" fmla="*/ 1268 w 997"/>
                  <a:gd name="T39" fmla="*/ 12 h 441"/>
                  <a:gd name="T40" fmla="*/ 1274 w 997"/>
                  <a:gd name="T41" fmla="*/ 16 h 441"/>
                  <a:gd name="T42" fmla="*/ 1280 w 997"/>
                  <a:gd name="T43" fmla="*/ 24 h 441"/>
                  <a:gd name="T44" fmla="*/ 1293 w 997"/>
                  <a:gd name="T45" fmla="*/ 31 h 441"/>
                  <a:gd name="T46" fmla="*/ 1298 w 997"/>
                  <a:gd name="T47" fmla="*/ 37 h 441"/>
                  <a:gd name="T48" fmla="*/ 1298 w 997"/>
                  <a:gd name="T49" fmla="*/ 46 h 441"/>
                  <a:gd name="T50" fmla="*/ 1311 w 997"/>
                  <a:gd name="T51" fmla="*/ 54 h 441"/>
                  <a:gd name="T52" fmla="*/ 1316 w 997"/>
                  <a:gd name="T53" fmla="*/ 64 h 441"/>
                  <a:gd name="T54" fmla="*/ 1324 w 997"/>
                  <a:gd name="T55" fmla="*/ 70 h 441"/>
                  <a:gd name="T56" fmla="*/ 1328 w 997"/>
                  <a:gd name="T57" fmla="*/ 80 h 441"/>
                  <a:gd name="T58" fmla="*/ 1342 w 997"/>
                  <a:gd name="T59" fmla="*/ 88 h 441"/>
                  <a:gd name="T60" fmla="*/ 1342 w 997"/>
                  <a:gd name="T61" fmla="*/ 95 h 441"/>
                  <a:gd name="T62" fmla="*/ 1342 w 997"/>
                  <a:gd name="T63" fmla="*/ 101 h 441"/>
                  <a:gd name="T64" fmla="*/ 1342 w 997"/>
                  <a:gd name="T65" fmla="*/ 111 h 441"/>
                  <a:gd name="T66" fmla="*/ 1336 w 997"/>
                  <a:gd name="T67" fmla="*/ 119 h 441"/>
                  <a:gd name="T68" fmla="*/ 1316 w 997"/>
                  <a:gd name="T69" fmla="*/ 121 h 441"/>
                  <a:gd name="T70" fmla="*/ 1256 w 997"/>
                  <a:gd name="T71" fmla="*/ 121 h 441"/>
                  <a:gd name="T72" fmla="*/ 1214 w 997"/>
                  <a:gd name="T73" fmla="*/ 122 h 441"/>
                  <a:gd name="T74" fmla="*/ 1163 w 997"/>
                  <a:gd name="T75" fmla="*/ 122 h 441"/>
                  <a:gd name="T76" fmla="*/ 1102 w 997"/>
                  <a:gd name="T77" fmla="*/ 123 h 441"/>
                  <a:gd name="T78" fmla="*/ 1039 w 997"/>
                  <a:gd name="T79" fmla="*/ 125 h 441"/>
                  <a:gd name="T80" fmla="*/ 974 w 997"/>
                  <a:gd name="T81" fmla="*/ 127 h 441"/>
                  <a:gd name="T82" fmla="*/ 899 w 997"/>
                  <a:gd name="T83" fmla="*/ 129 h 441"/>
                  <a:gd name="T84" fmla="*/ 819 w 997"/>
                  <a:gd name="T85" fmla="*/ 132 h 441"/>
                  <a:gd name="T86" fmla="*/ 739 w 997"/>
                  <a:gd name="T87" fmla="*/ 133 h 441"/>
                  <a:gd name="T88" fmla="*/ 652 w 997"/>
                  <a:gd name="T89" fmla="*/ 135 h 441"/>
                  <a:gd name="T90" fmla="*/ 579 w 997"/>
                  <a:gd name="T91" fmla="*/ 137 h 441"/>
                  <a:gd name="T92" fmla="*/ 492 w 997"/>
                  <a:gd name="T93" fmla="*/ 140 h 441"/>
                  <a:gd name="T94" fmla="*/ 419 w 997"/>
                  <a:gd name="T95" fmla="*/ 141 h 441"/>
                  <a:gd name="T96" fmla="*/ 344 w 997"/>
                  <a:gd name="T97" fmla="*/ 143 h 441"/>
                  <a:gd name="T98" fmla="*/ 277 w 997"/>
                  <a:gd name="T99" fmla="*/ 144 h 441"/>
                  <a:gd name="T100" fmla="*/ 210 w 997"/>
                  <a:gd name="T101" fmla="*/ 145 h 441"/>
                  <a:gd name="T102" fmla="*/ 160 w 997"/>
                  <a:gd name="T103" fmla="*/ 146 h 441"/>
                  <a:gd name="T104" fmla="*/ 103 w 997"/>
                  <a:gd name="T105" fmla="*/ 148 h 441"/>
                  <a:gd name="T106" fmla="*/ 44 w 997"/>
                  <a:gd name="T107" fmla="*/ 150 h 4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97"/>
                  <a:gd name="T163" fmla="*/ 0 h 441"/>
                  <a:gd name="T164" fmla="*/ 997 w 997"/>
                  <a:gd name="T165" fmla="*/ 441 h 4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97" h="441">
                    <a:moveTo>
                      <a:pt x="0" y="57"/>
                    </a:moveTo>
                    <a:lnTo>
                      <a:pt x="23" y="57"/>
                    </a:lnTo>
                    <a:lnTo>
                      <a:pt x="46" y="57"/>
                    </a:lnTo>
                    <a:lnTo>
                      <a:pt x="69" y="57"/>
                    </a:lnTo>
                    <a:lnTo>
                      <a:pt x="87" y="57"/>
                    </a:lnTo>
                    <a:lnTo>
                      <a:pt x="110" y="57"/>
                    </a:lnTo>
                    <a:lnTo>
                      <a:pt x="137" y="57"/>
                    </a:lnTo>
                    <a:lnTo>
                      <a:pt x="156" y="57"/>
                    </a:lnTo>
                    <a:lnTo>
                      <a:pt x="179" y="57"/>
                    </a:lnTo>
                    <a:lnTo>
                      <a:pt x="201" y="57"/>
                    </a:lnTo>
                    <a:lnTo>
                      <a:pt x="224" y="54"/>
                    </a:lnTo>
                    <a:lnTo>
                      <a:pt x="243" y="54"/>
                    </a:lnTo>
                    <a:lnTo>
                      <a:pt x="265" y="54"/>
                    </a:lnTo>
                    <a:lnTo>
                      <a:pt x="288" y="51"/>
                    </a:lnTo>
                    <a:lnTo>
                      <a:pt x="307" y="51"/>
                    </a:lnTo>
                    <a:lnTo>
                      <a:pt x="325" y="51"/>
                    </a:lnTo>
                    <a:lnTo>
                      <a:pt x="348" y="51"/>
                    </a:lnTo>
                    <a:lnTo>
                      <a:pt x="366" y="48"/>
                    </a:lnTo>
                    <a:lnTo>
                      <a:pt x="389" y="48"/>
                    </a:lnTo>
                    <a:lnTo>
                      <a:pt x="412" y="45"/>
                    </a:lnTo>
                    <a:lnTo>
                      <a:pt x="430" y="45"/>
                    </a:lnTo>
                    <a:lnTo>
                      <a:pt x="448" y="45"/>
                    </a:lnTo>
                    <a:lnTo>
                      <a:pt x="466" y="45"/>
                    </a:lnTo>
                    <a:lnTo>
                      <a:pt x="485" y="43"/>
                    </a:lnTo>
                    <a:lnTo>
                      <a:pt x="508" y="43"/>
                    </a:lnTo>
                    <a:lnTo>
                      <a:pt x="521" y="40"/>
                    </a:lnTo>
                    <a:lnTo>
                      <a:pt x="544" y="37"/>
                    </a:lnTo>
                    <a:lnTo>
                      <a:pt x="562" y="37"/>
                    </a:lnTo>
                    <a:lnTo>
                      <a:pt x="581" y="34"/>
                    </a:lnTo>
                    <a:lnTo>
                      <a:pt x="599" y="34"/>
                    </a:lnTo>
                    <a:lnTo>
                      <a:pt x="613" y="34"/>
                    </a:lnTo>
                    <a:lnTo>
                      <a:pt x="631" y="31"/>
                    </a:lnTo>
                    <a:lnTo>
                      <a:pt x="649" y="31"/>
                    </a:lnTo>
                    <a:lnTo>
                      <a:pt x="668" y="28"/>
                    </a:lnTo>
                    <a:lnTo>
                      <a:pt x="677" y="28"/>
                    </a:lnTo>
                    <a:lnTo>
                      <a:pt x="695" y="25"/>
                    </a:lnTo>
                    <a:lnTo>
                      <a:pt x="709" y="23"/>
                    </a:lnTo>
                    <a:lnTo>
                      <a:pt x="722" y="23"/>
                    </a:lnTo>
                    <a:lnTo>
                      <a:pt x="736" y="23"/>
                    </a:lnTo>
                    <a:lnTo>
                      <a:pt x="750" y="20"/>
                    </a:lnTo>
                    <a:lnTo>
                      <a:pt x="768" y="20"/>
                    </a:lnTo>
                    <a:lnTo>
                      <a:pt x="777" y="17"/>
                    </a:lnTo>
                    <a:lnTo>
                      <a:pt x="791" y="14"/>
                    </a:lnTo>
                    <a:lnTo>
                      <a:pt x="800" y="14"/>
                    </a:lnTo>
                    <a:lnTo>
                      <a:pt x="814" y="14"/>
                    </a:lnTo>
                    <a:lnTo>
                      <a:pt x="823" y="11"/>
                    </a:lnTo>
                    <a:lnTo>
                      <a:pt x="832" y="11"/>
                    </a:lnTo>
                    <a:lnTo>
                      <a:pt x="846" y="11"/>
                    </a:lnTo>
                    <a:lnTo>
                      <a:pt x="855" y="11"/>
                    </a:lnTo>
                    <a:lnTo>
                      <a:pt x="869" y="8"/>
                    </a:lnTo>
                    <a:lnTo>
                      <a:pt x="887" y="5"/>
                    </a:lnTo>
                    <a:lnTo>
                      <a:pt x="901" y="3"/>
                    </a:lnTo>
                    <a:lnTo>
                      <a:pt x="910" y="3"/>
                    </a:lnTo>
                    <a:lnTo>
                      <a:pt x="928" y="0"/>
                    </a:lnTo>
                    <a:lnTo>
                      <a:pt x="933" y="0"/>
                    </a:lnTo>
                    <a:lnTo>
                      <a:pt x="933" y="5"/>
                    </a:lnTo>
                    <a:lnTo>
                      <a:pt x="933" y="8"/>
                    </a:lnTo>
                    <a:lnTo>
                      <a:pt x="937" y="14"/>
                    </a:lnTo>
                    <a:lnTo>
                      <a:pt x="937" y="23"/>
                    </a:lnTo>
                    <a:lnTo>
                      <a:pt x="942" y="34"/>
                    </a:lnTo>
                    <a:lnTo>
                      <a:pt x="942" y="37"/>
                    </a:lnTo>
                    <a:lnTo>
                      <a:pt x="942" y="43"/>
                    </a:lnTo>
                    <a:lnTo>
                      <a:pt x="946" y="48"/>
                    </a:lnTo>
                    <a:lnTo>
                      <a:pt x="946" y="57"/>
                    </a:lnTo>
                    <a:lnTo>
                      <a:pt x="946" y="62"/>
                    </a:lnTo>
                    <a:lnTo>
                      <a:pt x="951" y="68"/>
                    </a:lnTo>
                    <a:lnTo>
                      <a:pt x="951" y="77"/>
                    </a:lnTo>
                    <a:lnTo>
                      <a:pt x="955" y="82"/>
                    </a:lnTo>
                    <a:lnTo>
                      <a:pt x="960" y="91"/>
                    </a:lnTo>
                    <a:lnTo>
                      <a:pt x="960" y="97"/>
                    </a:lnTo>
                    <a:lnTo>
                      <a:pt x="960" y="105"/>
                    </a:lnTo>
                    <a:lnTo>
                      <a:pt x="965" y="111"/>
                    </a:lnTo>
                    <a:lnTo>
                      <a:pt x="965" y="119"/>
                    </a:lnTo>
                    <a:lnTo>
                      <a:pt x="965" y="128"/>
                    </a:lnTo>
                    <a:lnTo>
                      <a:pt x="965" y="136"/>
                    </a:lnTo>
                    <a:lnTo>
                      <a:pt x="969" y="145"/>
                    </a:lnTo>
                    <a:lnTo>
                      <a:pt x="969" y="154"/>
                    </a:lnTo>
                    <a:lnTo>
                      <a:pt x="974" y="162"/>
                    </a:lnTo>
                    <a:lnTo>
                      <a:pt x="978" y="171"/>
                    </a:lnTo>
                    <a:lnTo>
                      <a:pt x="978" y="179"/>
                    </a:lnTo>
                    <a:lnTo>
                      <a:pt x="978" y="188"/>
                    </a:lnTo>
                    <a:lnTo>
                      <a:pt x="978" y="196"/>
                    </a:lnTo>
                    <a:lnTo>
                      <a:pt x="983" y="202"/>
                    </a:lnTo>
                    <a:lnTo>
                      <a:pt x="983" y="211"/>
                    </a:lnTo>
                    <a:lnTo>
                      <a:pt x="983" y="219"/>
                    </a:lnTo>
                    <a:lnTo>
                      <a:pt x="987" y="228"/>
                    </a:lnTo>
                    <a:lnTo>
                      <a:pt x="987" y="236"/>
                    </a:lnTo>
                    <a:lnTo>
                      <a:pt x="992" y="245"/>
                    </a:lnTo>
                    <a:lnTo>
                      <a:pt x="992" y="250"/>
                    </a:lnTo>
                    <a:lnTo>
                      <a:pt x="997" y="259"/>
                    </a:lnTo>
                    <a:lnTo>
                      <a:pt x="997" y="265"/>
                    </a:lnTo>
                    <a:lnTo>
                      <a:pt x="997" y="273"/>
                    </a:lnTo>
                    <a:lnTo>
                      <a:pt x="997" y="282"/>
                    </a:lnTo>
                    <a:lnTo>
                      <a:pt x="997" y="287"/>
                    </a:lnTo>
                    <a:lnTo>
                      <a:pt x="997" y="293"/>
                    </a:lnTo>
                    <a:lnTo>
                      <a:pt x="997" y="302"/>
                    </a:lnTo>
                    <a:lnTo>
                      <a:pt x="997" y="310"/>
                    </a:lnTo>
                    <a:lnTo>
                      <a:pt x="997" y="322"/>
                    </a:lnTo>
                    <a:lnTo>
                      <a:pt x="997" y="330"/>
                    </a:lnTo>
                    <a:lnTo>
                      <a:pt x="997" y="339"/>
                    </a:lnTo>
                    <a:lnTo>
                      <a:pt x="997" y="344"/>
                    </a:lnTo>
                    <a:lnTo>
                      <a:pt x="992" y="350"/>
                    </a:lnTo>
                    <a:lnTo>
                      <a:pt x="987" y="353"/>
                    </a:lnTo>
                    <a:lnTo>
                      <a:pt x="978" y="353"/>
                    </a:lnTo>
                    <a:lnTo>
                      <a:pt x="965" y="353"/>
                    </a:lnTo>
                    <a:lnTo>
                      <a:pt x="951" y="353"/>
                    </a:lnTo>
                    <a:lnTo>
                      <a:pt x="933" y="356"/>
                    </a:lnTo>
                    <a:lnTo>
                      <a:pt x="923" y="356"/>
                    </a:lnTo>
                    <a:lnTo>
                      <a:pt x="910" y="356"/>
                    </a:lnTo>
                    <a:lnTo>
                      <a:pt x="901" y="359"/>
                    </a:lnTo>
                    <a:lnTo>
                      <a:pt x="891" y="359"/>
                    </a:lnTo>
                    <a:lnTo>
                      <a:pt x="878" y="359"/>
                    </a:lnTo>
                    <a:lnTo>
                      <a:pt x="864" y="361"/>
                    </a:lnTo>
                    <a:lnTo>
                      <a:pt x="850" y="361"/>
                    </a:lnTo>
                    <a:lnTo>
                      <a:pt x="837" y="364"/>
                    </a:lnTo>
                    <a:lnTo>
                      <a:pt x="818" y="364"/>
                    </a:lnTo>
                    <a:lnTo>
                      <a:pt x="805" y="367"/>
                    </a:lnTo>
                    <a:lnTo>
                      <a:pt x="791" y="367"/>
                    </a:lnTo>
                    <a:lnTo>
                      <a:pt x="773" y="370"/>
                    </a:lnTo>
                    <a:lnTo>
                      <a:pt x="754" y="370"/>
                    </a:lnTo>
                    <a:lnTo>
                      <a:pt x="736" y="373"/>
                    </a:lnTo>
                    <a:lnTo>
                      <a:pt x="722" y="376"/>
                    </a:lnTo>
                    <a:lnTo>
                      <a:pt x="704" y="379"/>
                    </a:lnTo>
                    <a:lnTo>
                      <a:pt x="681" y="379"/>
                    </a:lnTo>
                    <a:lnTo>
                      <a:pt x="668" y="379"/>
                    </a:lnTo>
                    <a:lnTo>
                      <a:pt x="645" y="381"/>
                    </a:lnTo>
                    <a:lnTo>
                      <a:pt x="626" y="384"/>
                    </a:lnTo>
                    <a:lnTo>
                      <a:pt x="608" y="387"/>
                    </a:lnTo>
                    <a:lnTo>
                      <a:pt x="590" y="390"/>
                    </a:lnTo>
                    <a:lnTo>
                      <a:pt x="567" y="390"/>
                    </a:lnTo>
                    <a:lnTo>
                      <a:pt x="549" y="393"/>
                    </a:lnTo>
                    <a:lnTo>
                      <a:pt x="526" y="396"/>
                    </a:lnTo>
                    <a:lnTo>
                      <a:pt x="508" y="398"/>
                    </a:lnTo>
                    <a:lnTo>
                      <a:pt x="485" y="398"/>
                    </a:lnTo>
                    <a:lnTo>
                      <a:pt x="466" y="401"/>
                    </a:lnTo>
                    <a:lnTo>
                      <a:pt x="448" y="401"/>
                    </a:lnTo>
                    <a:lnTo>
                      <a:pt x="430" y="404"/>
                    </a:lnTo>
                    <a:lnTo>
                      <a:pt x="412" y="407"/>
                    </a:lnTo>
                    <a:lnTo>
                      <a:pt x="389" y="410"/>
                    </a:lnTo>
                    <a:lnTo>
                      <a:pt x="366" y="413"/>
                    </a:lnTo>
                    <a:lnTo>
                      <a:pt x="348" y="413"/>
                    </a:lnTo>
                    <a:lnTo>
                      <a:pt x="329" y="413"/>
                    </a:lnTo>
                    <a:lnTo>
                      <a:pt x="311" y="416"/>
                    </a:lnTo>
                    <a:lnTo>
                      <a:pt x="293" y="418"/>
                    </a:lnTo>
                    <a:lnTo>
                      <a:pt x="275" y="418"/>
                    </a:lnTo>
                    <a:lnTo>
                      <a:pt x="256" y="421"/>
                    </a:lnTo>
                    <a:lnTo>
                      <a:pt x="243" y="424"/>
                    </a:lnTo>
                    <a:lnTo>
                      <a:pt x="224" y="424"/>
                    </a:lnTo>
                    <a:lnTo>
                      <a:pt x="206" y="424"/>
                    </a:lnTo>
                    <a:lnTo>
                      <a:pt x="188" y="427"/>
                    </a:lnTo>
                    <a:lnTo>
                      <a:pt x="174" y="430"/>
                    </a:lnTo>
                    <a:lnTo>
                      <a:pt x="156" y="430"/>
                    </a:lnTo>
                    <a:lnTo>
                      <a:pt x="142" y="433"/>
                    </a:lnTo>
                    <a:lnTo>
                      <a:pt x="128" y="433"/>
                    </a:lnTo>
                    <a:lnTo>
                      <a:pt x="119" y="433"/>
                    </a:lnTo>
                    <a:lnTo>
                      <a:pt x="101" y="433"/>
                    </a:lnTo>
                    <a:lnTo>
                      <a:pt x="87" y="435"/>
                    </a:lnTo>
                    <a:lnTo>
                      <a:pt x="78" y="435"/>
                    </a:lnTo>
                    <a:lnTo>
                      <a:pt x="69" y="435"/>
                    </a:lnTo>
                    <a:lnTo>
                      <a:pt x="46" y="438"/>
                    </a:lnTo>
                    <a:lnTo>
                      <a:pt x="32" y="441"/>
                    </a:lnTo>
                    <a:lnTo>
                      <a:pt x="0" y="5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8" name="Freeform 11"/>
              <p:cNvSpPr>
                <a:spLocks/>
              </p:cNvSpPr>
              <p:nvPr>
                <p:custDataLst>
                  <p:tags r:id="rId140"/>
                </p:custDataLst>
              </p:nvPr>
            </p:nvSpPr>
            <p:spPr bwMode="gray">
              <a:xfrm>
                <a:off x="1134" y="1621"/>
                <a:ext cx="3424" cy="421"/>
              </a:xfrm>
              <a:custGeom>
                <a:avLst/>
                <a:gdLst>
                  <a:gd name="T0" fmla="*/ 0 w 3341"/>
                  <a:gd name="T1" fmla="*/ 22 h 461"/>
                  <a:gd name="T2" fmla="*/ 9 w 3341"/>
                  <a:gd name="T3" fmla="*/ 38 h 461"/>
                  <a:gd name="T4" fmla="*/ 14 w 3341"/>
                  <a:gd name="T5" fmla="*/ 57 h 461"/>
                  <a:gd name="T6" fmla="*/ 18 w 3341"/>
                  <a:gd name="T7" fmla="*/ 76 h 461"/>
                  <a:gd name="T8" fmla="*/ 18 w 3341"/>
                  <a:gd name="T9" fmla="*/ 92 h 461"/>
                  <a:gd name="T10" fmla="*/ 35 w 3341"/>
                  <a:gd name="T11" fmla="*/ 111 h 461"/>
                  <a:gd name="T12" fmla="*/ 35 w 3341"/>
                  <a:gd name="T13" fmla="*/ 130 h 461"/>
                  <a:gd name="T14" fmla="*/ 102 w 3341"/>
                  <a:gd name="T15" fmla="*/ 131 h 461"/>
                  <a:gd name="T16" fmla="*/ 247 w 3341"/>
                  <a:gd name="T17" fmla="*/ 134 h 461"/>
                  <a:gd name="T18" fmla="*/ 435 w 3341"/>
                  <a:gd name="T19" fmla="*/ 137 h 461"/>
                  <a:gd name="T20" fmla="*/ 664 w 3341"/>
                  <a:gd name="T21" fmla="*/ 142 h 461"/>
                  <a:gd name="T22" fmla="*/ 896 w 3341"/>
                  <a:gd name="T23" fmla="*/ 145 h 461"/>
                  <a:gd name="T24" fmla="*/ 1122 w 3341"/>
                  <a:gd name="T25" fmla="*/ 149 h 461"/>
                  <a:gd name="T26" fmla="*/ 1325 w 3341"/>
                  <a:gd name="T27" fmla="*/ 150 h 461"/>
                  <a:gd name="T28" fmla="*/ 1484 w 3341"/>
                  <a:gd name="T29" fmla="*/ 152 h 461"/>
                  <a:gd name="T30" fmla="*/ 1583 w 3341"/>
                  <a:gd name="T31" fmla="*/ 152 h 461"/>
                  <a:gd name="T32" fmla="*/ 1681 w 3341"/>
                  <a:gd name="T33" fmla="*/ 152 h 461"/>
                  <a:gd name="T34" fmla="*/ 1801 w 3341"/>
                  <a:gd name="T35" fmla="*/ 153 h 461"/>
                  <a:gd name="T36" fmla="*/ 1832 w 3341"/>
                  <a:gd name="T37" fmla="*/ 142 h 461"/>
                  <a:gd name="T38" fmla="*/ 1925 w 3341"/>
                  <a:gd name="T39" fmla="*/ 125 h 461"/>
                  <a:gd name="T40" fmla="*/ 2072 w 3341"/>
                  <a:gd name="T41" fmla="*/ 111 h 461"/>
                  <a:gd name="T42" fmla="*/ 2183 w 3341"/>
                  <a:gd name="T43" fmla="*/ 102 h 461"/>
                  <a:gd name="T44" fmla="*/ 2302 w 3341"/>
                  <a:gd name="T45" fmla="*/ 97 h 461"/>
                  <a:gd name="T46" fmla="*/ 2404 w 3341"/>
                  <a:gd name="T47" fmla="*/ 94 h 461"/>
                  <a:gd name="T48" fmla="*/ 2551 w 3341"/>
                  <a:gd name="T49" fmla="*/ 94 h 461"/>
                  <a:gd name="T50" fmla="*/ 2705 w 3341"/>
                  <a:gd name="T51" fmla="*/ 101 h 461"/>
                  <a:gd name="T52" fmla="*/ 2823 w 3341"/>
                  <a:gd name="T53" fmla="*/ 111 h 461"/>
                  <a:gd name="T54" fmla="*/ 2957 w 3341"/>
                  <a:gd name="T55" fmla="*/ 128 h 461"/>
                  <a:gd name="T56" fmla="*/ 3060 w 3341"/>
                  <a:gd name="T57" fmla="*/ 148 h 461"/>
                  <a:gd name="T58" fmla="*/ 3119 w 3341"/>
                  <a:gd name="T59" fmla="*/ 156 h 461"/>
                  <a:gd name="T60" fmla="*/ 3247 w 3341"/>
                  <a:gd name="T61" fmla="*/ 152 h 461"/>
                  <a:gd name="T62" fmla="*/ 3417 w 3341"/>
                  <a:gd name="T63" fmla="*/ 150 h 461"/>
                  <a:gd name="T64" fmla="*/ 3622 w 3341"/>
                  <a:gd name="T65" fmla="*/ 145 h 461"/>
                  <a:gd name="T66" fmla="*/ 3833 w 3341"/>
                  <a:gd name="T67" fmla="*/ 142 h 461"/>
                  <a:gd name="T68" fmla="*/ 4056 w 3341"/>
                  <a:gd name="T69" fmla="*/ 138 h 461"/>
                  <a:gd name="T70" fmla="*/ 4247 w 3341"/>
                  <a:gd name="T71" fmla="*/ 136 h 461"/>
                  <a:gd name="T72" fmla="*/ 4390 w 3341"/>
                  <a:gd name="T73" fmla="*/ 134 h 461"/>
                  <a:gd name="T74" fmla="*/ 4442 w 3341"/>
                  <a:gd name="T75" fmla="*/ 0 h 461"/>
                  <a:gd name="T76" fmla="*/ 4330 w 3341"/>
                  <a:gd name="T77" fmla="*/ 5 h 461"/>
                  <a:gd name="T78" fmla="*/ 4171 w 3341"/>
                  <a:gd name="T79" fmla="*/ 6 h 461"/>
                  <a:gd name="T80" fmla="*/ 3938 w 3341"/>
                  <a:gd name="T81" fmla="*/ 13 h 461"/>
                  <a:gd name="T82" fmla="*/ 3671 w 3341"/>
                  <a:gd name="T83" fmla="*/ 20 h 461"/>
                  <a:gd name="T84" fmla="*/ 3337 w 3341"/>
                  <a:gd name="T85" fmla="*/ 26 h 461"/>
                  <a:gd name="T86" fmla="*/ 2982 w 3341"/>
                  <a:gd name="T87" fmla="*/ 32 h 461"/>
                  <a:gd name="T88" fmla="*/ 2594 w 3341"/>
                  <a:gd name="T89" fmla="*/ 36 h 461"/>
                  <a:gd name="T90" fmla="*/ 2203 w 3341"/>
                  <a:gd name="T91" fmla="*/ 39 h 461"/>
                  <a:gd name="T92" fmla="*/ 1806 w 3341"/>
                  <a:gd name="T93" fmla="*/ 39 h 461"/>
                  <a:gd name="T94" fmla="*/ 1436 w 3341"/>
                  <a:gd name="T95" fmla="*/ 37 h 461"/>
                  <a:gd name="T96" fmla="*/ 1104 w 3341"/>
                  <a:gd name="T97" fmla="*/ 33 h 461"/>
                  <a:gd name="T98" fmla="*/ 815 w 3341"/>
                  <a:gd name="T99" fmla="*/ 28 h 461"/>
                  <a:gd name="T100" fmla="*/ 564 w 3341"/>
                  <a:gd name="T101" fmla="*/ 23 h 461"/>
                  <a:gd name="T102" fmla="*/ 348 w 3341"/>
                  <a:gd name="T103" fmla="*/ 17 h 461"/>
                  <a:gd name="T104" fmla="*/ 192 w 3341"/>
                  <a:gd name="T105" fmla="*/ 12 h 461"/>
                  <a:gd name="T106" fmla="*/ 73 w 3341"/>
                  <a:gd name="T107" fmla="*/ 7 h 4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41"/>
                  <a:gd name="T163" fmla="*/ 0 h 461"/>
                  <a:gd name="T164" fmla="*/ 3341 w 3341"/>
                  <a:gd name="T165" fmla="*/ 461 h 4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41" h="461">
                    <a:moveTo>
                      <a:pt x="0" y="14"/>
                    </a:moveTo>
                    <a:lnTo>
                      <a:pt x="0" y="22"/>
                    </a:lnTo>
                    <a:lnTo>
                      <a:pt x="0" y="31"/>
                    </a:lnTo>
                    <a:lnTo>
                      <a:pt x="0" y="42"/>
                    </a:lnTo>
                    <a:lnTo>
                      <a:pt x="0" y="54"/>
                    </a:lnTo>
                    <a:lnTo>
                      <a:pt x="0" y="57"/>
                    </a:lnTo>
                    <a:lnTo>
                      <a:pt x="0" y="65"/>
                    </a:lnTo>
                    <a:lnTo>
                      <a:pt x="0" y="71"/>
                    </a:lnTo>
                    <a:lnTo>
                      <a:pt x="5" y="76"/>
                    </a:lnTo>
                    <a:lnTo>
                      <a:pt x="5" y="82"/>
                    </a:lnTo>
                    <a:lnTo>
                      <a:pt x="5" y="88"/>
                    </a:lnTo>
                    <a:lnTo>
                      <a:pt x="5" y="96"/>
                    </a:lnTo>
                    <a:lnTo>
                      <a:pt x="9" y="105"/>
                    </a:lnTo>
                    <a:lnTo>
                      <a:pt x="9" y="113"/>
                    </a:lnTo>
                    <a:lnTo>
                      <a:pt x="9" y="119"/>
                    </a:lnTo>
                    <a:lnTo>
                      <a:pt x="9" y="128"/>
                    </a:lnTo>
                    <a:lnTo>
                      <a:pt x="14" y="136"/>
                    </a:lnTo>
                    <a:lnTo>
                      <a:pt x="14" y="142"/>
                    </a:lnTo>
                    <a:lnTo>
                      <a:pt x="14" y="153"/>
                    </a:lnTo>
                    <a:lnTo>
                      <a:pt x="14" y="159"/>
                    </a:lnTo>
                    <a:lnTo>
                      <a:pt x="14" y="168"/>
                    </a:lnTo>
                    <a:lnTo>
                      <a:pt x="14" y="173"/>
                    </a:lnTo>
                    <a:lnTo>
                      <a:pt x="14" y="182"/>
                    </a:lnTo>
                    <a:lnTo>
                      <a:pt x="14" y="190"/>
                    </a:lnTo>
                    <a:lnTo>
                      <a:pt x="18" y="199"/>
                    </a:lnTo>
                    <a:lnTo>
                      <a:pt x="18" y="205"/>
                    </a:lnTo>
                    <a:lnTo>
                      <a:pt x="18" y="216"/>
                    </a:lnTo>
                    <a:lnTo>
                      <a:pt x="18" y="225"/>
                    </a:lnTo>
                    <a:lnTo>
                      <a:pt x="18" y="230"/>
                    </a:lnTo>
                    <a:lnTo>
                      <a:pt x="18" y="239"/>
                    </a:lnTo>
                    <a:lnTo>
                      <a:pt x="18" y="244"/>
                    </a:lnTo>
                    <a:lnTo>
                      <a:pt x="18" y="253"/>
                    </a:lnTo>
                    <a:lnTo>
                      <a:pt x="18" y="262"/>
                    </a:lnTo>
                    <a:lnTo>
                      <a:pt x="18" y="267"/>
                    </a:lnTo>
                    <a:lnTo>
                      <a:pt x="18" y="273"/>
                    </a:lnTo>
                    <a:lnTo>
                      <a:pt x="18" y="281"/>
                    </a:lnTo>
                    <a:lnTo>
                      <a:pt x="23" y="290"/>
                    </a:lnTo>
                    <a:lnTo>
                      <a:pt x="23" y="296"/>
                    </a:lnTo>
                    <a:lnTo>
                      <a:pt x="23" y="304"/>
                    </a:lnTo>
                    <a:lnTo>
                      <a:pt x="23" y="310"/>
                    </a:lnTo>
                    <a:lnTo>
                      <a:pt x="23" y="316"/>
                    </a:lnTo>
                    <a:lnTo>
                      <a:pt x="23" y="327"/>
                    </a:lnTo>
                    <a:lnTo>
                      <a:pt x="23" y="341"/>
                    </a:lnTo>
                    <a:lnTo>
                      <a:pt x="23" y="350"/>
                    </a:lnTo>
                    <a:lnTo>
                      <a:pt x="23" y="361"/>
                    </a:lnTo>
                    <a:lnTo>
                      <a:pt x="23" y="367"/>
                    </a:lnTo>
                    <a:lnTo>
                      <a:pt x="23" y="375"/>
                    </a:lnTo>
                    <a:lnTo>
                      <a:pt x="23" y="381"/>
                    </a:lnTo>
                    <a:lnTo>
                      <a:pt x="23" y="387"/>
                    </a:lnTo>
                    <a:lnTo>
                      <a:pt x="23" y="390"/>
                    </a:lnTo>
                    <a:lnTo>
                      <a:pt x="27" y="390"/>
                    </a:lnTo>
                    <a:lnTo>
                      <a:pt x="37" y="390"/>
                    </a:lnTo>
                    <a:lnTo>
                      <a:pt x="50" y="390"/>
                    </a:lnTo>
                    <a:lnTo>
                      <a:pt x="69" y="390"/>
                    </a:lnTo>
                    <a:lnTo>
                      <a:pt x="78" y="390"/>
                    </a:lnTo>
                    <a:lnTo>
                      <a:pt x="91" y="390"/>
                    </a:lnTo>
                    <a:lnTo>
                      <a:pt x="101" y="393"/>
                    </a:lnTo>
                    <a:lnTo>
                      <a:pt x="114" y="393"/>
                    </a:lnTo>
                    <a:lnTo>
                      <a:pt x="133" y="395"/>
                    </a:lnTo>
                    <a:lnTo>
                      <a:pt x="146" y="398"/>
                    </a:lnTo>
                    <a:lnTo>
                      <a:pt x="164" y="398"/>
                    </a:lnTo>
                    <a:lnTo>
                      <a:pt x="183" y="398"/>
                    </a:lnTo>
                    <a:lnTo>
                      <a:pt x="201" y="398"/>
                    </a:lnTo>
                    <a:lnTo>
                      <a:pt x="219" y="401"/>
                    </a:lnTo>
                    <a:lnTo>
                      <a:pt x="238" y="401"/>
                    </a:lnTo>
                    <a:lnTo>
                      <a:pt x="260" y="404"/>
                    </a:lnTo>
                    <a:lnTo>
                      <a:pt x="279" y="404"/>
                    </a:lnTo>
                    <a:lnTo>
                      <a:pt x="306" y="407"/>
                    </a:lnTo>
                    <a:lnTo>
                      <a:pt x="324" y="410"/>
                    </a:lnTo>
                    <a:lnTo>
                      <a:pt x="352" y="410"/>
                    </a:lnTo>
                    <a:lnTo>
                      <a:pt x="375" y="412"/>
                    </a:lnTo>
                    <a:lnTo>
                      <a:pt x="398" y="412"/>
                    </a:lnTo>
                    <a:lnTo>
                      <a:pt x="420" y="415"/>
                    </a:lnTo>
                    <a:lnTo>
                      <a:pt x="443" y="418"/>
                    </a:lnTo>
                    <a:lnTo>
                      <a:pt x="466" y="421"/>
                    </a:lnTo>
                    <a:lnTo>
                      <a:pt x="494" y="421"/>
                    </a:lnTo>
                    <a:lnTo>
                      <a:pt x="521" y="421"/>
                    </a:lnTo>
                    <a:lnTo>
                      <a:pt x="544" y="424"/>
                    </a:lnTo>
                    <a:lnTo>
                      <a:pt x="567" y="424"/>
                    </a:lnTo>
                    <a:lnTo>
                      <a:pt x="594" y="427"/>
                    </a:lnTo>
                    <a:lnTo>
                      <a:pt x="617" y="427"/>
                    </a:lnTo>
                    <a:lnTo>
                      <a:pt x="644" y="432"/>
                    </a:lnTo>
                    <a:lnTo>
                      <a:pt x="667" y="432"/>
                    </a:lnTo>
                    <a:lnTo>
                      <a:pt x="695" y="432"/>
                    </a:lnTo>
                    <a:lnTo>
                      <a:pt x="717" y="432"/>
                    </a:lnTo>
                    <a:lnTo>
                      <a:pt x="745" y="435"/>
                    </a:lnTo>
                    <a:lnTo>
                      <a:pt x="768" y="435"/>
                    </a:lnTo>
                    <a:lnTo>
                      <a:pt x="791" y="438"/>
                    </a:lnTo>
                    <a:lnTo>
                      <a:pt x="813" y="438"/>
                    </a:lnTo>
                    <a:lnTo>
                      <a:pt x="836" y="441"/>
                    </a:lnTo>
                    <a:lnTo>
                      <a:pt x="859" y="441"/>
                    </a:lnTo>
                    <a:lnTo>
                      <a:pt x="882" y="444"/>
                    </a:lnTo>
                    <a:lnTo>
                      <a:pt x="905" y="444"/>
                    </a:lnTo>
                    <a:lnTo>
                      <a:pt x="928" y="444"/>
                    </a:lnTo>
                    <a:lnTo>
                      <a:pt x="946" y="444"/>
                    </a:lnTo>
                    <a:lnTo>
                      <a:pt x="969" y="444"/>
                    </a:lnTo>
                    <a:lnTo>
                      <a:pt x="987" y="444"/>
                    </a:lnTo>
                    <a:lnTo>
                      <a:pt x="1005" y="447"/>
                    </a:lnTo>
                    <a:lnTo>
                      <a:pt x="1024" y="447"/>
                    </a:lnTo>
                    <a:lnTo>
                      <a:pt x="1042" y="449"/>
                    </a:lnTo>
                    <a:lnTo>
                      <a:pt x="1060" y="449"/>
                    </a:lnTo>
                    <a:lnTo>
                      <a:pt x="1074" y="452"/>
                    </a:lnTo>
                    <a:lnTo>
                      <a:pt x="1092" y="452"/>
                    </a:lnTo>
                    <a:lnTo>
                      <a:pt x="1106" y="452"/>
                    </a:lnTo>
                    <a:lnTo>
                      <a:pt x="1115" y="452"/>
                    </a:lnTo>
                    <a:lnTo>
                      <a:pt x="1129" y="452"/>
                    </a:lnTo>
                    <a:lnTo>
                      <a:pt x="1138" y="452"/>
                    </a:lnTo>
                    <a:lnTo>
                      <a:pt x="1147" y="452"/>
                    </a:lnTo>
                    <a:lnTo>
                      <a:pt x="1156" y="452"/>
                    </a:lnTo>
                    <a:lnTo>
                      <a:pt x="1165" y="452"/>
                    </a:lnTo>
                    <a:lnTo>
                      <a:pt x="1179" y="452"/>
                    </a:lnTo>
                    <a:lnTo>
                      <a:pt x="1188" y="452"/>
                    </a:lnTo>
                    <a:lnTo>
                      <a:pt x="1202" y="452"/>
                    </a:lnTo>
                    <a:lnTo>
                      <a:pt x="1211" y="452"/>
                    </a:lnTo>
                    <a:lnTo>
                      <a:pt x="1220" y="452"/>
                    </a:lnTo>
                    <a:lnTo>
                      <a:pt x="1234" y="452"/>
                    </a:lnTo>
                    <a:lnTo>
                      <a:pt x="1238" y="452"/>
                    </a:lnTo>
                    <a:lnTo>
                      <a:pt x="1252" y="452"/>
                    </a:lnTo>
                    <a:lnTo>
                      <a:pt x="1266" y="452"/>
                    </a:lnTo>
                    <a:lnTo>
                      <a:pt x="1280" y="452"/>
                    </a:lnTo>
                    <a:lnTo>
                      <a:pt x="1289" y="452"/>
                    </a:lnTo>
                    <a:lnTo>
                      <a:pt x="1302" y="452"/>
                    </a:lnTo>
                    <a:lnTo>
                      <a:pt x="1321" y="455"/>
                    </a:lnTo>
                    <a:lnTo>
                      <a:pt x="1334" y="455"/>
                    </a:lnTo>
                    <a:lnTo>
                      <a:pt x="1339" y="455"/>
                    </a:lnTo>
                    <a:lnTo>
                      <a:pt x="1344" y="458"/>
                    </a:lnTo>
                    <a:lnTo>
                      <a:pt x="1344" y="455"/>
                    </a:lnTo>
                    <a:lnTo>
                      <a:pt x="1344" y="452"/>
                    </a:lnTo>
                    <a:lnTo>
                      <a:pt x="1348" y="449"/>
                    </a:lnTo>
                    <a:lnTo>
                      <a:pt x="1353" y="444"/>
                    </a:lnTo>
                    <a:lnTo>
                      <a:pt x="1353" y="432"/>
                    </a:lnTo>
                    <a:lnTo>
                      <a:pt x="1366" y="424"/>
                    </a:lnTo>
                    <a:lnTo>
                      <a:pt x="1371" y="415"/>
                    </a:lnTo>
                    <a:lnTo>
                      <a:pt x="1389" y="404"/>
                    </a:lnTo>
                    <a:lnTo>
                      <a:pt x="1394" y="398"/>
                    </a:lnTo>
                    <a:lnTo>
                      <a:pt x="1403" y="393"/>
                    </a:lnTo>
                    <a:lnTo>
                      <a:pt x="1412" y="387"/>
                    </a:lnTo>
                    <a:lnTo>
                      <a:pt x="1421" y="381"/>
                    </a:lnTo>
                    <a:lnTo>
                      <a:pt x="1435" y="375"/>
                    </a:lnTo>
                    <a:lnTo>
                      <a:pt x="1449" y="367"/>
                    </a:lnTo>
                    <a:lnTo>
                      <a:pt x="1458" y="361"/>
                    </a:lnTo>
                    <a:lnTo>
                      <a:pt x="1476" y="356"/>
                    </a:lnTo>
                    <a:lnTo>
                      <a:pt x="1490" y="350"/>
                    </a:lnTo>
                    <a:lnTo>
                      <a:pt x="1508" y="341"/>
                    </a:lnTo>
                    <a:lnTo>
                      <a:pt x="1526" y="336"/>
                    </a:lnTo>
                    <a:lnTo>
                      <a:pt x="1545" y="327"/>
                    </a:lnTo>
                    <a:lnTo>
                      <a:pt x="1554" y="324"/>
                    </a:lnTo>
                    <a:lnTo>
                      <a:pt x="1568" y="321"/>
                    </a:lnTo>
                    <a:lnTo>
                      <a:pt x="1577" y="318"/>
                    </a:lnTo>
                    <a:lnTo>
                      <a:pt x="1590" y="316"/>
                    </a:lnTo>
                    <a:lnTo>
                      <a:pt x="1600" y="313"/>
                    </a:lnTo>
                    <a:lnTo>
                      <a:pt x="1613" y="310"/>
                    </a:lnTo>
                    <a:lnTo>
                      <a:pt x="1627" y="304"/>
                    </a:lnTo>
                    <a:lnTo>
                      <a:pt x="1641" y="304"/>
                    </a:lnTo>
                    <a:lnTo>
                      <a:pt x="1650" y="301"/>
                    </a:lnTo>
                    <a:lnTo>
                      <a:pt x="1663" y="296"/>
                    </a:lnTo>
                    <a:lnTo>
                      <a:pt x="1677" y="293"/>
                    </a:lnTo>
                    <a:lnTo>
                      <a:pt x="1686" y="293"/>
                    </a:lnTo>
                    <a:lnTo>
                      <a:pt x="1700" y="290"/>
                    </a:lnTo>
                    <a:lnTo>
                      <a:pt x="1714" y="287"/>
                    </a:lnTo>
                    <a:lnTo>
                      <a:pt x="1723" y="284"/>
                    </a:lnTo>
                    <a:lnTo>
                      <a:pt x="1732" y="284"/>
                    </a:lnTo>
                    <a:lnTo>
                      <a:pt x="1746" y="284"/>
                    </a:lnTo>
                    <a:lnTo>
                      <a:pt x="1755" y="281"/>
                    </a:lnTo>
                    <a:lnTo>
                      <a:pt x="1769" y="279"/>
                    </a:lnTo>
                    <a:lnTo>
                      <a:pt x="1782" y="279"/>
                    </a:lnTo>
                    <a:lnTo>
                      <a:pt x="1791" y="279"/>
                    </a:lnTo>
                    <a:lnTo>
                      <a:pt x="1801" y="279"/>
                    </a:lnTo>
                    <a:lnTo>
                      <a:pt x="1814" y="279"/>
                    </a:lnTo>
                    <a:lnTo>
                      <a:pt x="1823" y="279"/>
                    </a:lnTo>
                    <a:lnTo>
                      <a:pt x="1842" y="279"/>
                    </a:lnTo>
                    <a:lnTo>
                      <a:pt x="1860" y="279"/>
                    </a:lnTo>
                    <a:lnTo>
                      <a:pt x="1878" y="279"/>
                    </a:lnTo>
                    <a:lnTo>
                      <a:pt x="1901" y="281"/>
                    </a:lnTo>
                    <a:lnTo>
                      <a:pt x="1915" y="281"/>
                    </a:lnTo>
                    <a:lnTo>
                      <a:pt x="1933" y="284"/>
                    </a:lnTo>
                    <a:lnTo>
                      <a:pt x="1951" y="284"/>
                    </a:lnTo>
                    <a:lnTo>
                      <a:pt x="1970" y="290"/>
                    </a:lnTo>
                    <a:lnTo>
                      <a:pt x="1988" y="293"/>
                    </a:lnTo>
                    <a:lnTo>
                      <a:pt x="2002" y="296"/>
                    </a:lnTo>
                    <a:lnTo>
                      <a:pt x="2015" y="301"/>
                    </a:lnTo>
                    <a:lnTo>
                      <a:pt x="2034" y="304"/>
                    </a:lnTo>
                    <a:lnTo>
                      <a:pt x="2043" y="307"/>
                    </a:lnTo>
                    <a:lnTo>
                      <a:pt x="2057" y="313"/>
                    </a:lnTo>
                    <a:lnTo>
                      <a:pt x="2070" y="316"/>
                    </a:lnTo>
                    <a:lnTo>
                      <a:pt x="2084" y="321"/>
                    </a:lnTo>
                    <a:lnTo>
                      <a:pt x="2093" y="324"/>
                    </a:lnTo>
                    <a:lnTo>
                      <a:pt x="2102" y="330"/>
                    </a:lnTo>
                    <a:lnTo>
                      <a:pt x="2111" y="336"/>
                    </a:lnTo>
                    <a:lnTo>
                      <a:pt x="2125" y="338"/>
                    </a:lnTo>
                    <a:lnTo>
                      <a:pt x="2148" y="347"/>
                    </a:lnTo>
                    <a:lnTo>
                      <a:pt x="2162" y="356"/>
                    </a:lnTo>
                    <a:lnTo>
                      <a:pt x="2180" y="364"/>
                    </a:lnTo>
                    <a:lnTo>
                      <a:pt x="2189" y="373"/>
                    </a:lnTo>
                    <a:lnTo>
                      <a:pt x="2203" y="378"/>
                    </a:lnTo>
                    <a:lnTo>
                      <a:pt x="2216" y="390"/>
                    </a:lnTo>
                    <a:lnTo>
                      <a:pt x="2230" y="398"/>
                    </a:lnTo>
                    <a:lnTo>
                      <a:pt x="2239" y="404"/>
                    </a:lnTo>
                    <a:lnTo>
                      <a:pt x="2253" y="412"/>
                    </a:lnTo>
                    <a:lnTo>
                      <a:pt x="2262" y="424"/>
                    </a:lnTo>
                    <a:lnTo>
                      <a:pt x="2271" y="432"/>
                    </a:lnTo>
                    <a:lnTo>
                      <a:pt x="2280" y="438"/>
                    </a:lnTo>
                    <a:lnTo>
                      <a:pt x="2285" y="444"/>
                    </a:lnTo>
                    <a:lnTo>
                      <a:pt x="2290" y="449"/>
                    </a:lnTo>
                    <a:lnTo>
                      <a:pt x="2299" y="458"/>
                    </a:lnTo>
                    <a:lnTo>
                      <a:pt x="2299" y="461"/>
                    </a:lnTo>
                    <a:lnTo>
                      <a:pt x="2303" y="461"/>
                    </a:lnTo>
                    <a:lnTo>
                      <a:pt x="2312" y="461"/>
                    </a:lnTo>
                    <a:lnTo>
                      <a:pt x="2322" y="461"/>
                    </a:lnTo>
                    <a:lnTo>
                      <a:pt x="2340" y="458"/>
                    </a:lnTo>
                    <a:lnTo>
                      <a:pt x="2349" y="455"/>
                    </a:lnTo>
                    <a:lnTo>
                      <a:pt x="2363" y="455"/>
                    </a:lnTo>
                    <a:lnTo>
                      <a:pt x="2372" y="455"/>
                    </a:lnTo>
                    <a:lnTo>
                      <a:pt x="2386" y="455"/>
                    </a:lnTo>
                    <a:lnTo>
                      <a:pt x="2404" y="452"/>
                    </a:lnTo>
                    <a:lnTo>
                      <a:pt x="2418" y="452"/>
                    </a:lnTo>
                    <a:lnTo>
                      <a:pt x="2436" y="452"/>
                    </a:lnTo>
                    <a:lnTo>
                      <a:pt x="2454" y="452"/>
                    </a:lnTo>
                    <a:lnTo>
                      <a:pt x="2472" y="449"/>
                    </a:lnTo>
                    <a:lnTo>
                      <a:pt x="2486" y="447"/>
                    </a:lnTo>
                    <a:lnTo>
                      <a:pt x="2504" y="444"/>
                    </a:lnTo>
                    <a:lnTo>
                      <a:pt x="2523" y="444"/>
                    </a:lnTo>
                    <a:lnTo>
                      <a:pt x="2546" y="444"/>
                    </a:lnTo>
                    <a:lnTo>
                      <a:pt x="2564" y="444"/>
                    </a:lnTo>
                    <a:lnTo>
                      <a:pt x="2587" y="441"/>
                    </a:lnTo>
                    <a:lnTo>
                      <a:pt x="2610" y="441"/>
                    </a:lnTo>
                    <a:lnTo>
                      <a:pt x="2628" y="438"/>
                    </a:lnTo>
                    <a:lnTo>
                      <a:pt x="2651" y="438"/>
                    </a:lnTo>
                    <a:lnTo>
                      <a:pt x="2678" y="432"/>
                    </a:lnTo>
                    <a:lnTo>
                      <a:pt x="2696" y="432"/>
                    </a:lnTo>
                    <a:lnTo>
                      <a:pt x="2719" y="432"/>
                    </a:lnTo>
                    <a:lnTo>
                      <a:pt x="2747" y="432"/>
                    </a:lnTo>
                    <a:lnTo>
                      <a:pt x="2765" y="430"/>
                    </a:lnTo>
                    <a:lnTo>
                      <a:pt x="2792" y="430"/>
                    </a:lnTo>
                    <a:lnTo>
                      <a:pt x="2815" y="427"/>
                    </a:lnTo>
                    <a:lnTo>
                      <a:pt x="2838" y="424"/>
                    </a:lnTo>
                    <a:lnTo>
                      <a:pt x="2856" y="424"/>
                    </a:lnTo>
                    <a:lnTo>
                      <a:pt x="2884" y="421"/>
                    </a:lnTo>
                    <a:lnTo>
                      <a:pt x="2907" y="421"/>
                    </a:lnTo>
                    <a:lnTo>
                      <a:pt x="2929" y="421"/>
                    </a:lnTo>
                    <a:lnTo>
                      <a:pt x="2952" y="418"/>
                    </a:lnTo>
                    <a:lnTo>
                      <a:pt x="2980" y="415"/>
                    </a:lnTo>
                    <a:lnTo>
                      <a:pt x="2998" y="412"/>
                    </a:lnTo>
                    <a:lnTo>
                      <a:pt x="3021" y="412"/>
                    </a:lnTo>
                    <a:lnTo>
                      <a:pt x="3039" y="412"/>
                    </a:lnTo>
                    <a:lnTo>
                      <a:pt x="3062" y="410"/>
                    </a:lnTo>
                    <a:lnTo>
                      <a:pt x="3085" y="410"/>
                    </a:lnTo>
                    <a:lnTo>
                      <a:pt x="3103" y="410"/>
                    </a:lnTo>
                    <a:lnTo>
                      <a:pt x="3126" y="404"/>
                    </a:lnTo>
                    <a:lnTo>
                      <a:pt x="3144" y="404"/>
                    </a:lnTo>
                    <a:lnTo>
                      <a:pt x="3162" y="404"/>
                    </a:lnTo>
                    <a:lnTo>
                      <a:pt x="3181" y="401"/>
                    </a:lnTo>
                    <a:lnTo>
                      <a:pt x="3199" y="401"/>
                    </a:lnTo>
                    <a:lnTo>
                      <a:pt x="3213" y="401"/>
                    </a:lnTo>
                    <a:lnTo>
                      <a:pt x="3231" y="398"/>
                    </a:lnTo>
                    <a:lnTo>
                      <a:pt x="3245" y="398"/>
                    </a:lnTo>
                    <a:lnTo>
                      <a:pt x="3258" y="398"/>
                    </a:lnTo>
                    <a:lnTo>
                      <a:pt x="3272" y="398"/>
                    </a:lnTo>
                    <a:lnTo>
                      <a:pt x="3281" y="398"/>
                    </a:lnTo>
                    <a:lnTo>
                      <a:pt x="3295" y="398"/>
                    </a:lnTo>
                    <a:lnTo>
                      <a:pt x="3304" y="398"/>
                    </a:lnTo>
                    <a:lnTo>
                      <a:pt x="3313" y="398"/>
                    </a:lnTo>
                    <a:lnTo>
                      <a:pt x="3332" y="398"/>
                    </a:lnTo>
                    <a:lnTo>
                      <a:pt x="3341" y="398"/>
                    </a:lnTo>
                    <a:lnTo>
                      <a:pt x="3309" y="0"/>
                    </a:lnTo>
                    <a:lnTo>
                      <a:pt x="3304" y="0"/>
                    </a:lnTo>
                    <a:lnTo>
                      <a:pt x="3295" y="0"/>
                    </a:lnTo>
                    <a:lnTo>
                      <a:pt x="3281" y="0"/>
                    </a:lnTo>
                    <a:lnTo>
                      <a:pt x="3263" y="2"/>
                    </a:lnTo>
                    <a:lnTo>
                      <a:pt x="3254" y="2"/>
                    </a:lnTo>
                    <a:lnTo>
                      <a:pt x="3245" y="5"/>
                    </a:lnTo>
                    <a:lnTo>
                      <a:pt x="3226" y="8"/>
                    </a:lnTo>
                    <a:lnTo>
                      <a:pt x="3213" y="8"/>
                    </a:lnTo>
                    <a:lnTo>
                      <a:pt x="3199" y="11"/>
                    </a:lnTo>
                    <a:lnTo>
                      <a:pt x="3181" y="14"/>
                    </a:lnTo>
                    <a:lnTo>
                      <a:pt x="3162" y="14"/>
                    </a:lnTo>
                    <a:lnTo>
                      <a:pt x="3144" y="17"/>
                    </a:lnTo>
                    <a:lnTo>
                      <a:pt x="3126" y="19"/>
                    </a:lnTo>
                    <a:lnTo>
                      <a:pt x="3108" y="19"/>
                    </a:lnTo>
                    <a:lnTo>
                      <a:pt x="3085" y="22"/>
                    </a:lnTo>
                    <a:lnTo>
                      <a:pt x="3062" y="25"/>
                    </a:lnTo>
                    <a:lnTo>
                      <a:pt x="3039" y="25"/>
                    </a:lnTo>
                    <a:lnTo>
                      <a:pt x="3012" y="31"/>
                    </a:lnTo>
                    <a:lnTo>
                      <a:pt x="2989" y="34"/>
                    </a:lnTo>
                    <a:lnTo>
                      <a:pt x="2966" y="34"/>
                    </a:lnTo>
                    <a:lnTo>
                      <a:pt x="2934" y="37"/>
                    </a:lnTo>
                    <a:lnTo>
                      <a:pt x="2907" y="42"/>
                    </a:lnTo>
                    <a:lnTo>
                      <a:pt x="2879" y="45"/>
                    </a:lnTo>
                    <a:lnTo>
                      <a:pt x="2852" y="48"/>
                    </a:lnTo>
                    <a:lnTo>
                      <a:pt x="2820" y="48"/>
                    </a:lnTo>
                    <a:lnTo>
                      <a:pt x="2792" y="54"/>
                    </a:lnTo>
                    <a:lnTo>
                      <a:pt x="2760" y="57"/>
                    </a:lnTo>
                    <a:lnTo>
                      <a:pt x="2733" y="59"/>
                    </a:lnTo>
                    <a:lnTo>
                      <a:pt x="2696" y="62"/>
                    </a:lnTo>
                    <a:lnTo>
                      <a:pt x="2660" y="65"/>
                    </a:lnTo>
                    <a:lnTo>
                      <a:pt x="2628" y="68"/>
                    </a:lnTo>
                    <a:lnTo>
                      <a:pt x="2591" y="68"/>
                    </a:lnTo>
                    <a:lnTo>
                      <a:pt x="2559" y="71"/>
                    </a:lnTo>
                    <a:lnTo>
                      <a:pt x="2523" y="76"/>
                    </a:lnTo>
                    <a:lnTo>
                      <a:pt x="2486" y="76"/>
                    </a:lnTo>
                    <a:lnTo>
                      <a:pt x="2450" y="79"/>
                    </a:lnTo>
                    <a:lnTo>
                      <a:pt x="2413" y="79"/>
                    </a:lnTo>
                    <a:lnTo>
                      <a:pt x="2376" y="85"/>
                    </a:lnTo>
                    <a:lnTo>
                      <a:pt x="2335" y="85"/>
                    </a:lnTo>
                    <a:lnTo>
                      <a:pt x="2299" y="88"/>
                    </a:lnTo>
                    <a:lnTo>
                      <a:pt x="2258" y="88"/>
                    </a:lnTo>
                    <a:lnTo>
                      <a:pt x="2221" y="94"/>
                    </a:lnTo>
                    <a:lnTo>
                      <a:pt x="2180" y="96"/>
                    </a:lnTo>
                    <a:lnTo>
                      <a:pt x="2143" y="99"/>
                    </a:lnTo>
                    <a:lnTo>
                      <a:pt x="2098" y="99"/>
                    </a:lnTo>
                    <a:lnTo>
                      <a:pt x="2057" y="102"/>
                    </a:lnTo>
                    <a:lnTo>
                      <a:pt x="2015" y="102"/>
                    </a:lnTo>
                    <a:lnTo>
                      <a:pt x="1979" y="105"/>
                    </a:lnTo>
                    <a:lnTo>
                      <a:pt x="1933" y="108"/>
                    </a:lnTo>
                    <a:lnTo>
                      <a:pt x="1892" y="111"/>
                    </a:lnTo>
                    <a:lnTo>
                      <a:pt x="1855" y="111"/>
                    </a:lnTo>
                    <a:lnTo>
                      <a:pt x="1810" y="113"/>
                    </a:lnTo>
                    <a:lnTo>
                      <a:pt x="1769" y="113"/>
                    </a:lnTo>
                    <a:lnTo>
                      <a:pt x="1723" y="113"/>
                    </a:lnTo>
                    <a:lnTo>
                      <a:pt x="1682" y="113"/>
                    </a:lnTo>
                    <a:lnTo>
                      <a:pt x="1641" y="116"/>
                    </a:lnTo>
                    <a:lnTo>
                      <a:pt x="1595" y="116"/>
                    </a:lnTo>
                    <a:lnTo>
                      <a:pt x="1558" y="119"/>
                    </a:lnTo>
                    <a:lnTo>
                      <a:pt x="1513" y="119"/>
                    </a:lnTo>
                    <a:lnTo>
                      <a:pt x="1472" y="119"/>
                    </a:lnTo>
                    <a:lnTo>
                      <a:pt x="1426" y="119"/>
                    </a:lnTo>
                    <a:lnTo>
                      <a:pt x="1389" y="119"/>
                    </a:lnTo>
                    <a:lnTo>
                      <a:pt x="1344" y="116"/>
                    </a:lnTo>
                    <a:lnTo>
                      <a:pt x="1302" y="116"/>
                    </a:lnTo>
                    <a:lnTo>
                      <a:pt x="1266" y="113"/>
                    </a:lnTo>
                    <a:lnTo>
                      <a:pt x="1225" y="113"/>
                    </a:lnTo>
                    <a:lnTo>
                      <a:pt x="1184" y="113"/>
                    </a:lnTo>
                    <a:lnTo>
                      <a:pt x="1147" y="113"/>
                    </a:lnTo>
                    <a:lnTo>
                      <a:pt x="1111" y="111"/>
                    </a:lnTo>
                    <a:lnTo>
                      <a:pt x="1069" y="111"/>
                    </a:lnTo>
                    <a:lnTo>
                      <a:pt x="1033" y="108"/>
                    </a:lnTo>
                    <a:lnTo>
                      <a:pt x="996" y="108"/>
                    </a:lnTo>
                    <a:lnTo>
                      <a:pt x="964" y="102"/>
                    </a:lnTo>
                    <a:lnTo>
                      <a:pt x="928" y="102"/>
                    </a:lnTo>
                    <a:lnTo>
                      <a:pt x="891" y="102"/>
                    </a:lnTo>
                    <a:lnTo>
                      <a:pt x="855" y="102"/>
                    </a:lnTo>
                    <a:lnTo>
                      <a:pt x="823" y="99"/>
                    </a:lnTo>
                    <a:lnTo>
                      <a:pt x="791" y="96"/>
                    </a:lnTo>
                    <a:lnTo>
                      <a:pt x="759" y="94"/>
                    </a:lnTo>
                    <a:lnTo>
                      <a:pt x="727" y="91"/>
                    </a:lnTo>
                    <a:lnTo>
                      <a:pt x="695" y="88"/>
                    </a:lnTo>
                    <a:lnTo>
                      <a:pt x="667" y="88"/>
                    </a:lnTo>
                    <a:lnTo>
                      <a:pt x="635" y="85"/>
                    </a:lnTo>
                    <a:lnTo>
                      <a:pt x="608" y="85"/>
                    </a:lnTo>
                    <a:lnTo>
                      <a:pt x="580" y="79"/>
                    </a:lnTo>
                    <a:lnTo>
                      <a:pt x="544" y="76"/>
                    </a:lnTo>
                    <a:lnTo>
                      <a:pt x="521" y="76"/>
                    </a:lnTo>
                    <a:lnTo>
                      <a:pt x="494" y="76"/>
                    </a:lnTo>
                    <a:lnTo>
                      <a:pt x="466" y="71"/>
                    </a:lnTo>
                    <a:lnTo>
                      <a:pt x="443" y="68"/>
                    </a:lnTo>
                    <a:lnTo>
                      <a:pt x="420" y="68"/>
                    </a:lnTo>
                    <a:lnTo>
                      <a:pt x="398" y="68"/>
                    </a:lnTo>
                    <a:lnTo>
                      <a:pt x="366" y="65"/>
                    </a:lnTo>
                    <a:lnTo>
                      <a:pt x="347" y="59"/>
                    </a:lnTo>
                    <a:lnTo>
                      <a:pt x="324" y="57"/>
                    </a:lnTo>
                    <a:lnTo>
                      <a:pt x="306" y="57"/>
                    </a:lnTo>
                    <a:lnTo>
                      <a:pt x="279" y="54"/>
                    </a:lnTo>
                    <a:lnTo>
                      <a:pt x="260" y="51"/>
                    </a:lnTo>
                    <a:lnTo>
                      <a:pt x="238" y="48"/>
                    </a:lnTo>
                    <a:lnTo>
                      <a:pt x="224" y="45"/>
                    </a:lnTo>
                    <a:lnTo>
                      <a:pt x="201" y="42"/>
                    </a:lnTo>
                    <a:lnTo>
                      <a:pt x="187" y="42"/>
                    </a:lnTo>
                    <a:lnTo>
                      <a:pt x="169" y="37"/>
                    </a:lnTo>
                    <a:lnTo>
                      <a:pt x="160" y="37"/>
                    </a:lnTo>
                    <a:lnTo>
                      <a:pt x="142" y="34"/>
                    </a:lnTo>
                    <a:lnTo>
                      <a:pt x="128" y="34"/>
                    </a:lnTo>
                    <a:lnTo>
                      <a:pt x="114" y="31"/>
                    </a:lnTo>
                    <a:lnTo>
                      <a:pt x="101" y="31"/>
                    </a:lnTo>
                    <a:lnTo>
                      <a:pt x="87" y="25"/>
                    </a:lnTo>
                    <a:lnTo>
                      <a:pt x="78" y="25"/>
                    </a:lnTo>
                    <a:lnTo>
                      <a:pt x="64" y="25"/>
                    </a:lnTo>
                    <a:lnTo>
                      <a:pt x="55" y="22"/>
                    </a:lnTo>
                    <a:lnTo>
                      <a:pt x="37" y="19"/>
                    </a:lnTo>
                    <a:lnTo>
                      <a:pt x="23" y="19"/>
                    </a:lnTo>
                    <a:lnTo>
                      <a:pt x="14" y="14"/>
                    </a:lnTo>
                    <a:lnTo>
                      <a:pt x="0"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9" name="Freeform 12"/>
              <p:cNvSpPr>
                <a:spLocks/>
              </p:cNvSpPr>
              <p:nvPr>
                <p:custDataLst>
                  <p:tags r:id="rId141"/>
                </p:custDataLst>
              </p:nvPr>
            </p:nvSpPr>
            <p:spPr bwMode="gray">
              <a:xfrm>
                <a:off x="904" y="576"/>
                <a:ext cx="3795" cy="815"/>
              </a:xfrm>
              <a:custGeom>
                <a:avLst/>
                <a:gdLst>
                  <a:gd name="T0" fmla="*/ 2011 w 3702"/>
                  <a:gd name="T1" fmla="*/ 26 h 892"/>
                  <a:gd name="T2" fmla="*/ 1766 w 3702"/>
                  <a:gd name="T3" fmla="*/ 50 h 892"/>
                  <a:gd name="T4" fmla="*/ 1520 w 3702"/>
                  <a:gd name="T5" fmla="*/ 77 h 892"/>
                  <a:gd name="T6" fmla="*/ 1280 w 3702"/>
                  <a:gd name="T7" fmla="*/ 103 h 892"/>
                  <a:gd name="T8" fmla="*/ 1048 w 3702"/>
                  <a:gd name="T9" fmla="*/ 131 h 892"/>
                  <a:gd name="T10" fmla="*/ 824 w 3702"/>
                  <a:gd name="T11" fmla="*/ 159 h 892"/>
                  <a:gd name="T12" fmla="*/ 623 w 3702"/>
                  <a:gd name="T13" fmla="*/ 187 h 892"/>
                  <a:gd name="T14" fmla="*/ 437 w 3702"/>
                  <a:gd name="T15" fmla="*/ 210 h 892"/>
                  <a:gd name="T16" fmla="*/ 277 w 3702"/>
                  <a:gd name="T17" fmla="*/ 232 h 892"/>
                  <a:gd name="T18" fmla="*/ 153 w 3702"/>
                  <a:gd name="T19" fmla="*/ 252 h 892"/>
                  <a:gd name="T20" fmla="*/ 58 w 3702"/>
                  <a:gd name="T21" fmla="*/ 268 h 892"/>
                  <a:gd name="T22" fmla="*/ 0 w 3702"/>
                  <a:gd name="T23" fmla="*/ 280 h 892"/>
                  <a:gd name="T24" fmla="*/ 53 w 3702"/>
                  <a:gd name="T25" fmla="*/ 283 h 892"/>
                  <a:gd name="T26" fmla="*/ 141 w 3702"/>
                  <a:gd name="T27" fmla="*/ 285 h 892"/>
                  <a:gd name="T28" fmla="*/ 277 w 3702"/>
                  <a:gd name="T29" fmla="*/ 288 h 892"/>
                  <a:gd name="T30" fmla="*/ 437 w 3702"/>
                  <a:gd name="T31" fmla="*/ 291 h 892"/>
                  <a:gd name="T32" fmla="*/ 623 w 3702"/>
                  <a:gd name="T33" fmla="*/ 293 h 892"/>
                  <a:gd name="T34" fmla="*/ 844 w 3702"/>
                  <a:gd name="T35" fmla="*/ 295 h 892"/>
                  <a:gd name="T36" fmla="*/ 1078 w 3702"/>
                  <a:gd name="T37" fmla="*/ 299 h 892"/>
                  <a:gd name="T38" fmla="*/ 1329 w 3702"/>
                  <a:gd name="T39" fmla="*/ 300 h 892"/>
                  <a:gd name="T40" fmla="*/ 1594 w 3702"/>
                  <a:gd name="T41" fmla="*/ 302 h 892"/>
                  <a:gd name="T42" fmla="*/ 1865 w 3702"/>
                  <a:gd name="T43" fmla="*/ 302 h 892"/>
                  <a:gd name="T44" fmla="*/ 2141 w 3702"/>
                  <a:gd name="T45" fmla="*/ 301 h 892"/>
                  <a:gd name="T46" fmla="*/ 2413 w 3702"/>
                  <a:gd name="T47" fmla="*/ 299 h 892"/>
                  <a:gd name="T48" fmla="*/ 2685 w 3702"/>
                  <a:gd name="T49" fmla="*/ 295 h 892"/>
                  <a:gd name="T50" fmla="*/ 2961 w 3702"/>
                  <a:gd name="T51" fmla="*/ 291 h 892"/>
                  <a:gd name="T52" fmla="*/ 3236 w 3702"/>
                  <a:gd name="T53" fmla="*/ 287 h 892"/>
                  <a:gd name="T54" fmla="*/ 3508 w 3702"/>
                  <a:gd name="T55" fmla="*/ 280 h 892"/>
                  <a:gd name="T56" fmla="*/ 3760 w 3702"/>
                  <a:gd name="T57" fmla="*/ 277 h 892"/>
                  <a:gd name="T58" fmla="*/ 4015 w 3702"/>
                  <a:gd name="T59" fmla="*/ 272 h 892"/>
                  <a:gd name="T60" fmla="*/ 4245 w 3702"/>
                  <a:gd name="T61" fmla="*/ 268 h 892"/>
                  <a:gd name="T62" fmla="*/ 4449 w 3702"/>
                  <a:gd name="T63" fmla="*/ 261 h 892"/>
                  <a:gd name="T64" fmla="*/ 4629 w 3702"/>
                  <a:gd name="T65" fmla="*/ 256 h 892"/>
                  <a:gd name="T66" fmla="*/ 4775 w 3702"/>
                  <a:gd name="T67" fmla="*/ 252 h 892"/>
                  <a:gd name="T68" fmla="*/ 4887 w 3702"/>
                  <a:gd name="T69" fmla="*/ 247 h 892"/>
                  <a:gd name="T70" fmla="*/ 4968 w 3702"/>
                  <a:gd name="T71" fmla="*/ 245 h 892"/>
                  <a:gd name="T72" fmla="*/ 4942 w 3702"/>
                  <a:gd name="T73" fmla="*/ 238 h 892"/>
                  <a:gd name="T74" fmla="*/ 4849 w 3702"/>
                  <a:gd name="T75" fmla="*/ 228 h 892"/>
                  <a:gd name="T76" fmla="*/ 4716 w 3702"/>
                  <a:gd name="T77" fmla="*/ 215 h 892"/>
                  <a:gd name="T78" fmla="*/ 4547 w 3702"/>
                  <a:gd name="T79" fmla="*/ 198 h 892"/>
                  <a:gd name="T80" fmla="*/ 4358 w 3702"/>
                  <a:gd name="T81" fmla="*/ 177 h 892"/>
                  <a:gd name="T82" fmla="*/ 4141 w 3702"/>
                  <a:gd name="T83" fmla="*/ 157 h 892"/>
                  <a:gd name="T84" fmla="*/ 3927 w 3702"/>
                  <a:gd name="T85" fmla="*/ 132 h 892"/>
                  <a:gd name="T86" fmla="*/ 3699 w 3702"/>
                  <a:gd name="T87" fmla="*/ 111 h 892"/>
                  <a:gd name="T88" fmla="*/ 3488 w 3702"/>
                  <a:gd name="T89" fmla="*/ 88 h 892"/>
                  <a:gd name="T90" fmla="*/ 3287 w 3702"/>
                  <a:gd name="T91" fmla="*/ 65 h 892"/>
                  <a:gd name="T92" fmla="*/ 3107 w 3702"/>
                  <a:gd name="T93" fmla="*/ 48 h 892"/>
                  <a:gd name="T94" fmla="*/ 2968 w 3702"/>
                  <a:gd name="T95" fmla="*/ 34 h 892"/>
                  <a:gd name="T96" fmla="*/ 2862 w 3702"/>
                  <a:gd name="T97" fmla="*/ 22 h 892"/>
                  <a:gd name="T98" fmla="*/ 2776 w 3702"/>
                  <a:gd name="T99" fmla="*/ 15 h 892"/>
                  <a:gd name="T100" fmla="*/ 2701 w 3702"/>
                  <a:gd name="T101" fmla="*/ 8 h 892"/>
                  <a:gd name="T102" fmla="*/ 2622 w 3702"/>
                  <a:gd name="T103" fmla="*/ 5 h 892"/>
                  <a:gd name="T104" fmla="*/ 2549 w 3702"/>
                  <a:gd name="T105" fmla="*/ 5 h 892"/>
                  <a:gd name="T106" fmla="*/ 2418 w 3702"/>
                  <a:gd name="T107" fmla="*/ 0 h 892"/>
                  <a:gd name="T108" fmla="*/ 2313 w 3702"/>
                  <a:gd name="T109" fmla="*/ 5 h 892"/>
                  <a:gd name="T110" fmla="*/ 2229 w 3702"/>
                  <a:gd name="T111" fmla="*/ 6 h 8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02"/>
                  <a:gd name="T169" fmla="*/ 0 h 892"/>
                  <a:gd name="T170" fmla="*/ 3702 w 3702"/>
                  <a:gd name="T171" fmla="*/ 892 h 8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02" h="892">
                    <a:moveTo>
                      <a:pt x="1632" y="26"/>
                    </a:moveTo>
                    <a:lnTo>
                      <a:pt x="1595" y="35"/>
                    </a:lnTo>
                    <a:lnTo>
                      <a:pt x="1563" y="49"/>
                    </a:lnTo>
                    <a:lnTo>
                      <a:pt x="1526" y="63"/>
                    </a:lnTo>
                    <a:lnTo>
                      <a:pt x="1494" y="77"/>
                    </a:lnTo>
                    <a:lnTo>
                      <a:pt x="1453" y="89"/>
                    </a:lnTo>
                    <a:lnTo>
                      <a:pt x="1421" y="103"/>
                    </a:lnTo>
                    <a:lnTo>
                      <a:pt x="1380" y="117"/>
                    </a:lnTo>
                    <a:lnTo>
                      <a:pt x="1348" y="131"/>
                    </a:lnTo>
                    <a:lnTo>
                      <a:pt x="1312" y="149"/>
                    </a:lnTo>
                    <a:lnTo>
                      <a:pt x="1275" y="160"/>
                    </a:lnTo>
                    <a:lnTo>
                      <a:pt x="1239" y="174"/>
                    </a:lnTo>
                    <a:lnTo>
                      <a:pt x="1202" y="191"/>
                    </a:lnTo>
                    <a:lnTo>
                      <a:pt x="1165" y="208"/>
                    </a:lnTo>
                    <a:lnTo>
                      <a:pt x="1129" y="225"/>
                    </a:lnTo>
                    <a:lnTo>
                      <a:pt x="1097" y="240"/>
                    </a:lnTo>
                    <a:lnTo>
                      <a:pt x="1060" y="257"/>
                    </a:lnTo>
                    <a:lnTo>
                      <a:pt x="1024" y="274"/>
                    </a:lnTo>
                    <a:lnTo>
                      <a:pt x="987" y="288"/>
                    </a:lnTo>
                    <a:lnTo>
                      <a:pt x="951" y="305"/>
                    </a:lnTo>
                    <a:lnTo>
                      <a:pt x="919" y="322"/>
                    </a:lnTo>
                    <a:lnTo>
                      <a:pt x="877" y="339"/>
                    </a:lnTo>
                    <a:lnTo>
                      <a:pt x="846" y="354"/>
                    </a:lnTo>
                    <a:lnTo>
                      <a:pt x="814" y="371"/>
                    </a:lnTo>
                    <a:lnTo>
                      <a:pt x="777" y="388"/>
                    </a:lnTo>
                    <a:lnTo>
                      <a:pt x="745" y="408"/>
                    </a:lnTo>
                    <a:lnTo>
                      <a:pt x="713" y="422"/>
                    </a:lnTo>
                    <a:lnTo>
                      <a:pt x="681" y="439"/>
                    </a:lnTo>
                    <a:lnTo>
                      <a:pt x="644" y="456"/>
                    </a:lnTo>
                    <a:lnTo>
                      <a:pt x="612" y="470"/>
                    </a:lnTo>
                    <a:lnTo>
                      <a:pt x="580" y="487"/>
                    </a:lnTo>
                    <a:lnTo>
                      <a:pt x="548" y="504"/>
                    </a:lnTo>
                    <a:lnTo>
                      <a:pt x="526" y="519"/>
                    </a:lnTo>
                    <a:lnTo>
                      <a:pt x="494" y="536"/>
                    </a:lnTo>
                    <a:lnTo>
                      <a:pt x="462" y="550"/>
                    </a:lnTo>
                    <a:lnTo>
                      <a:pt x="434" y="564"/>
                    </a:lnTo>
                    <a:lnTo>
                      <a:pt x="407" y="579"/>
                    </a:lnTo>
                    <a:lnTo>
                      <a:pt x="379" y="593"/>
                    </a:lnTo>
                    <a:lnTo>
                      <a:pt x="352" y="607"/>
                    </a:lnTo>
                    <a:lnTo>
                      <a:pt x="325" y="621"/>
                    </a:lnTo>
                    <a:lnTo>
                      <a:pt x="302" y="638"/>
                    </a:lnTo>
                    <a:lnTo>
                      <a:pt x="274" y="650"/>
                    </a:lnTo>
                    <a:lnTo>
                      <a:pt x="251" y="664"/>
                    </a:lnTo>
                    <a:lnTo>
                      <a:pt x="229" y="675"/>
                    </a:lnTo>
                    <a:lnTo>
                      <a:pt x="206" y="687"/>
                    </a:lnTo>
                    <a:lnTo>
                      <a:pt x="187" y="701"/>
                    </a:lnTo>
                    <a:lnTo>
                      <a:pt x="169" y="712"/>
                    </a:lnTo>
                    <a:lnTo>
                      <a:pt x="146" y="724"/>
                    </a:lnTo>
                    <a:lnTo>
                      <a:pt x="133" y="735"/>
                    </a:lnTo>
                    <a:lnTo>
                      <a:pt x="114" y="744"/>
                    </a:lnTo>
                    <a:lnTo>
                      <a:pt x="101" y="755"/>
                    </a:lnTo>
                    <a:lnTo>
                      <a:pt x="82" y="764"/>
                    </a:lnTo>
                    <a:lnTo>
                      <a:pt x="69" y="772"/>
                    </a:lnTo>
                    <a:lnTo>
                      <a:pt x="59" y="781"/>
                    </a:lnTo>
                    <a:lnTo>
                      <a:pt x="46" y="789"/>
                    </a:lnTo>
                    <a:lnTo>
                      <a:pt x="37" y="798"/>
                    </a:lnTo>
                    <a:lnTo>
                      <a:pt x="27" y="803"/>
                    </a:lnTo>
                    <a:lnTo>
                      <a:pt x="14" y="815"/>
                    </a:lnTo>
                    <a:lnTo>
                      <a:pt x="5" y="826"/>
                    </a:lnTo>
                    <a:lnTo>
                      <a:pt x="0" y="829"/>
                    </a:lnTo>
                    <a:lnTo>
                      <a:pt x="5" y="832"/>
                    </a:lnTo>
                    <a:lnTo>
                      <a:pt x="9" y="832"/>
                    </a:lnTo>
                    <a:lnTo>
                      <a:pt x="23" y="835"/>
                    </a:lnTo>
                    <a:lnTo>
                      <a:pt x="32" y="835"/>
                    </a:lnTo>
                    <a:lnTo>
                      <a:pt x="41" y="835"/>
                    </a:lnTo>
                    <a:lnTo>
                      <a:pt x="55" y="838"/>
                    </a:lnTo>
                    <a:lnTo>
                      <a:pt x="64" y="838"/>
                    </a:lnTo>
                    <a:lnTo>
                      <a:pt x="78" y="838"/>
                    </a:lnTo>
                    <a:lnTo>
                      <a:pt x="91" y="841"/>
                    </a:lnTo>
                    <a:lnTo>
                      <a:pt x="105" y="841"/>
                    </a:lnTo>
                    <a:lnTo>
                      <a:pt x="123" y="846"/>
                    </a:lnTo>
                    <a:lnTo>
                      <a:pt x="142" y="846"/>
                    </a:lnTo>
                    <a:lnTo>
                      <a:pt x="160" y="846"/>
                    </a:lnTo>
                    <a:lnTo>
                      <a:pt x="183" y="849"/>
                    </a:lnTo>
                    <a:lnTo>
                      <a:pt x="206" y="852"/>
                    </a:lnTo>
                    <a:lnTo>
                      <a:pt x="224" y="852"/>
                    </a:lnTo>
                    <a:lnTo>
                      <a:pt x="247" y="852"/>
                    </a:lnTo>
                    <a:lnTo>
                      <a:pt x="270" y="855"/>
                    </a:lnTo>
                    <a:lnTo>
                      <a:pt x="297" y="858"/>
                    </a:lnTo>
                    <a:lnTo>
                      <a:pt x="325" y="858"/>
                    </a:lnTo>
                    <a:lnTo>
                      <a:pt x="347" y="860"/>
                    </a:lnTo>
                    <a:lnTo>
                      <a:pt x="375" y="860"/>
                    </a:lnTo>
                    <a:lnTo>
                      <a:pt x="407" y="863"/>
                    </a:lnTo>
                    <a:lnTo>
                      <a:pt x="434" y="863"/>
                    </a:lnTo>
                    <a:lnTo>
                      <a:pt x="462" y="866"/>
                    </a:lnTo>
                    <a:lnTo>
                      <a:pt x="494" y="866"/>
                    </a:lnTo>
                    <a:lnTo>
                      <a:pt x="530" y="869"/>
                    </a:lnTo>
                    <a:lnTo>
                      <a:pt x="558" y="869"/>
                    </a:lnTo>
                    <a:lnTo>
                      <a:pt x="590" y="875"/>
                    </a:lnTo>
                    <a:lnTo>
                      <a:pt x="626" y="875"/>
                    </a:lnTo>
                    <a:lnTo>
                      <a:pt x="663" y="878"/>
                    </a:lnTo>
                    <a:lnTo>
                      <a:pt x="695" y="878"/>
                    </a:lnTo>
                    <a:lnTo>
                      <a:pt x="727" y="880"/>
                    </a:lnTo>
                    <a:lnTo>
                      <a:pt x="763" y="880"/>
                    </a:lnTo>
                    <a:lnTo>
                      <a:pt x="800" y="880"/>
                    </a:lnTo>
                    <a:lnTo>
                      <a:pt x="836" y="880"/>
                    </a:lnTo>
                    <a:lnTo>
                      <a:pt x="873" y="883"/>
                    </a:lnTo>
                    <a:lnTo>
                      <a:pt x="909" y="883"/>
                    </a:lnTo>
                    <a:lnTo>
                      <a:pt x="946" y="886"/>
                    </a:lnTo>
                    <a:lnTo>
                      <a:pt x="987" y="886"/>
                    </a:lnTo>
                    <a:lnTo>
                      <a:pt x="1028" y="889"/>
                    </a:lnTo>
                    <a:lnTo>
                      <a:pt x="1065" y="889"/>
                    </a:lnTo>
                    <a:lnTo>
                      <a:pt x="1106" y="889"/>
                    </a:lnTo>
                    <a:lnTo>
                      <a:pt x="1143" y="889"/>
                    </a:lnTo>
                    <a:lnTo>
                      <a:pt x="1184" y="892"/>
                    </a:lnTo>
                    <a:lnTo>
                      <a:pt x="1225" y="892"/>
                    </a:lnTo>
                    <a:lnTo>
                      <a:pt x="1266" y="892"/>
                    </a:lnTo>
                    <a:lnTo>
                      <a:pt x="1303" y="892"/>
                    </a:lnTo>
                    <a:lnTo>
                      <a:pt x="1344" y="892"/>
                    </a:lnTo>
                    <a:lnTo>
                      <a:pt x="1385" y="892"/>
                    </a:lnTo>
                    <a:lnTo>
                      <a:pt x="1426" y="892"/>
                    </a:lnTo>
                    <a:lnTo>
                      <a:pt x="1462" y="889"/>
                    </a:lnTo>
                    <a:lnTo>
                      <a:pt x="1508" y="889"/>
                    </a:lnTo>
                    <a:lnTo>
                      <a:pt x="1549" y="889"/>
                    </a:lnTo>
                    <a:lnTo>
                      <a:pt x="1590" y="889"/>
                    </a:lnTo>
                    <a:lnTo>
                      <a:pt x="1627" y="889"/>
                    </a:lnTo>
                    <a:lnTo>
                      <a:pt x="1673" y="889"/>
                    </a:lnTo>
                    <a:lnTo>
                      <a:pt x="1714" y="886"/>
                    </a:lnTo>
                    <a:lnTo>
                      <a:pt x="1755" y="886"/>
                    </a:lnTo>
                    <a:lnTo>
                      <a:pt x="1792" y="880"/>
                    </a:lnTo>
                    <a:lnTo>
                      <a:pt x="1837" y="880"/>
                    </a:lnTo>
                    <a:lnTo>
                      <a:pt x="1874" y="880"/>
                    </a:lnTo>
                    <a:lnTo>
                      <a:pt x="1919" y="878"/>
                    </a:lnTo>
                    <a:lnTo>
                      <a:pt x="1956" y="875"/>
                    </a:lnTo>
                    <a:lnTo>
                      <a:pt x="1993" y="872"/>
                    </a:lnTo>
                    <a:lnTo>
                      <a:pt x="2038" y="869"/>
                    </a:lnTo>
                    <a:lnTo>
                      <a:pt x="2079" y="866"/>
                    </a:lnTo>
                    <a:lnTo>
                      <a:pt x="2116" y="866"/>
                    </a:lnTo>
                    <a:lnTo>
                      <a:pt x="2157" y="863"/>
                    </a:lnTo>
                    <a:lnTo>
                      <a:pt x="2198" y="860"/>
                    </a:lnTo>
                    <a:lnTo>
                      <a:pt x="2239" y="858"/>
                    </a:lnTo>
                    <a:lnTo>
                      <a:pt x="2281" y="855"/>
                    </a:lnTo>
                    <a:lnTo>
                      <a:pt x="2317" y="852"/>
                    </a:lnTo>
                    <a:lnTo>
                      <a:pt x="2363" y="849"/>
                    </a:lnTo>
                    <a:lnTo>
                      <a:pt x="2404" y="846"/>
                    </a:lnTo>
                    <a:lnTo>
                      <a:pt x="2440" y="843"/>
                    </a:lnTo>
                    <a:lnTo>
                      <a:pt x="2482" y="841"/>
                    </a:lnTo>
                    <a:lnTo>
                      <a:pt x="2523" y="838"/>
                    </a:lnTo>
                    <a:lnTo>
                      <a:pt x="2564" y="835"/>
                    </a:lnTo>
                    <a:lnTo>
                      <a:pt x="2605" y="832"/>
                    </a:lnTo>
                    <a:lnTo>
                      <a:pt x="2642" y="829"/>
                    </a:lnTo>
                    <a:lnTo>
                      <a:pt x="2683" y="826"/>
                    </a:lnTo>
                    <a:lnTo>
                      <a:pt x="2719" y="826"/>
                    </a:lnTo>
                    <a:lnTo>
                      <a:pt x="2760" y="821"/>
                    </a:lnTo>
                    <a:lnTo>
                      <a:pt x="2792" y="818"/>
                    </a:lnTo>
                    <a:lnTo>
                      <a:pt x="2834" y="815"/>
                    </a:lnTo>
                    <a:lnTo>
                      <a:pt x="2870" y="812"/>
                    </a:lnTo>
                    <a:lnTo>
                      <a:pt x="2907" y="809"/>
                    </a:lnTo>
                    <a:lnTo>
                      <a:pt x="2948" y="803"/>
                    </a:lnTo>
                    <a:lnTo>
                      <a:pt x="2980" y="803"/>
                    </a:lnTo>
                    <a:lnTo>
                      <a:pt x="3016" y="801"/>
                    </a:lnTo>
                    <a:lnTo>
                      <a:pt x="3048" y="798"/>
                    </a:lnTo>
                    <a:lnTo>
                      <a:pt x="3085" y="792"/>
                    </a:lnTo>
                    <a:lnTo>
                      <a:pt x="3117" y="789"/>
                    </a:lnTo>
                    <a:lnTo>
                      <a:pt x="3153" y="789"/>
                    </a:lnTo>
                    <a:lnTo>
                      <a:pt x="3185" y="784"/>
                    </a:lnTo>
                    <a:lnTo>
                      <a:pt x="3213" y="781"/>
                    </a:lnTo>
                    <a:lnTo>
                      <a:pt x="3245" y="778"/>
                    </a:lnTo>
                    <a:lnTo>
                      <a:pt x="3281" y="775"/>
                    </a:lnTo>
                    <a:lnTo>
                      <a:pt x="3304" y="772"/>
                    </a:lnTo>
                    <a:lnTo>
                      <a:pt x="3332" y="769"/>
                    </a:lnTo>
                    <a:lnTo>
                      <a:pt x="3359" y="766"/>
                    </a:lnTo>
                    <a:lnTo>
                      <a:pt x="3391" y="764"/>
                    </a:lnTo>
                    <a:lnTo>
                      <a:pt x="3414" y="761"/>
                    </a:lnTo>
                    <a:lnTo>
                      <a:pt x="3437" y="758"/>
                    </a:lnTo>
                    <a:lnTo>
                      <a:pt x="3464" y="755"/>
                    </a:lnTo>
                    <a:lnTo>
                      <a:pt x="3487" y="752"/>
                    </a:lnTo>
                    <a:lnTo>
                      <a:pt x="3505" y="749"/>
                    </a:lnTo>
                    <a:lnTo>
                      <a:pt x="3528" y="749"/>
                    </a:lnTo>
                    <a:lnTo>
                      <a:pt x="3546" y="744"/>
                    </a:lnTo>
                    <a:lnTo>
                      <a:pt x="3574" y="744"/>
                    </a:lnTo>
                    <a:lnTo>
                      <a:pt x="3588" y="741"/>
                    </a:lnTo>
                    <a:lnTo>
                      <a:pt x="3606" y="738"/>
                    </a:lnTo>
                    <a:lnTo>
                      <a:pt x="3615" y="735"/>
                    </a:lnTo>
                    <a:lnTo>
                      <a:pt x="3629" y="732"/>
                    </a:lnTo>
                    <a:lnTo>
                      <a:pt x="3642" y="732"/>
                    </a:lnTo>
                    <a:lnTo>
                      <a:pt x="3656" y="729"/>
                    </a:lnTo>
                    <a:lnTo>
                      <a:pt x="3665" y="727"/>
                    </a:lnTo>
                    <a:lnTo>
                      <a:pt x="3674" y="727"/>
                    </a:lnTo>
                    <a:lnTo>
                      <a:pt x="3688" y="721"/>
                    </a:lnTo>
                    <a:lnTo>
                      <a:pt x="3697" y="721"/>
                    </a:lnTo>
                    <a:lnTo>
                      <a:pt x="3702" y="718"/>
                    </a:lnTo>
                    <a:lnTo>
                      <a:pt x="3697" y="715"/>
                    </a:lnTo>
                    <a:lnTo>
                      <a:pt x="3688" y="712"/>
                    </a:lnTo>
                    <a:lnTo>
                      <a:pt x="3670" y="704"/>
                    </a:lnTo>
                    <a:lnTo>
                      <a:pt x="3661" y="698"/>
                    </a:lnTo>
                    <a:lnTo>
                      <a:pt x="3647" y="695"/>
                    </a:lnTo>
                    <a:lnTo>
                      <a:pt x="3633" y="687"/>
                    </a:lnTo>
                    <a:lnTo>
                      <a:pt x="3620" y="687"/>
                    </a:lnTo>
                    <a:lnTo>
                      <a:pt x="3601" y="675"/>
                    </a:lnTo>
                    <a:lnTo>
                      <a:pt x="3583" y="670"/>
                    </a:lnTo>
                    <a:lnTo>
                      <a:pt x="3565" y="661"/>
                    </a:lnTo>
                    <a:lnTo>
                      <a:pt x="3546" y="653"/>
                    </a:lnTo>
                    <a:lnTo>
                      <a:pt x="3524" y="644"/>
                    </a:lnTo>
                    <a:lnTo>
                      <a:pt x="3501" y="635"/>
                    </a:lnTo>
                    <a:lnTo>
                      <a:pt x="3482" y="627"/>
                    </a:lnTo>
                    <a:lnTo>
                      <a:pt x="3455" y="618"/>
                    </a:lnTo>
                    <a:lnTo>
                      <a:pt x="3432" y="607"/>
                    </a:lnTo>
                    <a:lnTo>
                      <a:pt x="3405" y="596"/>
                    </a:lnTo>
                    <a:lnTo>
                      <a:pt x="3377" y="584"/>
                    </a:lnTo>
                    <a:lnTo>
                      <a:pt x="3350" y="573"/>
                    </a:lnTo>
                    <a:lnTo>
                      <a:pt x="3323" y="561"/>
                    </a:lnTo>
                    <a:lnTo>
                      <a:pt x="3295" y="550"/>
                    </a:lnTo>
                    <a:lnTo>
                      <a:pt x="3263" y="539"/>
                    </a:lnTo>
                    <a:lnTo>
                      <a:pt x="3236" y="524"/>
                    </a:lnTo>
                    <a:lnTo>
                      <a:pt x="3204" y="513"/>
                    </a:lnTo>
                    <a:lnTo>
                      <a:pt x="3172" y="502"/>
                    </a:lnTo>
                    <a:lnTo>
                      <a:pt x="3140" y="487"/>
                    </a:lnTo>
                    <a:lnTo>
                      <a:pt x="3112" y="473"/>
                    </a:lnTo>
                    <a:lnTo>
                      <a:pt x="3076" y="462"/>
                    </a:lnTo>
                    <a:lnTo>
                      <a:pt x="3044" y="448"/>
                    </a:lnTo>
                    <a:lnTo>
                      <a:pt x="3016" y="433"/>
                    </a:lnTo>
                    <a:lnTo>
                      <a:pt x="2980" y="422"/>
                    </a:lnTo>
                    <a:lnTo>
                      <a:pt x="2948" y="408"/>
                    </a:lnTo>
                    <a:lnTo>
                      <a:pt x="2916" y="393"/>
                    </a:lnTo>
                    <a:lnTo>
                      <a:pt x="2884" y="379"/>
                    </a:lnTo>
                    <a:lnTo>
                      <a:pt x="2847" y="365"/>
                    </a:lnTo>
                    <a:lnTo>
                      <a:pt x="2815" y="351"/>
                    </a:lnTo>
                    <a:lnTo>
                      <a:pt x="2783" y="336"/>
                    </a:lnTo>
                    <a:lnTo>
                      <a:pt x="2747" y="325"/>
                    </a:lnTo>
                    <a:lnTo>
                      <a:pt x="2715" y="311"/>
                    </a:lnTo>
                    <a:lnTo>
                      <a:pt x="2683" y="297"/>
                    </a:lnTo>
                    <a:lnTo>
                      <a:pt x="2651" y="285"/>
                    </a:lnTo>
                    <a:lnTo>
                      <a:pt x="2619" y="271"/>
                    </a:lnTo>
                    <a:lnTo>
                      <a:pt x="2591" y="260"/>
                    </a:lnTo>
                    <a:lnTo>
                      <a:pt x="2559" y="245"/>
                    </a:lnTo>
                    <a:lnTo>
                      <a:pt x="2527" y="231"/>
                    </a:lnTo>
                    <a:lnTo>
                      <a:pt x="2500" y="220"/>
                    </a:lnTo>
                    <a:lnTo>
                      <a:pt x="2472" y="208"/>
                    </a:lnTo>
                    <a:lnTo>
                      <a:pt x="2440" y="194"/>
                    </a:lnTo>
                    <a:lnTo>
                      <a:pt x="2413" y="183"/>
                    </a:lnTo>
                    <a:lnTo>
                      <a:pt x="2386" y="171"/>
                    </a:lnTo>
                    <a:lnTo>
                      <a:pt x="2363" y="160"/>
                    </a:lnTo>
                    <a:lnTo>
                      <a:pt x="2335" y="151"/>
                    </a:lnTo>
                    <a:lnTo>
                      <a:pt x="2308" y="140"/>
                    </a:lnTo>
                    <a:lnTo>
                      <a:pt x="2285" y="131"/>
                    </a:lnTo>
                    <a:lnTo>
                      <a:pt x="2262" y="123"/>
                    </a:lnTo>
                    <a:lnTo>
                      <a:pt x="2244" y="112"/>
                    </a:lnTo>
                    <a:lnTo>
                      <a:pt x="2221" y="106"/>
                    </a:lnTo>
                    <a:lnTo>
                      <a:pt x="2203" y="97"/>
                    </a:lnTo>
                    <a:lnTo>
                      <a:pt x="2185" y="89"/>
                    </a:lnTo>
                    <a:lnTo>
                      <a:pt x="2166" y="83"/>
                    </a:lnTo>
                    <a:lnTo>
                      <a:pt x="2153" y="74"/>
                    </a:lnTo>
                    <a:lnTo>
                      <a:pt x="2134" y="69"/>
                    </a:lnTo>
                    <a:lnTo>
                      <a:pt x="2125" y="66"/>
                    </a:lnTo>
                    <a:lnTo>
                      <a:pt x="2116" y="60"/>
                    </a:lnTo>
                    <a:lnTo>
                      <a:pt x="2098" y="55"/>
                    </a:lnTo>
                    <a:lnTo>
                      <a:pt x="2089" y="49"/>
                    </a:lnTo>
                    <a:lnTo>
                      <a:pt x="2079" y="46"/>
                    </a:lnTo>
                    <a:lnTo>
                      <a:pt x="2061" y="43"/>
                    </a:lnTo>
                    <a:lnTo>
                      <a:pt x="2052" y="37"/>
                    </a:lnTo>
                    <a:lnTo>
                      <a:pt x="2043" y="35"/>
                    </a:lnTo>
                    <a:lnTo>
                      <a:pt x="2025" y="32"/>
                    </a:lnTo>
                    <a:lnTo>
                      <a:pt x="2015" y="26"/>
                    </a:lnTo>
                    <a:lnTo>
                      <a:pt x="2006" y="23"/>
                    </a:lnTo>
                    <a:lnTo>
                      <a:pt x="1993" y="20"/>
                    </a:lnTo>
                    <a:lnTo>
                      <a:pt x="1979" y="20"/>
                    </a:lnTo>
                    <a:lnTo>
                      <a:pt x="1970" y="15"/>
                    </a:lnTo>
                    <a:lnTo>
                      <a:pt x="1956" y="15"/>
                    </a:lnTo>
                    <a:lnTo>
                      <a:pt x="1947" y="12"/>
                    </a:lnTo>
                    <a:lnTo>
                      <a:pt x="1938" y="12"/>
                    </a:lnTo>
                    <a:lnTo>
                      <a:pt x="1924" y="9"/>
                    </a:lnTo>
                    <a:lnTo>
                      <a:pt x="1915" y="9"/>
                    </a:lnTo>
                    <a:lnTo>
                      <a:pt x="1901" y="6"/>
                    </a:lnTo>
                    <a:lnTo>
                      <a:pt x="1892" y="6"/>
                    </a:lnTo>
                    <a:lnTo>
                      <a:pt x="1869" y="0"/>
                    </a:lnTo>
                    <a:lnTo>
                      <a:pt x="1856" y="0"/>
                    </a:lnTo>
                    <a:lnTo>
                      <a:pt x="1833" y="0"/>
                    </a:lnTo>
                    <a:lnTo>
                      <a:pt x="1814" y="0"/>
                    </a:lnTo>
                    <a:lnTo>
                      <a:pt x="1796" y="0"/>
                    </a:lnTo>
                    <a:lnTo>
                      <a:pt x="1782" y="3"/>
                    </a:lnTo>
                    <a:lnTo>
                      <a:pt x="1764" y="3"/>
                    </a:lnTo>
                    <a:lnTo>
                      <a:pt x="1750" y="6"/>
                    </a:lnTo>
                    <a:lnTo>
                      <a:pt x="1732" y="6"/>
                    </a:lnTo>
                    <a:lnTo>
                      <a:pt x="1718" y="9"/>
                    </a:lnTo>
                    <a:lnTo>
                      <a:pt x="1700" y="9"/>
                    </a:lnTo>
                    <a:lnTo>
                      <a:pt x="1696" y="9"/>
                    </a:lnTo>
                    <a:lnTo>
                      <a:pt x="1682" y="12"/>
                    </a:lnTo>
                    <a:lnTo>
                      <a:pt x="1673" y="15"/>
                    </a:lnTo>
                    <a:lnTo>
                      <a:pt x="1654" y="20"/>
                    </a:lnTo>
                    <a:lnTo>
                      <a:pt x="1641" y="20"/>
                    </a:lnTo>
                    <a:lnTo>
                      <a:pt x="1636" y="23"/>
                    </a:lnTo>
                    <a:lnTo>
                      <a:pt x="1632" y="2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0" name="Freeform 13"/>
              <p:cNvSpPr>
                <a:spLocks/>
              </p:cNvSpPr>
              <p:nvPr>
                <p:custDataLst>
                  <p:tags r:id="rId142"/>
                </p:custDataLst>
              </p:nvPr>
            </p:nvSpPr>
            <p:spPr bwMode="gray">
              <a:xfrm>
                <a:off x="1358" y="666"/>
                <a:ext cx="1270" cy="535"/>
              </a:xfrm>
              <a:custGeom>
                <a:avLst/>
                <a:gdLst>
                  <a:gd name="T0" fmla="*/ 1470 w 1239"/>
                  <a:gd name="T1" fmla="*/ 9 h 587"/>
                  <a:gd name="T2" fmla="*/ 1384 w 1239"/>
                  <a:gd name="T3" fmla="*/ 15 h 587"/>
                  <a:gd name="T4" fmla="*/ 1298 w 1239"/>
                  <a:gd name="T5" fmla="*/ 24 h 587"/>
                  <a:gd name="T6" fmla="*/ 1213 w 1239"/>
                  <a:gd name="T7" fmla="*/ 33 h 587"/>
                  <a:gd name="T8" fmla="*/ 1132 w 1239"/>
                  <a:gd name="T9" fmla="*/ 42 h 587"/>
                  <a:gd name="T10" fmla="*/ 1053 w 1239"/>
                  <a:gd name="T11" fmla="*/ 50 h 587"/>
                  <a:gd name="T12" fmla="*/ 971 w 1239"/>
                  <a:gd name="T13" fmla="*/ 59 h 587"/>
                  <a:gd name="T14" fmla="*/ 898 w 1239"/>
                  <a:gd name="T15" fmla="*/ 67 h 587"/>
                  <a:gd name="T16" fmla="*/ 818 w 1239"/>
                  <a:gd name="T17" fmla="*/ 77 h 587"/>
                  <a:gd name="T18" fmla="*/ 744 w 1239"/>
                  <a:gd name="T19" fmla="*/ 87 h 587"/>
                  <a:gd name="T20" fmla="*/ 669 w 1239"/>
                  <a:gd name="T21" fmla="*/ 95 h 587"/>
                  <a:gd name="T22" fmla="*/ 602 w 1239"/>
                  <a:gd name="T23" fmla="*/ 104 h 587"/>
                  <a:gd name="T24" fmla="*/ 542 w 1239"/>
                  <a:gd name="T25" fmla="*/ 113 h 587"/>
                  <a:gd name="T26" fmla="*/ 473 w 1239"/>
                  <a:gd name="T27" fmla="*/ 120 h 587"/>
                  <a:gd name="T28" fmla="*/ 418 w 1239"/>
                  <a:gd name="T29" fmla="*/ 129 h 587"/>
                  <a:gd name="T30" fmla="*/ 363 w 1239"/>
                  <a:gd name="T31" fmla="*/ 136 h 587"/>
                  <a:gd name="T32" fmla="*/ 302 w 1239"/>
                  <a:gd name="T33" fmla="*/ 145 h 587"/>
                  <a:gd name="T34" fmla="*/ 258 w 1239"/>
                  <a:gd name="T35" fmla="*/ 152 h 587"/>
                  <a:gd name="T36" fmla="*/ 215 w 1239"/>
                  <a:gd name="T37" fmla="*/ 159 h 587"/>
                  <a:gd name="T38" fmla="*/ 172 w 1239"/>
                  <a:gd name="T39" fmla="*/ 165 h 587"/>
                  <a:gd name="T40" fmla="*/ 130 w 1239"/>
                  <a:gd name="T41" fmla="*/ 170 h 587"/>
                  <a:gd name="T42" fmla="*/ 97 w 1239"/>
                  <a:gd name="T43" fmla="*/ 175 h 587"/>
                  <a:gd name="T44" fmla="*/ 66 w 1239"/>
                  <a:gd name="T45" fmla="*/ 181 h 587"/>
                  <a:gd name="T46" fmla="*/ 44 w 1239"/>
                  <a:gd name="T47" fmla="*/ 183 h 587"/>
                  <a:gd name="T48" fmla="*/ 14 w 1239"/>
                  <a:gd name="T49" fmla="*/ 190 h 587"/>
                  <a:gd name="T50" fmla="*/ 0 w 1239"/>
                  <a:gd name="T51" fmla="*/ 191 h 587"/>
                  <a:gd name="T52" fmla="*/ 0 w 1239"/>
                  <a:gd name="T53" fmla="*/ 191 h 587"/>
                  <a:gd name="T54" fmla="*/ 35 w 1239"/>
                  <a:gd name="T55" fmla="*/ 190 h 587"/>
                  <a:gd name="T56" fmla="*/ 66 w 1239"/>
                  <a:gd name="T57" fmla="*/ 183 h 587"/>
                  <a:gd name="T58" fmla="*/ 97 w 1239"/>
                  <a:gd name="T59" fmla="*/ 178 h 587"/>
                  <a:gd name="T60" fmla="*/ 141 w 1239"/>
                  <a:gd name="T61" fmla="*/ 173 h 587"/>
                  <a:gd name="T62" fmla="*/ 185 w 1239"/>
                  <a:gd name="T63" fmla="*/ 167 h 587"/>
                  <a:gd name="T64" fmla="*/ 234 w 1239"/>
                  <a:gd name="T65" fmla="*/ 160 h 587"/>
                  <a:gd name="T66" fmla="*/ 284 w 1239"/>
                  <a:gd name="T67" fmla="*/ 154 h 587"/>
                  <a:gd name="T68" fmla="*/ 344 w 1239"/>
                  <a:gd name="T69" fmla="*/ 148 h 587"/>
                  <a:gd name="T70" fmla="*/ 407 w 1239"/>
                  <a:gd name="T71" fmla="*/ 140 h 587"/>
                  <a:gd name="T72" fmla="*/ 461 w 1239"/>
                  <a:gd name="T73" fmla="*/ 132 h 587"/>
                  <a:gd name="T74" fmla="*/ 529 w 1239"/>
                  <a:gd name="T75" fmla="*/ 126 h 587"/>
                  <a:gd name="T76" fmla="*/ 602 w 1239"/>
                  <a:gd name="T77" fmla="*/ 117 h 587"/>
                  <a:gd name="T78" fmla="*/ 664 w 1239"/>
                  <a:gd name="T79" fmla="*/ 109 h 587"/>
                  <a:gd name="T80" fmla="*/ 739 w 1239"/>
                  <a:gd name="T81" fmla="*/ 102 h 587"/>
                  <a:gd name="T82" fmla="*/ 812 w 1239"/>
                  <a:gd name="T83" fmla="*/ 94 h 587"/>
                  <a:gd name="T84" fmla="*/ 879 w 1239"/>
                  <a:gd name="T85" fmla="*/ 87 h 587"/>
                  <a:gd name="T86" fmla="*/ 955 w 1239"/>
                  <a:gd name="T87" fmla="*/ 78 h 587"/>
                  <a:gd name="T88" fmla="*/ 1020 w 1239"/>
                  <a:gd name="T89" fmla="*/ 70 h 587"/>
                  <a:gd name="T90" fmla="*/ 1094 w 1239"/>
                  <a:gd name="T91" fmla="*/ 61 h 587"/>
                  <a:gd name="T92" fmla="*/ 1162 w 1239"/>
                  <a:gd name="T93" fmla="*/ 55 h 587"/>
                  <a:gd name="T94" fmla="*/ 1224 w 1239"/>
                  <a:gd name="T95" fmla="*/ 46 h 587"/>
                  <a:gd name="T96" fmla="*/ 1293 w 1239"/>
                  <a:gd name="T97" fmla="*/ 40 h 587"/>
                  <a:gd name="T98" fmla="*/ 1352 w 1239"/>
                  <a:gd name="T99" fmla="*/ 34 h 587"/>
                  <a:gd name="T100" fmla="*/ 1414 w 1239"/>
                  <a:gd name="T101" fmla="*/ 27 h 587"/>
                  <a:gd name="T102" fmla="*/ 1464 w 1239"/>
                  <a:gd name="T103" fmla="*/ 22 h 587"/>
                  <a:gd name="T104" fmla="*/ 1518 w 1239"/>
                  <a:gd name="T105" fmla="*/ 15 h 587"/>
                  <a:gd name="T106" fmla="*/ 1556 w 1239"/>
                  <a:gd name="T107" fmla="*/ 12 h 587"/>
                  <a:gd name="T108" fmla="*/ 1599 w 1239"/>
                  <a:gd name="T109" fmla="*/ 6 h 587"/>
                  <a:gd name="T110" fmla="*/ 1635 w 1239"/>
                  <a:gd name="T111" fmla="*/ 5 h 587"/>
                  <a:gd name="T112" fmla="*/ 1668 w 1239"/>
                  <a:gd name="T113" fmla="*/ 0 h 587"/>
                  <a:gd name="T114" fmla="*/ 1518 w 1239"/>
                  <a:gd name="T115" fmla="*/ 5 h 5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9"/>
                  <a:gd name="T175" fmla="*/ 0 h 587"/>
                  <a:gd name="T176" fmla="*/ 1239 w 1239"/>
                  <a:gd name="T177" fmla="*/ 587 h 5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9" h="587">
                    <a:moveTo>
                      <a:pt x="1129" y="14"/>
                    </a:moveTo>
                    <a:lnTo>
                      <a:pt x="1093" y="26"/>
                    </a:lnTo>
                    <a:lnTo>
                      <a:pt x="1061" y="34"/>
                    </a:lnTo>
                    <a:lnTo>
                      <a:pt x="1029" y="46"/>
                    </a:lnTo>
                    <a:lnTo>
                      <a:pt x="997" y="60"/>
                    </a:lnTo>
                    <a:lnTo>
                      <a:pt x="965" y="74"/>
                    </a:lnTo>
                    <a:lnTo>
                      <a:pt x="933" y="86"/>
                    </a:lnTo>
                    <a:lnTo>
                      <a:pt x="901" y="100"/>
                    </a:lnTo>
                    <a:lnTo>
                      <a:pt x="873" y="114"/>
                    </a:lnTo>
                    <a:lnTo>
                      <a:pt x="841" y="125"/>
                    </a:lnTo>
                    <a:lnTo>
                      <a:pt x="814" y="140"/>
                    </a:lnTo>
                    <a:lnTo>
                      <a:pt x="782" y="151"/>
                    </a:lnTo>
                    <a:lnTo>
                      <a:pt x="750" y="165"/>
                    </a:lnTo>
                    <a:lnTo>
                      <a:pt x="722" y="179"/>
                    </a:lnTo>
                    <a:lnTo>
                      <a:pt x="690" y="194"/>
                    </a:lnTo>
                    <a:lnTo>
                      <a:pt x="668" y="208"/>
                    </a:lnTo>
                    <a:lnTo>
                      <a:pt x="636" y="219"/>
                    </a:lnTo>
                    <a:lnTo>
                      <a:pt x="608" y="234"/>
                    </a:lnTo>
                    <a:lnTo>
                      <a:pt x="585" y="251"/>
                    </a:lnTo>
                    <a:lnTo>
                      <a:pt x="553" y="262"/>
                    </a:lnTo>
                    <a:lnTo>
                      <a:pt x="530" y="276"/>
                    </a:lnTo>
                    <a:lnTo>
                      <a:pt x="498" y="288"/>
                    </a:lnTo>
                    <a:lnTo>
                      <a:pt x="476" y="302"/>
                    </a:lnTo>
                    <a:lnTo>
                      <a:pt x="448" y="316"/>
                    </a:lnTo>
                    <a:lnTo>
                      <a:pt x="430" y="330"/>
                    </a:lnTo>
                    <a:lnTo>
                      <a:pt x="403" y="342"/>
                    </a:lnTo>
                    <a:lnTo>
                      <a:pt x="380" y="356"/>
                    </a:lnTo>
                    <a:lnTo>
                      <a:pt x="352" y="367"/>
                    </a:lnTo>
                    <a:lnTo>
                      <a:pt x="329" y="382"/>
                    </a:lnTo>
                    <a:lnTo>
                      <a:pt x="311" y="393"/>
                    </a:lnTo>
                    <a:lnTo>
                      <a:pt x="288" y="404"/>
                    </a:lnTo>
                    <a:lnTo>
                      <a:pt x="270" y="416"/>
                    </a:lnTo>
                    <a:lnTo>
                      <a:pt x="247" y="430"/>
                    </a:lnTo>
                    <a:lnTo>
                      <a:pt x="224" y="441"/>
                    </a:lnTo>
                    <a:lnTo>
                      <a:pt x="206" y="450"/>
                    </a:lnTo>
                    <a:lnTo>
                      <a:pt x="192" y="461"/>
                    </a:lnTo>
                    <a:lnTo>
                      <a:pt x="174" y="473"/>
                    </a:lnTo>
                    <a:lnTo>
                      <a:pt x="160" y="484"/>
                    </a:lnTo>
                    <a:lnTo>
                      <a:pt x="142" y="493"/>
                    </a:lnTo>
                    <a:lnTo>
                      <a:pt x="128" y="504"/>
                    </a:lnTo>
                    <a:lnTo>
                      <a:pt x="115" y="513"/>
                    </a:lnTo>
                    <a:lnTo>
                      <a:pt x="96" y="518"/>
                    </a:lnTo>
                    <a:lnTo>
                      <a:pt x="87" y="530"/>
                    </a:lnTo>
                    <a:lnTo>
                      <a:pt x="73" y="535"/>
                    </a:lnTo>
                    <a:lnTo>
                      <a:pt x="60" y="541"/>
                    </a:lnTo>
                    <a:lnTo>
                      <a:pt x="51" y="550"/>
                    </a:lnTo>
                    <a:lnTo>
                      <a:pt x="41" y="555"/>
                    </a:lnTo>
                    <a:lnTo>
                      <a:pt x="32" y="561"/>
                    </a:lnTo>
                    <a:lnTo>
                      <a:pt x="23" y="567"/>
                    </a:lnTo>
                    <a:lnTo>
                      <a:pt x="14" y="575"/>
                    </a:lnTo>
                    <a:lnTo>
                      <a:pt x="5" y="581"/>
                    </a:lnTo>
                    <a:lnTo>
                      <a:pt x="0" y="584"/>
                    </a:lnTo>
                    <a:lnTo>
                      <a:pt x="0" y="587"/>
                    </a:lnTo>
                    <a:lnTo>
                      <a:pt x="0" y="584"/>
                    </a:lnTo>
                    <a:lnTo>
                      <a:pt x="14" y="581"/>
                    </a:lnTo>
                    <a:lnTo>
                      <a:pt x="23" y="575"/>
                    </a:lnTo>
                    <a:lnTo>
                      <a:pt x="41" y="564"/>
                    </a:lnTo>
                    <a:lnTo>
                      <a:pt x="51" y="555"/>
                    </a:lnTo>
                    <a:lnTo>
                      <a:pt x="64" y="550"/>
                    </a:lnTo>
                    <a:lnTo>
                      <a:pt x="73" y="541"/>
                    </a:lnTo>
                    <a:lnTo>
                      <a:pt x="92" y="535"/>
                    </a:lnTo>
                    <a:lnTo>
                      <a:pt x="105" y="524"/>
                    </a:lnTo>
                    <a:lnTo>
                      <a:pt x="119" y="518"/>
                    </a:lnTo>
                    <a:lnTo>
                      <a:pt x="137" y="507"/>
                    </a:lnTo>
                    <a:lnTo>
                      <a:pt x="156" y="498"/>
                    </a:lnTo>
                    <a:lnTo>
                      <a:pt x="174" y="490"/>
                    </a:lnTo>
                    <a:lnTo>
                      <a:pt x="192" y="481"/>
                    </a:lnTo>
                    <a:lnTo>
                      <a:pt x="211" y="470"/>
                    </a:lnTo>
                    <a:lnTo>
                      <a:pt x="238" y="461"/>
                    </a:lnTo>
                    <a:lnTo>
                      <a:pt x="256" y="450"/>
                    </a:lnTo>
                    <a:lnTo>
                      <a:pt x="275" y="439"/>
                    </a:lnTo>
                    <a:lnTo>
                      <a:pt x="302" y="427"/>
                    </a:lnTo>
                    <a:lnTo>
                      <a:pt x="325" y="416"/>
                    </a:lnTo>
                    <a:lnTo>
                      <a:pt x="343" y="404"/>
                    </a:lnTo>
                    <a:lnTo>
                      <a:pt x="371" y="393"/>
                    </a:lnTo>
                    <a:lnTo>
                      <a:pt x="393" y="382"/>
                    </a:lnTo>
                    <a:lnTo>
                      <a:pt x="421" y="370"/>
                    </a:lnTo>
                    <a:lnTo>
                      <a:pt x="448" y="356"/>
                    </a:lnTo>
                    <a:lnTo>
                      <a:pt x="476" y="347"/>
                    </a:lnTo>
                    <a:lnTo>
                      <a:pt x="494" y="333"/>
                    </a:lnTo>
                    <a:lnTo>
                      <a:pt x="526" y="322"/>
                    </a:lnTo>
                    <a:lnTo>
                      <a:pt x="549" y="310"/>
                    </a:lnTo>
                    <a:lnTo>
                      <a:pt x="576" y="299"/>
                    </a:lnTo>
                    <a:lnTo>
                      <a:pt x="604" y="285"/>
                    </a:lnTo>
                    <a:lnTo>
                      <a:pt x="631" y="273"/>
                    </a:lnTo>
                    <a:lnTo>
                      <a:pt x="654" y="262"/>
                    </a:lnTo>
                    <a:lnTo>
                      <a:pt x="681" y="251"/>
                    </a:lnTo>
                    <a:lnTo>
                      <a:pt x="709" y="236"/>
                    </a:lnTo>
                    <a:lnTo>
                      <a:pt x="741" y="228"/>
                    </a:lnTo>
                    <a:lnTo>
                      <a:pt x="759" y="214"/>
                    </a:lnTo>
                    <a:lnTo>
                      <a:pt x="786" y="202"/>
                    </a:lnTo>
                    <a:lnTo>
                      <a:pt x="814" y="188"/>
                    </a:lnTo>
                    <a:lnTo>
                      <a:pt x="841" y="179"/>
                    </a:lnTo>
                    <a:lnTo>
                      <a:pt x="864" y="165"/>
                    </a:lnTo>
                    <a:lnTo>
                      <a:pt x="892" y="154"/>
                    </a:lnTo>
                    <a:lnTo>
                      <a:pt x="910" y="142"/>
                    </a:lnTo>
                    <a:lnTo>
                      <a:pt x="937" y="134"/>
                    </a:lnTo>
                    <a:lnTo>
                      <a:pt x="960" y="123"/>
                    </a:lnTo>
                    <a:lnTo>
                      <a:pt x="983" y="111"/>
                    </a:lnTo>
                    <a:lnTo>
                      <a:pt x="1006" y="103"/>
                    </a:lnTo>
                    <a:lnTo>
                      <a:pt x="1029" y="91"/>
                    </a:lnTo>
                    <a:lnTo>
                      <a:pt x="1051" y="83"/>
                    </a:lnTo>
                    <a:lnTo>
                      <a:pt x="1070" y="74"/>
                    </a:lnTo>
                    <a:lnTo>
                      <a:pt x="1088" y="66"/>
                    </a:lnTo>
                    <a:lnTo>
                      <a:pt x="1111" y="57"/>
                    </a:lnTo>
                    <a:lnTo>
                      <a:pt x="1129" y="48"/>
                    </a:lnTo>
                    <a:lnTo>
                      <a:pt x="1143" y="40"/>
                    </a:lnTo>
                    <a:lnTo>
                      <a:pt x="1157" y="34"/>
                    </a:lnTo>
                    <a:lnTo>
                      <a:pt x="1175" y="26"/>
                    </a:lnTo>
                    <a:lnTo>
                      <a:pt x="1189" y="20"/>
                    </a:lnTo>
                    <a:lnTo>
                      <a:pt x="1202" y="14"/>
                    </a:lnTo>
                    <a:lnTo>
                      <a:pt x="1216" y="9"/>
                    </a:lnTo>
                    <a:lnTo>
                      <a:pt x="1230" y="3"/>
                    </a:lnTo>
                    <a:lnTo>
                      <a:pt x="1239" y="0"/>
                    </a:lnTo>
                    <a:lnTo>
                      <a:pt x="1129"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1" name="Freeform 14"/>
              <p:cNvSpPr>
                <a:spLocks/>
              </p:cNvSpPr>
              <p:nvPr>
                <p:custDataLst>
                  <p:tags r:id="rId143"/>
                </p:custDataLst>
              </p:nvPr>
            </p:nvSpPr>
            <p:spPr bwMode="gray">
              <a:xfrm>
                <a:off x="1799" y="813"/>
                <a:ext cx="740" cy="393"/>
              </a:xfrm>
              <a:custGeom>
                <a:avLst/>
                <a:gdLst>
                  <a:gd name="T0" fmla="*/ 787 w 722"/>
                  <a:gd name="T1" fmla="*/ 13 h 430"/>
                  <a:gd name="T2" fmla="*/ 732 w 722"/>
                  <a:gd name="T3" fmla="*/ 20 h 430"/>
                  <a:gd name="T4" fmla="*/ 682 w 722"/>
                  <a:gd name="T5" fmla="*/ 26 h 430"/>
                  <a:gd name="T6" fmla="*/ 633 w 722"/>
                  <a:gd name="T7" fmla="*/ 34 h 430"/>
                  <a:gd name="T8" fmla="*/ 589 w 722"/>
                  <a:gd name="T9" fmla="*/ 40 h 430"/>
                  <a:gd name="T10" fmla="*/ 541 w 722"/>
                  <a:gd name="T11" fmla="*/ 47 h 430"/>
                  <a:gd name="T12" fmla="*/ 496 w 722"/>
                  <a:gd name="T13" fmla="*/ 53 h 430"/>
                  <a:gd name="T14" fmla="*/ 455 w 722"/>
                  <a:gd name="T15" fmla="*/ 59 h 430"/>
                  <a:gd name="T16" fmla="*/ 412 w 722"/>
                  <a:gd name="T17" fmla="*/ 67 h 430"/>
                  <a:gd name="T18" fmla="*/ 369 w 722"/>
                  <a:gd name="T19" fmla="*/ 73 h 430"/>
                  <a:gd name="T20" fmla="*/ 325 w 722"/>
                  <a:gd name="T21" fmla="*/ 80 h 430"/>
                  <a:gd name="T22" fmla="*/ 294 w 722"/>
                  <a:gd name="T23" fmla="*/ 85 h 430"/>
                  <a:gd name="T24" fmla="*/ 258 w 722"/>
                  <a:gd name="T25" fmla="*/ 92 h 430"/>
                  <a:gd name="T26" fmla="*/ 227 w 722"/>
                  <a:gd name="T27" fmla="*/ 98 h 430"/>
                  <a:gd name="T28" fmla="*/ 192 w 722"/>
                  <a:gd name="T29" fmla="*/ 103 h 430"/>
                  <a:gd name="T30" fmla="*/ 159 w 722"/>
                  <a:gd name="T31" fmla="*/ 110 h 430"/>
                  <a:gd name="T32" fmla="*/ 135 w 722"/>
                  <a:gd name="T33" fmla="*/ 115 h 430"/>
                  <a:gd name="T34" fmla="*/ 108 w 722"/>
                  <a:gd name="T35" fmla="*/ 120 h 430"/>
                  <a:gd name="T36" fmla="*/ 88 w 722"/>
                  <a:gd name="T37" fmla="*/ 122 h 430"/>
                  <a:gd name="T38" fmla="*/ 63 w 722"/>
                  <a:gd name="T39" fmla="*/ 127 h 430"/>
                  <a:gd name="T40" fmla="*/ 44 w 722"/>
                  <a:gd name="T41" fmla="*/ 133 h 430"/>
                  <a:gd name="T42" fmla="*/ 14 w 722"/>
                  <a:gd name="T43" fmla="*/ 139 h 430"/>
                  <a:gd name="T44" fmla="*/ 0 w 722"/>
                  <a:gd name="T45" fmla="*/ 144 h 430"/>
                  <a:gd name="T46" fmla="*/ 4 w 722"/>
                  <a:gd name="T47" fmla="*/ 145 h 430"/>
                  <a:gd name="T48" fmla="*/ 18 w 722"/>
                  <a:gd name="T49" fmla="*/ 142 h 430"/>
                  <a:gd name="T50" fmla="*/ 58 w 722"/>
                  <a:gd name="T51" fmla="*/ 138 h 430"/>
                  <a:gd name="T52" fmla="*/ 97 w 722"/>
                  <a:gd name="T53" fmla="*/ 133 h 430"/>
                  <a:gd name="T54" fmla="*/ 122 w 722"/>
                  <a:gd name="T55" fmla="*/ 129 h 430"/>
                  <a:gd name="T56" fmla="*/ 159 w 722"/>
                  <a:gd name="T57" fmla="*/ 126 h 430"/>
                  <a:gd name="T58" fmla="*/ 183 w 722"/>
                  <a:gd name="T59" fmla="*/ 121 h 430"/>
                  <a:gd name="T60" fmla="*/ 214 w 722"/>
                  <a:gd name="T61" fmla="*/ 115 h 430"/>
                  <a:gd name="T62" fmla="*/ 252 w 722"/>
                  <a:gd name="T63" fmla="*/ 109 h 430"/>
                  <a:gd name="T64" fmla="*/ 294 w 722"/>
                  <a:gd name="T65" fmla="*/ 102 h 430"/>
                  <a:gd name="T66" fmla="*/ 325 w 722"/>
                  <a:gd name="T67" fmla="*/ 97 h 430"/>
                  <a:gd name="T68" fmla="*/ 369 w 722"/>
                  <a:gd name="T69" fmla="*/ 92 h 430"/>
                  <a:gd name="T70" fmla="*/ 412 w 722"/>
                  <a:gd name="T71" fmla="*/ 84 h 430"/>
                  <a:gd name="T72" fmla="*/ 455 w 722"/>
                  <a:gd name="T73" fmla="*/ 78 h 430"/>
                  <a:gd name="T74" fmla="*/ 492 w 722"/>
                  <a:gd name="T75" fmla="*/ 71 h 430"/>
                  <a:gd name="T76" fmla="*/ 534 w 722"/>
                  <a:gd name="T77" fmla="*/ 65 h 430"/>
                  <a:gd name="T78" fmla="*/ 578 w 722"/>
                  <a:gd name="T79" fmla="*/ 59 h 430"/>
                  <a:gd name="T80" fmla="*/ 621 w 722"/>
                  <a:gd name="T81" fmla="*/ 53 h 430"/>
                  <a:gd name="T82" fmla="*/ 656 w 722"/>
                  <a:gd name="T83" fmla="*/ 47 h 430"/>
                  <a:gd name="T84" fmla="*/ 694 w 722"/>
                  <a:gd name="T85" fmla="*/ 40 h 430"/>
                  <a:gd name="T86" fmla="*/ 736 w 722"/>
                  <a:gd name="T87" fmla="*/ 34 h 430"/>
                  <a:gd name="T88" fmla="*/ 773 w 722"/>
                  <a:gd name="T89" fmla="*/ 28 h 430"/>
                  <a:gd name="T90" fmla="*/ 810 w 722"/>
                  <a:gd name="T91" fmla="*/ 24 h 430"/>
                  <a:gd name="T92" fmla="*/ 841 w 722"/>
                  <a:gd name="T93" fmla="*/ 18 h 430"/>
                  <a:gd name="T94" fmla="*/ 877 w 722"/>
                  <a:gd name="T95" fmla="*/ 14 h 430"/>
                  <a:gd name="T96" fmla="*/ 910 w 722"/>
                  <a:gd name="T97" fmla="*/ 9 h 430"/>
                  <a:gd name="T98" fmla="*/ 935 w 722"/>
                  <a:gd name="T99" fmla="*/ 5 h 430"/>
                  <a:gd name="T100" fmla="*/ 969 w 722"/>
                  <a:gd name="T101" fmla="*/ 0 h 430"/>
                  <a:gd name="T102" fmla="*/ 810 w 722"/>
                  <a:gd name="T103" fmla="*/ 11 h 4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2"/>
                  <a:gd name="T157" fmla="*/ 0 h 430"/>
                  <a:gd name="T158" fmla="*/ 722 w 722"/>
                  <a:gd name="T159" fmla="*/ 430 h 4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2" h="430">
                    <a:moveTo>
                      <a:pt x="603" y="29"/>
                    </a:moveTo>
                    <a:lnTo>
                      <a:pt x="585" y="37"/>
                    </a:lnTo>
                    <a:lnTo>
                      <a:pt x="567" y="46"/>
                    </a:lnTo>
                    <a:lnTo>
                      <a:pt x="544" y="57"/>
                    </a:lnTo>
                    <a:lnTo>
                      <a:pt x="525" y="66"/>
                    </a:lnTo>
                    <a:lnTo>
                      <a:pt x="507" y="77"/>
                    </a:lnTo>
                    <a:lnTo>
                      <a:pt x="489" y="89"/>
                    </a:lnTo>
                    <a:lnTo>
                      <a:pt x="471" y="97"/>
                    </a:lnTo>
                    <a:lnTo>
                      <a:pt x="457" y="109"/>
                    </a:lnTo>
                    <a:lnTo>
                      <a:pt x="439" y="117"/>
                    </a:lnTo>
                    <a:lnTo>
                      <a:pt x="420" y="129"/>
                    </a:lnTo>
                    <a:lnTo>
                      <a:pt x="402" y="137"/>
                    </a:lnTo>
                    <a:lnTo>
                      <a:pt x="388" y="148"/>
                    </a:lnTo>
                    <a:lnTo>
                      <a:pt x="370" y="157"/>
                    </a:lnTo>
                    <a:lnTo>
                      <a:pt x="352" y="168"/>
                    </a:lnTo>
                    <a:lnTo>
                      <a:pt x="338" y="177"/>
                    </a:lnTo>
                    <a:lnTo>
                      <a:pt x="320" y="188"/>
                    </a:lnTo>
                    <a:lnTo>
                      <a:pt x="306" y="197"/>
                    </a:lnTo>
                    <a:lnTo>
                      <a:pt x="288" y="205"/>
                    </a:lnTo>
                    <a:lnTo>
                      <a:pt x="274" y="217"/>
                    </a:lnTo>
                    <a:lnTo>
                      <a:pt x="260" y="225"/>
                    </a:lnTo>
                    <a:lnTo>
                      <a:pt x="242" y="234"/>
                    </a:lnTo>
                    <a:lnTo>
                      <a:pt x="233" y="242"/>
                    </a:lnTo>
                    <a:lnTo>
                      <a:pt x="219" y="254"/>
                    </a:lnTo>
                    <a:lnTo>
                      <a:pt x="206" y="262"/>
                    </a:lnTo>
                    <a:lnTo>
                      <a:pt x="192" y="271"/>
                    </a:lnTo>
                    <a:lnTo>
                      <a:pt x="178" y="279"/>
                    </a:lnTo>
                    <a:lnTo>
                      <a:pt x="169" y="288"/>
                    </a:lnTo>
                    <a:lnTo>
                      <a:pt x="155" y="297"/>
                    </a:lnTo>
                    <a:lnTo>
                      <a:pt x="142" y="305"/>
                    </a:lnTo>
                    <a:lnTo>
                      <a:pt x="132" y="314"/>
                    </a:lnTo>
                    <a:lnTo>
                      <a:pt x="119" y="322"/>
                    </a:lnTo>
                    <a:lnTo>
                      <a:pt x="114" y="331"/>
                    </a:lnTo>
                    <a:lnTo>
                      <a:pt x="100" y="336"/>
                    </a:lnTo>
                    <a:lnTo>
                      <a:pt x="91" y="345"/>
                    </a:lnTo>
                    <a:lnTo>
                      <a:pt x="82" y="351"/>
                    </a:lnTo>
                    <a:lnTo>
                      <a:pt x="73" y="356"/>
                    </a:lnTo>
                    <a:lnTo>
                      <a:pt x="64" y="362"/>
                    </a:lnTo>
                    <a:lnTo>
                      <a:pt x="55" y="368"/>
                    </a:lnTo>
                    <a:lnTo>
                      <a:pt x="50" y="376"/>
                    </a:lnTo>
                    <a:lnTo>
                      <a:pt x="46" y="382"/>
                    </a:lnTo>
                    <a:lnTo>
                      <a:pt x="32" y="391"/>
                    </a:lnTo>
                    <a:lnTo>
                      <a:pt x="18" y="402"/>
                    </a:lnTo>
                    <a:lnTo>
                      <a:pt x="14" y="408"/>
                    </a:lnTo>
                    <a:lnTo>
                      <a:pt x="4" y="416"/>
                    </a:lnTo>
                    <a:lnTo>
                      <a:pt x="0" y="425"/>
                    </a:lnTo>
                    <a:lnTo>
                      <a:pt x="0" y="430"/>
                    </a:lnTo>
                    <a:lnTo>
                      <a:pt x="4" y="428"/>
                    </a:lnTo>
                    <a:lnTo>
                      <a:pt x="14" y="425"/>
                    </a:lnTo>
                    <a:lnTo>
                      <a:pt x="18" y="419"/>
                    </a:lnTo>
                    <a:lnTo>
                      <a:pt x="36" y="413"/>
                    </a:lnTo>
                    <a:lnTo>
                      <a:pt x="46" y="405"/>
                    </a:lnTo>
                    <a:lnTo>
                      <a:pt x="64" y="396"/>
                    </a:lnTo>
                    <a:lnTo>
                      <a:pt x="73" y="391"/>
                    </a:lnTo>
                    <a:lnTo>
                      <a:pt x="82" y="385"/>
                    </a:lnTo>
                    <a:lnTo>
                      <a:pt x="91" y="379"/>
                    </a:lnTo>
                    <a:lnTo>
                      <a:pt x="105" y="373"/>
                    </a:lnTo>
                    <a:lnTo>
                      <a:pt x="119" y="368"/>
                    </a:lnTo>
                    <a:lnTo>
                      <a:pt x="128" y="356"/>
                    </a:lnTo>
                    <a:lnTo>
                      <a:pt x="137" y="353"/>
                    </a:lnTo>
                    <a:lnTo>
                      <a:pt x="151" y="345"/>
                    </a:lnTo>
                    <a:lnTo>
                      <a:pt x="160" y="336"/>
                    </a:lnTo>
                    <a:lnTo>
                      <a:pt x="174" y="328"/>
                    </a:lnTo>
                    <a:lnTo>
                      <a:pt x="187" y="319"/>
                    </a:lnTo>
                    <a:lnTo>
                      <a:pt x="206" y="314"/>
                    </a:lnTo>
                    <a:lnTo>
                      <a:pt x="219" y="302"/>
                    </a:lnTo>
                    <a:lnTo>
                      <a:pt x="233" y="297"/>
                    </a:lnTo>
                    <a:lnTo>
                      <a:pt x="242" y="285"/>
                    </a:lnTo>
                    <a:lnTo>
                      <a:pt x="260" y="277"/>
                    </a:lnTo>
                    <a:lnTo>
                      <a:pt x="274" y="268"/>
                    </a:lnTo>
                    <a:lnTo>
                      <a:pt x="292" y="260"/>
                    </a:lnTo>
                    <a:lnTo>
                      <a:pt x="306" y="248"/>
                    </a:lnTo>
                    <a:lnTo>
                      <a:pt x="320" y="240"/>
                    </a:lnTo>
                    <a:lnTo>
                      <a:pt x="338" y="228"/>
                    </a:lnTo>
                    <a:lnTo>
                      <a:pt x="352" y="220"/>
                    </a:lnTo>
                    <a:lnTo>
                      <a:pt x="366" y="211"/>
                    </a:lnTo>
                    <a:lnTo>
                      <a:pt x="384" y="205"/>
                    </a:lnTo>
                    <a:lnTo>
                      <a:pt x="398" y="194"/>
                    </a:lnTo>
                    <a:lnTo>
                      <a:pt x="416" y="185"/>
                    </a:lnTo>
                    <a:lnTo>
                      <a:pt x="430" y="174"/>
                    </a:lnTo>
                    <a:lnTo>
                      <a:pt x="448" y="166"/>
                    </a:lnTo>
                    <a:lnTo>
                      <a:pt x="462" y="154"/>
                    </a:lnTo>
                    <a:lnTo>
                      <a:pt x="480" y="146"/>
                    </a:lnTo>
                    <a:lnTo>
                      <a:pt x="489" y="137"/>
                    </a:lnTo>
                    <a:lnTo>
                      <a:pt x="507" y="129"/>
                    </a:lnTo>
                    <a:lnTo>
                      <a:pt x="516" y="117"/>
                    </a:lnTo>
                    <a:lnTo>
                      <a:pt x="535" y="109"/>
                    </a:lnTo>
                    <a:lnTo>
                      <a:pt x="548" y="100"/>
                    </a:lnTo>
                    <a:lnTo>
                      <a:pt x="567" y="94"/>
                    </a:lnTo>
                    <a:lnTo>
                      <a:pt x="576" y="83"/>
                    </a:lnTo>
                    <a:lnTo>
                      <a:pt x="589" y="77"/>
                    </a:lnTo>
                    <a:lnTo>
                      <a:pt x="603" y="69"/>
                    </a:lnTo>
                    <a:lnTo>
                      <a:pt x="617" y="60"/>
                    </a:lnTo>
                    <a:lnTo>
                      <a:pt x="626" y="54"/>
                    </a:lnTo>
                    <a:lnTo>
                      <a:pt x="640" y="46"/>
                    </a:lnTo>
                    <a:lnTo>
                      <a:pt x="653" y="40"/>
                    </a:lnTo>
                    <a:lnTo>
                      <a:pt x="663" y="35"/>
                    </a:lnTo>
                    <a:lnTo>
                      <a:pt x="676" y="26"/>
                    </a:lnTo>
                    <a:lnTo>
                      <a:pt x="685" y="20"/>
                    </a:lnTo>
                    <a:lnTo>
                      <a:pt x="695" y="12"/>
                    </a:lnTo>
                    <a:lnTo>
                      <a:pt x="704" y="9"/>
                    </a:lnTo>
                    <a:lnTo>
                      <a:pt x="722" y="0"/>
                    </a:lnTo>
                    <a:lnTo>
                      <a:pt x="603" y="2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2" name="Freeform 15"/>
              <p:cNvSpPr>
                <a:spLocks/>
              </p:cNvSpPr>
              <p:nvPr>
                <p:custDataLst>
                  <p:tags r:id="rId144"/>
                </p:custDataLst>
              </p:nvPr>
            </p:nvSpPr>
            <p:spPr bwMode="gray">
              <a:xfrm>
                <a:off x="2900" y="679"/>
                <a:ext cx="1128" cy="487"/>
              </a:xfrm>
              <a:custGeom>
                <a:avLst/>
                <a:gdLst>
                  <a:gd name="T0" fmla="*/ 225 w 1101"/>
                  <a:gd name="T1" fmla="*/ 18 h 533"/>
                  <a:gd name="T2" fmla="*/ 318 w 1101"/>
                  <a:gd name="T3" fmla="*/ 28 h 533"/>
                  <a:gd name="T4" fmla="*/ 416 w 1101"/>
                  <a:gd name="T5" fmla="*/ 38 h 533"/>
                  <a:gd name="T6" fmla="*/ 507 w 1101"/>
                  <a:gd name="T7" fmla="*/ 48 h 533"/>
                  <a:gd name="T8" fmla="*/ 604 w 1101"/>
                  <a:gd name="T9" fmla="*/ 60 h 533"/>
                  <a:gd name="T10" fmla="*/ 703 w 1101"/>
                  <a:gd name="T11" fmla="*/ 72 h 533"/>
                  <a:gd name="T12" fmla="*/ 795 w 1101"/>
                  <a:gd name="T13" fmla="*/ 84 h 533"/>
                  <a:gd name="T14" fmla="*/ 881 w 1101"/>
                  <a:gd name="T15" fmla="*/ 94 h 533"/>
                  <a:gd name="T16" fmla="*/ 958 w 1101"/>
                  <a:gd name="T17" fmla="*/ 105 h 533"/>
                  <a:gd name="T18" fmla="*/ 1045 w 1101"/>
                  <a:gd name="T19" fmla="*/ 117 h 533"/>
                  <a:gd name="T20" fmla="*/ 1125 w 1101"/>
                  <a:gd name="T21" fmla="*/ 127 h 533"/>
                  <a:gd name="T22" fmla="*/ 1192 w 1101"/>
                  <a:gd name="T23" fmla="*/ 137 h 533"/>
                  <a:gd name="T24" fmla="*/ 1254 w 1101"/>
                  <a:gd name="T25" fmla="*/ 145 h 533"/>
                  <a:gd name="T26" fmla="*/ 1314 w 1101"/>
                  <a:gd name="T27" fmla="*/ 154 h 533"/>
                  <a:gd name="T28" fmla="*/ 1369 w 1101"/>
                  <a:gd name="T29" fmla="*/ 162 h 533"/>
                  <a:gd name="T30" fmla="*/ 1406 w 1101"/>
                  <a:gd name="T31" fmla="*/ 169 h 533"/>
                  <a:gd name="T32" fmla="*/ 1455 w 1101"/>
                  <a:gd name="T33" fmla="*/ 176 h 533"/>
                  <a:gd name="T34" fmla="*/ 1472 w 1101"/>
                  <a:gd name="T35" fmla="*/ 181 h 533"/>
                  <a:gd name="T36" fmla="*/ 1442 w 1101"/>
                  <a:gd name="T37" fmla="*/ 177 h 533"/>
                  <a:gd name="T38" fmla="*/ 1413 w 1101"/>
                  <a:gd name="T39" fmla="*/ 172 h 533"/>
                  <a:gd name="T40" fmla="*/ 1364 w 1101"/>
                  <a:gd name="T41" fmla="*/ 166 h 533"/>
                  <a:gd name="T42" fmla="*/ 1301 w 1101"/>
                  <a:gd name="T43" fmla="*/ 160 h 533"/>
                  <a:gd name="T44" fmla="*/ 1241 w 1101"/>
                  <a:gd name="T45" fmla="*/ 152 h 533"/>
                  <a:gd name="T46" fmla="*/ 1167 w 1101"/>
                  <a:gd name="T47" fmla="*/ 143 h 533"/>
                  <a:gd name="T48" fmla="*/ 1086 w 1101"/>
                  <a:gd name="T49" fmla="*/ 132 h 533"/>
                  <a:gd name="T50" fmla="*/ 1001 w 1101"/>
                  <a:gd name="T51" fmla="*/ 123 h 533"/>
                  <a:gd name="T52" fmla="*/ 911 w 1101"/>
                  <a:gd name="T53" fmla="*/ 112 h 533"/>
                  <a:gd name="T54" fmla="*/ 813 w 1101"/>
                  <a:gd name="T55" fmla="*/ 101 h 533"/>
                  <a:gd name="T56" fmla="*/ 721 w 1101"/>
                  <a:gd name="T57" fmla="*/ 92 h 533"/>
                  <a:gd name="T58" fmla="*/ 624 w 1101"/>
                  <a:gd name="T59" fmla="*/ 80 h 533"/>
                  <a:gd name="T60" fmla="*/ 538 w 1101"/>
                  <a:gd name="T61" fmla="*/ 69 h 533"/>
                  <a:gd name="T62" fmla="*/ 446 w 1101"/>
                  <a:gd name="T63" fmla="*/ 58 h 533"/>
                  <a:gd name="T64" fmla="*/ 361 w 1101"/>
                  <a:gd name="T65" fmla="*/ 48 h 533"/>
                  <a:gd name="T66" fmla="*/ 281 w 1101"/>
                  <a:gd name="T67" fmla="*/ 37 h 533"/>
                  <a:gd name="T68" fmla="*/ 207 w 1101"/>
                  <a:gd name="T69" fmla="*/ 31 h 533"/>
                  <a:gd name="T70" fmla="*/ 141 w 1101"/>
                  <a:gd name="T71" fmla="*/ 22 h 533"/>
                  <a:gd name="T72" fmla="*/ 92 w 1101"/>
                  <a:gd name="T73" fmla="*/ 15 h 533"/>
                  <a:gd name="T74" fmla="*/ 44 w 1101"/>
                  <a:gd name="T75" fmla="*/ 8 h 533"/>
                  <a:gd name="T76" fmla="*/ 9 w 1101"/>
                  <a:gd name="T77" fmla="*/ 5 h 533"/>
                  <a:gd name="T78" fmla="*/ 0 w 1101"/>
                  <a:gd name="T79" fmla="*/ 0 h 533"/>
                  <a:gd name="T80" fmla="*/ 39 w 1101"/>
                  <a:gd name="T81" fmla="*/ 3 h 533"/>
                  <a:gd name="T82" fmla="*/ 92 w 1101"/>
                  <a:gd name="T83" fmla="*/ 5 h 533"/>
                  <a:gd name="T84" fmla="*/ 135 w 1101"/>
                  <a:gd name="T85" fmla="*/ 10 h 533"/>
                  <a:gd name="T86" fmla="*/ 164 w 1101"/>
                  <a:gd name="T87" fmla="*/ 13 h 5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01"/>
                  <a:gd name="T133" fmla="*/ 0 h 533"/>
                  <a:gd name="T134" fmla="*/ 1101 w 1101"/>
                  <a:gd name="T135" fmla="*/ 533 h 5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01" h="533">
                    <a:moveTo>
                      <a:pt x="128" y="37"/>
                    </a:moveTo>
                    <a:lnTo>
                      <a:pt x="151" y="46"/>
                    </a:lnTo>
                    <a:lnTo>
                      <a:pt x="169" y="54"/>
                    </a:lnTo>
                    <a:lnTo>
                      <a:pt x="192" y="63"/>
                    </a:lnTo>
                    <a:lnTo>
                      <a:pt x="215" y="74"/>
                    </a:lnTo>
                    <a:lnTo>
                      <a:pt x="238" y="83"/>
                    </a:lnTo>
                    <a:lnTo>
                      <a:pt x="265" y="91"/>
                    </a:lnTo>
                    <a:lnTo>
                      <a:pt x="283" y="103"/>
                    </a:lnTo>
                    <a:lnTo>
                      <a:pt x="311" y="114"/>
                    </a:lnTo>
                    <a:lnTo>
                      <a:pt x="334" y="126"/>
                    </a:lnTo>
                    <a:lnTo>
                      <a:pt x="352" y="137"/>
                    </a:lnTo>
                    <a:lnTo>
                      <a:pt x="379" y="146"/>
                    </a:lnTo>
                    <a:lnTo>
                      <a:pt x="407" y="157"/>
                    </a:lnTo>
                    <a:lnTo>
                      <a:pt x="425" y="165"/>
                    </a:lnTo>
                    <a:lnTo>
                      <a:pt x="452" y="180"/>
                    </a:lnTo>
                    <a:lnTo>
                      <a:pt x="475" y="191"/>
                    </a:lnTo>
                    <a:lnTo>
                      <a:pt x="503" y="202"/>
                    </a:lnTo>
                    <a:lnTo>
                      <a:pt x="525" y="214"/>
                    </a:lnTo>
                    <a:lnTo>
                      <a:pt x="548" y="222"/>
                    </a:lnTo>
                    <a:lnTo>
                      <a:pt x="571" y="237"/>
                    </a:lnTo>
                    <a:lnTo>
                      <a:pt x="594" y="245"/>
                    </a:lnTo>
                    <a:lnTo>
                      <a:pt x="612" y="257"/>
                    </a:lnTo>
                    <a:lnTo>
                      <a:pt x="635" y="268"/>
                    </a:lnTo>
                    <a:lnTo>
                      <a:pt x="658" y="279"/>
                    </a:lnTo>
                    <a:lnTo>
                      <a:pt x="681" y="291"/>
                    </a:lnTo>
                    <a:lnTo>
                      <a:pt x="699" y="299"/>
                    </a:lnTo>
                    <a:lnTo>
                      <a:pt x="717" y="311"/>
                    </a:lnTo>
                    <a:lnTo>
                      <a:pt x="740" y="322"/>
                    </a:lnTo>
                    <a:lnTo>
                      <a:pt x="763" y="333"/>
                    </a:lnTo>
                    <a:lnTo>
                      <a:pt x="781" y="345"/>
                    </a:lnTo>
                    <a:lnTo>
                      <a:pt x="800" y="353"/>
                    </a:lnTo>
                    <a:lnTo>
                      <a:pt x="823" y="365"/>
                    </a:lnTo>
                    <a:lnTo>
                      <a:pt x="841" y="376"/>
                    </a:lnTo>
                    <a:lnTo>
                      <a:pt x="859" y="385"/>
                    </a:lnTo>
                    <a:lnTo>
                      <a:pt x="877" y="393"/>
                    </a:lnTo>
                    <a:lnTo>
                      <a:pt x="891" y="405"/>
                    </a:lnTo>
                    <a:lnTo>
                      <a:pt x="909" y="413"/>
                    </a:lnTo>
                    <a:lnTo>
                      <a:pt x="923" y="422"/>
                    </a:lnTo>
                    <a:lnTo>
                      <a:pt x="937" y="430"/>
                    </a:lnTo>
                    <a:lnTo>
                      <a:pt x="955" y="439"/>
                    </a:lnTo>
                    <a:lnTo>
                      <a:pt x="969" y="450"/>
                    </a:lnTo>
                    <a:lnTo>
                      <a:pt x="982" y="456"/>
                    </a:lnTo>
                    <a:lnTo>
                      <a:pt x="996" y="464"/>
                    </a:lnTo>
                    <a:lnTo>
                      <a:pt x="1010" y="473"/>
                    </a:lnTo>
                    <a:lnTo>
                      <a:pt x="1024" y="479"/>
                    </a:lnTo>
                    <a:lnTo>
                      <a:pt x="1028" y="484"/>
                    </a:lnTo>
                    <a:lnTo>
                      <a:pt x="1042" y="493"/>
                    </a:lnTo>
                    <a:lnTo>
                      <a:pt x="1051" y="499"/>
                    </a:lnTo>
                    <a:lnTo>
                      <a:pt x="1060" y="504"/>
                    </a:lnTo>
                    <a:lnTo>
                      <a:pt x="1078" y="516"/>
                    </a:lnTo>
                    <a:lnTo>
                      <a:pt x="1088" y="521"/>
                    </a:lnTo>
                    <a:lnTo>
                      <a:pt x="1097" y="527"/>
                    </a:lnTo>
                    <a:lnTo>
                      <a:pt x="1101" y="530"/>
                    </a:lnTo>
                    <a:lnTo>
                      <a:pt x="1101" y="533"/>
                    </a:lnTo>
                    <a:lnTo>
                      <a:pt x="1097" y="533"/>
                    </a:lnTo>
                    <a:lnTo>
                      <a:pt x="1092" y="527"/>
                    </a:lnTo>
                    <a:lnTo>
                      <a:pt x="1078" y="524"/>
                    </a:lnTo>
                    <a:lnTo>
                      <a:pt x="1074" y="521"/>
                    </a:lnTo>
                    <a:lnTo>
                      <a:pt x="1065" y="516"/>
                    </a:lnTo>
                    <a:lnTo>
                      <a:pt x="1056" y="510"/>
                    </a:lnTo>
                    <a:lnTo>
                      <a:pt x="1042" y="504"/>
                    </a:lnTo>
                    <a:lnTo>
                      <a:pt x="1033" y="501"/>
                    </a:lnTo>
                    <a:lnTo>
                      <a:pt x="1019" y="493"/>
                    </a:lnTo>
                    <a:lnTo>
                      <a:pt x="1005" y="487"/>
                    </a:lnTo>
                    <a:lnTo>
                      <a:pt x="992" y="482"/>
                    </a:lnTo>
                    <a:lnTo>
                      <a:pt x="973" y="473"/>
                    </a:lnTo>
                    <a:lnTo>
                      <a:pt x="960" y="467"/>
                    </a:lnTo>
                    <a:lnTo>
                      <a:pt x="941" y="459"/>
                    </a:lnTo>
                    <a:lnTo>
                      <a:pt x="928" y="450"/>
                    </a:lnTo>
                    <a:lnTo>
                      <a:pt x="909" y="442"/>
                    </a:lnTo>
                    <a:lnTo>
                      <a:pt x="891" y="433"/>
                    </a:lnTo>
                    <a:lnTo>
                      <a:pt x="873" y="425"/>
                    </a:lnTo>
                    <a:lnTo>
                      <a:pt x="855" y="416"/>
                    </a:lnTo>
                    <a:lnTo>
                      <a:pt x="832" y="405"/>
                    </a:lnTo>
                    <a:lnTo>
                      <a:pt x="813" y="393"/>
                    </a:lnTo>
                    <a:lnTo>
                      <a:pt x="791" y="385"/>
                    </a:lnTo>
                    <a:lnTo>
                      <a:pt x="768" y="376"/>
                    </a:lnTo>
                    <a:lnTo>
                      <a:pt x="749" y="365"/>
                    </a:lnTo>
                    <a:lnTo>
                      <a:pt x="722" y="353"/>
                    </a:lnTo>
                    <a:lnTo>
                      <a:pt x="699" y="342"/>
                    </a:lnTo>
                    <a:lnTo>
                      <a:pt x="681" y="333"/>
                    </a:lnTo>
                    <a:lnTo>
                      <a:pt x="658" y="322"/>
                    </a:lnTo>
                    <a:lnTo>
                      <a:pt x="631" y="311"/>
                    </a:lnTo>
                    <a:lnTo>
                      <a:pt x="608" y="299"/>
                    </a:lnTo>
                    <a:lnTo>
                      <a:pt x="589" y="291"/>
                    </a:lnTo>
                    <a:lnTo>
                      <a:pt x="562" y="279"/>
                    </a:lnTo>
                    <a:lnTo>
                      <a:pt x="539" y="268"/>
                    </a:lnTo>
                    <a:lnTo>
                      <a:pt x="516" y="257"/>
                    </a:lnTo>
                    <a:lnTo>
                      <a:pt x="493" y="248"/>
                    </a:lnTo>
                    <a:lnTo>
                      <a:pt x="466" y="237"/>
                    </a:lnTo>
                    <a:lnTo>
                      <a:pt x="443" y="225"/>
                    </a:lnTo>
                    <a:lnTo>
                      <a:pt x="425" y="214"/>
                    </a:lnTo>
                    <a:lnTo>
                      <a:pt x="402" y="202"/>
                    </a:lnTo>
                    <a:lnTo>
                      <a:pt x="375" y="194"/>
                    </a:lnTo>
                    <a:lnTo>
                      <a:pt x="352" y="183"/>
                    </a:lnTo>
                    <a:lnTo>
                      <a:pt x="334" y="171"/>
                    </a:lnTo>
                    <a:lnTo>
                      <a:pt x="315" y="160"/>
                    </a:lnTo>
                    <a:lnTo>
                      <a:pt x="292" y="151"/>
                    </a:lnTo>
                    <a:lnTo>
                      <a:pt x="270" y="140"/>
                    </a:lnTo>
                    <a:lnTo>
                      <a:pt x="247" y="128"/>
                    </a:lnTo>
                    <a:lnTo>
                      <a:pt x="228" y="123"/>
                    </a:lnTo>
                    <a:lnTo>
                      <a:pt x="210" y="111"/>
                    </a:lnTo>
                    <a:lnTo>
                      <a:pt x="187" y="103"/>
                    </a:lnTo>
                    <a:lnTo>
                      <a:pt x="174" y="94"/>
                    </a:lnTo>
                    <a:lnTo>
                      <a:pt x="155" y="89"/>
                    </a:lnTo>
                    <a:lnTo>
                      <a:pt x="142" y="77"/>
                    </a:lnTo>
                    <a:lnTo>
                      <a:pt x="123" y="69"/>
                    </a:lnTo>
                    <a:lnTo>
                      <a:pt x="105" y="63"/>
                    </a:lnTo>
                    <a:lnTo>
                      <a:pt x="96" y="54"/>
                    </a:lnTo>
                    <a:lnTo>
                      <a:pt x="78" y="49"/>
                    </a:lnTo>
                    <a:lnTo>
                      <a:pt x="68" y="43"/>
                    </a:lnTo>
                    <a:lnTo>
                      <a:pt x="59" y="34"/>
                    </a:lnTo>
                    <a:lnTo>
                      <a:pt x="46" y="32"/>
                    </a:lnTo>
                    <a:lnTo>
                      <a:pt x="32" y="23"/>
                    </a:lnTo>
                    <a:lnTo>
                      <a:pt x="27" y="20"/>
                    </a:lnTo>
                    <a:lnTo>
                      <a:pt x="18" y="17"/>
                    </a:lnTo>
                    <a:lnTo>
                      <a:pt x="9" y="12"/>
                    </a:lnTo>
                    <a:lnTo>
                      <a:pt x="4" y="9"/>
                    </a:lnTo>
                    <a:lnTo>
                      <a:pt x="0" y="3"/>
                    </a:lnTo>
                    <a:lnTo>
                      <a:pt x="0" y="0"/>
                    </a:lnTo>
                    <a:lnTo>
                      <a:pt x="9" y="0"/>
                    </a:lnTo>
                    <a:lnTo>
                      <a:pt x="18" y="0"/>
                    </a:lnTo>
                    <a:lnTo>
                      <a:pt x="27" y="3"/>
                    </a:lnTo>
                    <a:lnTo>
                      <a:pt x="46" y="6"/>
                    </a:lnTo>
                    <a:lnTo>
                      <a:pt x="59" y="12"/>
                    </a:lnTo>
                    <a:lnTo>
                      <a:pt x="68" y="15"/>
                    </a:lnTo>
                    <a:lnTo>
                      <a:pt x="78" y="20"/>
                    </a:lnTo>
                    <a:lnTo>
                      <a:pt x="91" y="23"/>
                    </a:lnTo>
                    <a:lnTo>
                      <a:pt x="100" y="29"/>
                    </a:lnTo>
                    <a:lnTo>
                      <a:pt x="114" y="32"/>
                    </a:lnTo>
                    <a:lnTo>
                      <a:pt x="119" y="34"/>
                    </a:lnTo>
                    <a:lnTo>
                      <a:pt x="123" y="37"/>
                    </a:lnTo>
                    <a:lnTo>
                      <a:pt x="128"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3" name="Freeform 16"/>
              <p:cNvSpPr>
                <a:spLocks/>
              </p:cNvSpPr>
              <p:nvPr>
                <p:custDataLst>
                  <p:tags r:id="rId145"/>
                </p:custDataLst>
              </p:nvPr>
            </p:nvSpPr>
            <p:spPr bwMode="gray">
              <a:xfrm>
                <a:off x="1476" y="993"/>
                <a:ext cx="2230" cy="143"/>
              </a:xfrm>
              <a:custGeom>
                <a:avLst/>
                <a:gdLst>
                  <a:gd name="T0" fmla="*/ 338 w 2175"/>
                  <a:gd name="T1" fmla="*/ 19 h 156"/>
                  <a:gd name="T2" fmla="*/ 559 w 2175"/>
                  <a:gd name="T3" fmla="*/ 28 h 156"/>
                  <a:gd name="T4" fmla="*/ 776 w 2175"/>
                  <a:gd name="T5" fmla="*/ 37 h 156"/>
                  <a:gd name="T6" fmla="*/ 994 w 2175"/>
                  <a:gd name="T7" fmla="*/ 42 h 156"/>
                  <a:gd name="T8" fmla="*/ 1195 w 2175"/>
                  <a:gd name="T9" fmla="*/ 47 h 156"/>
                  <a:gd name="T10" fmla="*/ 1400 w 2175"/>
                  <a:gd name="T11" fmla="*/ 51 h 156"/>
                  <a:gd name="T12" fmla="*/ 1591 w 2175"/>
                  <a:gd name="T13" fmla="*/ 53 h 156"/>
                  <a:gd name="T14" fmla="*/ 1762 w 2175"/>
                  <a:gd name="T15" fmla="*/ 56 h 156"/>
                  <a:gd name="T16" fmla="*/ 1935 w 2175"/>
                  <a:gd name="T17" fmla="*/ 56 h 156"/>
                  <a:gd name="T18" fmla="*/ 2094 w 2175"/>
                  <a:gd name="T19" fmla="*/ 56 h 156"/>
                  <a:gd name="T20" fmla="*/ 2249 w 2175"/>
                  <a:gd name="T21" fmla="*/ 56 h 156"/>
                  <a:gd name="T22" fmla="*/ 2386 w 2175"/>
                  <a:gd name="T23" fmla="*/ 52 h 156"/>
                  <a:gd name="T24" fmla="*/ 2503 w 2175"/>
                  <a:gd name="T25" fmla="*/ 51 h 156"/>
                  <a:gd name="T26" fmla="*/ 2612 w 2175"/>
                  <a:gd name="T27" fmla="*/ 48 h 156"/>
                  <a:gd name="T28" fmla="*/ 2713 w 2175"/>
                  <a:gd name="T29" fmla="*/ 47 h 156"/>
                  <a:gd name="T30" fmla="*/ 2793 w 2175"/>
                  <a:gd name="T31" fmla="*/ 44 h 156"/>
                  <a:gd name="T32" fmla="*/ 2849 w 2175"/>
                  <a:gd name="T33" fmla="*/ 41 h 156"/>
                  <a:gd name="T34" fmla="*/ 2900 w 2175"/>
                  <a:gd name="T35" fmla="*/ 39 h 156"/>
                  <a:gd name="T36" fmla="*/ 2928 w 2175"/>
                  <a:gd name="T37" fmla="*/ 39 h 156"/>
                  <a:gd name="T38" fmla="*/ 2911 w 2175"/>
                  <a:gd name="T39" fmla="*/ 39 h 156"/>
                  <a:gd name="T40" fmla="*/ 2867 w 2175"/>
                  <a:gd name="T41" fmla="*/ 39 h 156"/>
                  <a:gd name="T42" fmla="*/ 2817 w 2175"/>
                  <a:gd name="T43" fmla="*/ 39 h 156"/>
                  <a:gd name="T44" fmla="*/ 2769 w 2175"/>
                  <a:gd name="T45" fmla="*/ 39 h 156"/>
                  <a:gd name="T46" fmla="*/ 2706 w 2175"/>
                  <a:gd name="T47" fmla="*/ 39 h 156"/>
                  <a:gd name="T48" fmla="*/ 2638 w 2175"/>
                  <a:gd name="T49" fmla="*/ 39 h 156"/>
                  <a:gd name="T50" fmla="*/ 2565 w 2175"/>
                  <a:gd name="T51" fmla="*/ 41 h 156"/>
                  <a:gd name="T52" fmla="*/ 2484 w 2175"/>
                  <a:gd name="T53" fmla="*/ 41 h 156"/>
                  <a:gd name="T54" fmla="*/ 2398 w 2175"/>
                  <a:gd name="T55" fmla="*/ 42 h 156"/>
                  <a:gd name="T56" fmla="*/ 2312 w 2175"/>
                  <a:gd name="T57" fmla="*/ 42 h 156"/>
                  <a:gd name="T58" fmla="*/ 2226 w 2175"/>
                  <a:gd name="T59" fmla="*/ 42 h 156"/>
                  <a:gd name="T60" fmla="*/ 2133 w 2175"/>
                  <a:gd name="T61" fmla="*/ 42 h 156"/>
                  <a:gd name="T62" fmla="*/ 2038 w 2175"/>
                  <a:gd name="T63" fmla="*/ 42 h 156"/>
                  <a:gd name="T64" fmla="*/ 1935 w 2175"/>
                  <a:gd name="T65" fmla="*/ 42 h 156"/>
                  <a:gd name="T66" fmla="*/ 1841 w 2175"/>
                  <a:gd name="T67" fmla="*/ 42 h 156"/>
                  <a:gd name="T68" fmla="*/ 1745 w 2175"/>
                  <a:gd name="T69" fmla="*/ 41 h 156"/>
                  <a:gd name="T70" fmla="*/ 1653 w 2175"/>
                  <a:gd name="T71" fmla="*/ 41 h 156"/>
                  <a:gd name="T72" fmla="*/ 1553 w 2175"/>
                  <a:gd name="T73" fmla="*/ 39 h 156"/>
                  <a:gd name="T74" fmla="*/ 1454 w 2175"/>
                  <a:gd name="T75" fmla="*/ 39 h 156"/>
                  <a:gd name="T76" fmla="*/ 1369 w 2175"/>
                  <a:gd name="T77" fmla="*/ 37 h 156"/>
                  <a:gd name="T78" fmla="*/ 1276 w 2175"/>
                  <a:gd name="T79" fmla="*/ 36 h 156"/>
                  <a:gd name="T80" fmla="*/ 1195 w 2175"/>
                  <a:gd name="T81" fmla="*/ 35 h 156"/>
                  <a:gd name="T82" fmla="*/ 1117 w 2175"/>
                  <a:gd name="T83" fmla="*/ 32 h 156"/>
                  <a:gd name="T84" fmla="*/ 1029 w 2175"/>
                  <a:gd name="T85" fmla="*/ 29 h 156"/>
                  <a:gd name="T86" fmla="*/ 949 w 2175"/>
                  <a:gd name="T87" fmla="*/ 28 h 156"/>
                  <a:gd name="T88" fmla="*/ 868 w 2175"/>
                  <a:gd name="T89" fmla="*/ 24 h 156"/>
                  <a:gd name="T90" fmla="*/ 790 w 2175"/>
                  <a:gd name="T91" fmla="*/ 23 h 156"/>
                  <a:gd name="T92" fmla="*/ 708 w 2175"/>
                  <a:gd name="T93" fmla="*/ 20 h 156"/>
                  <a:gd name="T94" fmla="*/ 633 w 2175"/>
                  <a:gd name="T95" fmla="*/ 17 h 156"/>
                  <a:gd name="T96" fmla="*/ 559 w 2175"/>
                  <a:gd name="T97" fmla="*/ 15 h 156"/>
                  <a:gd name="T98" fmla="*/ 492 w 2175"/>
                  <a:gd name="T99" fmla="*/ 15 h 156"/>
                  <a:gd name="T100" fmla="*/ 424 w 2175"/>
                  <a:gd name="T101" fmla="*/ 13 h 156"/>
                  <a:gd name="T102" fmla="*/ 364 w 2175"/>
                  <a:gd name="T103" fmla="*/ 12 h 156"/>
                  <a:gd name="T104" fmla="*/ 302 w 2175"/>
                  <a:gd name="T105" fmla="*/ 8 h 156"/>
                  <a:gd name="T106" fmla="*/ 246 w 2175"/>
                  <a:gd name="T107" fmla="*/ 7 h 156"/>
                  <a:gd name="T108" fmla="*/ 191 w 2175"/>
                  <a:gd name="T109" fmla="*/ 6 h 156"/>
                  <a:gd name="T110" fmla="*/ 147 w 2175"/>
                  <a:gd name="T111" fmla="*/ 5 h 156"/>
                  <a:gd name="T112" fmla="*/ 102 w 2175"/>
                  <a:gd name="T113" fmla="*/ 5 h 156"/>
                  <a:gd name="T114" fmla="*/ 53 w 2175"/>
                  <a:gd name="T115" fmla="*/ 5 h 156"/>
                  <a:gd name="T116" fmla="*/ 4 w 2175"/>
                  <a:gd name="T117" fmla="*/ 0 h 156"/>
                  <a:gd name="T118" fmla="*/ 191 w 2175"/>
                  <a:gd name="T119" fmla="*/ 13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75"/>
                  <a:gd name="T181" fmla="*/ 0 h 156"/>
                  <a:gd name="T182" fmla="*/ 2175 w 2175"/>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75" h="156">
                    <a:moveTo>
                      <a:pt x="141" y="34"/>
                    </a:moveTo>
                    <a:lnTo>
                      <a:pt x="196" y="43"/>
                    </a:lnTo>
                    <a:lnTo>
                      <a:pt x="251" y="54"/>
                    </a:lnTo>
                    <a:lnTo>
                      <a:pt x="306" y="63"/>
                    </a:lnTo>
                    <a:lnTo>
                      <a:pt x="361" y="74"/>
                    </a:lnTo>
                    <a:lnTo>
                      <a:pt x="415" y="80"/>
                    </a:lnTo>
                    <a:lnTo>
                      <a:pt x="470" y="88"/>
                    </a:lnTo>
                    <a:lnTo>
                      <a:pt x="521" y="97"/>
                    </a:lnTo>
                    <a:lnTo>
                      <a:pt x="575" y="105"/>
                    </a:lnTo>
                    <a:lnTo>
                      <a:pt x="630" y="111"/>
                    </a:lnTo>
                    <a:lnTo>
                      <a:pt x="685" y="117"/>
                    </a:lnTo>
                    <a:lnTo>
                      <a:pt x="735" y="119"/>
                    </a:lnTo>
                    <a:lnTo>
                      <a:pt x="786" y="128"/>
                    </a:lnTo>
                    <a:lnTo>
                      <a:pt x="836" y="128"/>
                    </a:lnTo>
                    <a:lnTo>
                      <a:pt x="886" y="134"/>
                    </a:lnTo>
                    <a:lnTo>
                      <a:pt x="936" y="137"/>
                    </a:lnTo>
                    <a:lnTo>
                      <a:pt x="991" y="142"/>
                    </a:lnTo>
                    <a:lnTo>
                      <a:pt x="1037" y="145"/>
                    </a:lnTo>
                    <a:lnTo>
                      <a:pt x="1083" y="148"/>
                    </a:lnTo>
                    <a:lnTo>
                      <a:pt x="1128" y="148"/>
                    </a:lnTo>
                    <a:lnTo>
                      <a:pt x="1179" y="151"/>
                    </a:lnTo>
                    <a:lnTo>
                      <a:pt x="1220" y="154"/>
                    </a:lnTo>
                    <a:lnTo>
                      <a:pt x="1266" y="156"/>
                    </a:lnTo>
                    <a:lnTo>
                      <a:pt x="1307" y="156"/>
                    </a:lnTo>
                    <a:lnTo>
                      <a:pt x="1352" y="156"/>
                    </a:lnTo>
                    <a:lnTo>
                      <a:pt x="1398" y="156"/>
                    </a:lnTo>
                    <a:lnTo>
                      <a:pt x="1435" y="156"/>
                    </a:lnTo>
                    <a:lnTo>
                      <a:pt x="1476" y="156"/>
                    </a:lnTo>
                    <a:lnTo>
                      <a:pt x="1517" y="156"/>
                    </a:lnTo>
                    <a:lnTo>
                      <a:pt x="1553" y="156"/>
                    </a:lnTo>
                    <a:lnTo>
                      <a:pt x="1590" y="156"/>
                    </a:lnTo>
                    <a:lnTo>
                      <a:pt x="1631" y="156"/>
                    </a:lnTo>
                    <a:lnTo>
                      <a:pt x="1668" y="156"/>
                    </a:lnTo>
                    <a:lnTo>
                      <a:pt x="1704" y="151"/>
                    </a:lnTo>
                    <a:lnTo>
                      <a:pt x="1732" y="148"/>
                    </a:lnTo>
                    <a:lnTo>
                      <a:pt x="1768" y="148"/>
                    </a:lnTo>
                    <a:lnTo>
                      <a:pt x="1796" y="148"/>
                    </a:lnTo>
                    <a:lnTo>
                      <a:pt x="1828" y="145"/>
                    </a:lnTo>
                    <a:lnTo>
                      <a:pt x="1855" y="145"/>
                    </a:lnTo>
                    <a:lnTo>
                      <a:pt x="1887" y="139"/>
                    </a:lnTo>
                    <a:lnTo>
                      <a:pt x="1914" y="139"/>
                    </a:lnTo>
                    <a:lnTo>
                      <a:pt x="1937" y="137"/>
                    </a:lnTo>
                    <a:lnTo>
                      <a:pt x="1965" y="137"/>
                    </a:lnTo>
                    <a:lnTo>
                      <a:pt x="1988" y="134"/>
                    </a:lnTo>
                    <a:lnTo>
                      <a:pt x="2010" y="131"/>
                    </a:lnTo>
                    <a:lnTo>
                      <a:pt x="2029" y="128"/>
                    </a:lnTo>
                    <a:lnTo>
                      <a:pt x="2052" y="128"/>
                    </a:lnTo>
                    <a:lnTo>
                      <a:pt x="2070" y="125"/>
                    </a:lnTo>
                    <a:lnTo>
                      <a:pt x="2088" y="122"/>
                    </a:lnTo>
                    <a:lnTo>
                      <a:pt x="2102" y="119"/>
                    </a:lnTo>
                    <a:lnTo>
                      <a:pt x="2111" y="117"/>
                    </a:lnTo>
                    <a:lnTo>
                      <a:pt x="2125" y="117"/>
                    </a:lnTo>
                    <a:lnTo>
                      <a:pt x="2138" y="114"/>
                    </a:lnTo>
                    <a:lnTo>
                      <a:pt x="2148" y="114"/>
                    </a:lnTo>
                    <a:lnTo>
                      <a:pt x="2157" y="111"/>
                    </a:lnTo>
                    <a:lnTo>
                      <a:pt x="2161" y="111"/>
                    </a:lnTo>
                    <a:lnTo>
                      <a:pt x="2170" y="111"/>
                    </a:lnTo>
                    <a:lnTo>
                      <a:pt x="2175" y="105"/>
                    </a:lnTo>
                    <a:lnTo>
                      <a:pt x="2170" y="105"/>
                    </a:lnTo>
                    <a:lnTo>
                      <a:pt x="2157" y="108"/>
                    </a:lnTo>
                    <a:lnTo>
                      <a:pt x="2148" y="108"/>
                    </a:lnTo>
                    <a:lnTo>
                      <a:pt x="2138" y="108"/>
                    </a:lnTo>
                    <a:lnTo>
                      <a:pt x="2125" y="108"/>
                    </a:lnTo>
                    <a:lnTo>
                      <a:pt x="2116" y="108"/>
                    </a:lnTo>
                    <a:lnTo>
                      <a:pt x="2102" y="108"/>
                    </a:lnTo>
                    <a:lnTo>
                      <a:pt x="2088" y="111"/>
                    </a:lnTo>
                    <a:lnTo>
                      <a:pt x="2079" y="111"/>
                    </a:lnTo>
                    <a:lnTo>
                      <a:pt x="2070" y="111"/>
                    </a:lnTo>
                    <a:lnTo>
                      <a:pt x="2052" y="111"/>
                    </a:lnTo>
                    <a:lnTo>
                      <a:pt x="2033" y="111"/>
                    </a:lnTo>
                    <a:lnTo>
                      <a:pt x="2020" y="114"/>
                    </a:lnTo>
                    <a:lnTo>
                      <a:pt x="2006" y="114"/>
                    </a:lnTo>
                    <a:lnTo>
                      <a:pt x="1988" y="114"/>
                    </a:lnTo>
                    <a:lnTo>
                      <a:pt x="1969" y="114"/>
                    </a:lnTo>
                    <a:lnTo>
                      <a:pt x="1956" y="114"/>
                    </a:lnTo>
                    <a:lnTo>
                      <a:pt x="1942" y="117"/>
                    </a:lnTo>
                    <a:lnTo>
                      <a:pt x="1919" y="117"/>
                    </a:lnTo>
                    <a:lnTo>
                      <a:pt x="1901" y="117"/>
                    </a:lnTo>
                    <a:lnTo>
                      <a:pt x="1882" y="117"/>
                    </a:lnTo>
                    <a:lnTo>
                      <a:pt x="1864" y="117"/>
                    </a:lnTo>
                    <a:lnTo>
                      <a:pt x="1841" y="117"/>
                    </a:lnTo>
                    <a:lnTo>
                      <a:pt x="1823" y="117"/>
                    </a:lnTo>
                    <a:lnTo>
                      <a:pt x="1800" y="117"/>
                    </a:lnTo>
                    <a:lnTo>
                      <a:pt x="1777" y="119"/>
                    </a:lnTo>
                    <a:lnTo>
                      <a:pt x="1759" y="119"/>
                    </a:lnTo>
                    <a:lnTo>
                      <a:pt x="1741" y="119"/>
                    </a:lnTo>
                    <a:lnTo>
                      <a:pt x="1713" y="119"/>
                    </a:lnTo>
                    <a:lnTo>
                      <a:pt x="1695" y="119"/>
                    </a:lnTo>
                    <a:lnTo>
                      <a:pt x="1672" y="119"/>
                    </a:lnTo>
                    <a:lnTo>
                      <a:pt x="1649" y="119"/>
                    </a:lnTo>
                    <a:lnTo>
                      <a:pt x="1627" y="119"/>
                    </a:lnTo>
                    <a:lnTo>
                      <a:pt x="1604" y="122"/>
                    </a:lnTo>
                    <a:lnTo>
                      <a:pt x="1581" y="119"/>
                    </a:lnTo>
                    <a:lnTo>
                      <a:pt x="1558" y="119"/>
                    </a:lnTo>
                    <a:lnTo>
                      <a:pt x="1535" y="119"/>
                    </a:lnTo>
                    <a:lnTo>
                      <a:pt x="1512" y="119"/>
                    </a:lnTo>
                    <a:lnTo>
                      <a:pt x="1485" y="119"/>
                    </a:lnTo>
                    <a:lnTo>
                      <a:pt x="1462" y="119"/>
                    </a:lnTo>
                    <a:lnTo>
                      <a:pt x="1435" y="119"/>
                    </a:lnTo>
                    <a:lnTo>
                      <a:pt x="1416" y="119"/>
                    </a:lnTo>
                    <a:lnTo>
                      <a:pt x="1389" y="119"/>
                    </a:lnTo>
                    <a:lnTo>
                      <a:pt x="1366" y="119"/>
                    </a:lnTo>
                    <a:lnTo>
                      <a:pt x="1343" y="117"/>
                    </a:lnTo>
                    <a:lnTo>
                      <a:pt x="1316" y="117"/>
                    </a:lnTo>
                    <a:lnTo>
                      <a:pt x="1293" y="117"/>
                    </a:lnTo>
                    <a:lnTo>
                      <a:pt x="1270" y="117"/>
                    </a:lnTo>
                    <a:lnTo>
                      <a:pt x="1247" y="117"/>
                    </a:lnTo>
                    <a:lnTo>
                      <a:pt x="1224" y="117"/>
                    </a:lnTo>
                    <a:lnTo>
                      <a:pt x="1197" y="114"/>
                    </a:lnTo>
                    <a:lnTo>
                      <a:pt x="1174" y="114"/>
                    </a:lnTo>
                    <a:lnTo>
                      <a:pt x="1151" y="114"/>
                    </a:lnTo>
                    <a:lnTo>
                      <a:pt x="1124" y="114"/>
                    </a:lnTo>
                    <a:lnTo>
                      <a:pt x="1101" y="111"/>
                    </a:lnTo>
                    <a:lnTo>
                      <a:pt x="1078" y="111"/>
                    </a:lnTo>
                    <a:lnTo>
                      <a:pt x="1055" y="108"/>
                    </a:lnTo>
                    <a:lnTo>
                      <a:pt x="1037" y="108"/>
                    </a:lnTo>
                    <a:lnTo>
                      <a:pt x="1014" y="105"/>
                    </a:lnTo>
                    <a:lnTo>
                      <a:pt x="991" y="105"/>
                    </a:lnTo>
                    <a:lnTo>
                      <a:pt x="968" y="102"/>
                    </a:lnTo>
                    <a:lnTo>
                      <a:pt x="946" y="100"/>
                    </a:lnTo>
                    <a:lnTo>
                      <a:pt x="923" y="100"/>
                    </a:lnTo>
                    <a:lnTo>
                      <a:pt x="904" y="97"/>
                    </a:lnTo>
                    <a:lnTo>
                      <a:pt x="886" y="97"/>
                    </a:lnTo>
                    <a:lnTo>
                      <a:pt x="868" y="94"/>
                    </a:lnTo>
                    <a:lnTo>
                      <a:pt x="845" y="91"/>
                    </a:lnTo>
                    <a:lnTo>
                      <a:pt x="827" y="91"/>
                    </a:lnTo>
                    <a:lnTo>
                      <a:pt x="804" y="85"/>
                    </a:lnTo>
                    <a:lnTo>
                      <a:pt x="786" y="85"/>
                    </a:lnTo>
                    <a:lnTo>
                      <a:pt x="763" y="82"/>
                    </a:lnTo>
                    <a:lnTo>
                      <a:pt x="745" y="80"/>
                    </a:lnTo>
                    <a:lnTo>
                      <a:pt x="726" y="77"/>
                    </a:lnTo>
                    <a:lnTo>
                      <a:pt x="703" y="77"/>
                    </a:lnTo>
                    <a:lnTo>
                      <a:pt x="681" y="74"/>
                    </a:lnTo>
                    <a:lnTo>
                      <a:pt x="662" y="71"/>
                    </a:lnTo>
                    <a:lnTo>
                      <a:pt x="644" y="68"/>
                    </a:lnTo>
                    <a:lnTo>
                      <a:pt x="626" y="68"/>
                    </a:lnTo>
                    <a:lnTo>
                      <a:pt x="603" y="65"/>
                    </a:lnTo>
                    <a:lnTo>
                      <a:pt x="585" y="63"/>
                    </a:lnTo>
                    <a:lnTo>
                      <a:pt x="566" y="60"/>
                    </a:lnTo>
                    <a:lnTo>
                      <a:pt x="548" y="60"/>
                    </a:lnTo>
                    <a:lnTo>
                      <a:pt x="525" y="57"/>
                    </a:lnTo>
                    <a:lnTo>
                      <a:pt x="507" y="54"/>
                    </a:lnTo>
                    <a:lnTo>
                      <a:pt x="489" y="51"/>
                    </a:lnTo>
                    <a:lnTo>
                      <a:pt x="470" y="51"/>
                    </a:lnTo>
                    <a:lnTo>
                      <a:pt x="452" y="48"/>
                    </a:lnTo>
                    <a:lnTo>
                      <a:pt x="434" y="45"/>
                    </a:lnTo>
                    <a:lnTo>
                      <a:pt x="415" y="43"/>
                    </a:lnTo>
                    <a:lnTo>
                      <a:pt x="402" y="43"/>
                    </a:lnTo>
                    <a:lnTo>
                      <a:pt x="383" y="40"/>
                    </a:lnTo>
                    <a:lnTo>
                      <a:pt x="365" y="40"/>
                    </a:lnTo>
                    <a:lnTo>
                      <a:pt x="351" y="37"/>
                    </a:lnTo>
                    <a:lnTo>
                      <a:pt x="333" y="34"/>
                    </a:lnTo>
                    <a:lnTo>
                      <a:pt x="315" y="34"/>
                    </a:lnTo>
                    <a:lnTo>
                      <a:pt x="301" y="31"/>
                    </a:lnTo>
                    <a:lnTo>
                      <a:pt x="283" y="31"/>
                    </a:lnTo>
                    <a:lnTo>
                      <a:pt x="269" y="31"/>
                    </a:lnTo>
                    <a:lnTo>
                      <a:pt x="256" y="28"/>
                    </a:lnTo>
                    <a:lnTo>
                      <a:pt x="237" y="28"/>
                    </a:lnTo>
                    <a:lnTo>
                      <a:pt x="224" y="23"/>
                    </a:lnTo>
                    <a:lnTo>
                      <a:pt x="210" y="23"/>
                    </a:lnTo>
                    <a:lnTo>
                      <a:pt x="196" y="20"/>
                    </a:lnTo>
                    <a:lnTo>
                      <a:pt x="182" y="20"/>
                    </a:lnTo>
                    <a:lnTo>
                      <a:pt x="169" y="17"/>
                    </a:lnTo>
                    <a:lnTo>
                      <a:pt x="160" y="17"/>
                    </a:lnTo>
                    <a:lnTo>
                      <a:pt x="141" y="17"/>
                    </a:lnTo>
                    <a:lnTo>
                      <a:pt x="132" y="14"/>
                    </a:lnTo>
                    <a:lnTo>
                      <a:pt x="123" y="11"/>
                    </a:lnTo>
                    <a:lnTo>
                      <a:pt x="109" y="11"/>
                    </a:lnTo>
                    <a:lnTo>
                      <a:pt x="100" y="11"/>
                    </a:lnTo>
                    <a:lnTo>
                      <a:pt x="86" y="8"/>
                    </a:lnTo>
                    <a:lnTo>
                      <a:pt x="77" y="8"/>
                    </a:lnTo>
                    <a:lnTo>
                      <a:pt x="73" y="8"/>
                    </a:lnTo>
                    <a:lnTo>
                      <a:pt x="54" y="8"/>
                    </a:lnTo>
                    <a:lnTo>
                      <a:pt x="41" y="8"/>
                    </a:lnTo>
                    <a:lnTo>
                      <a:pt x="27" y="3"/>
                    </a:lnTo>
                    <a:lnTo>
                      <a:pt x="18" y="3"/>
                    </a:lnTo>
                    <a:lnTo>
                      <a:pt x="4" y="0"/>
                    </a:lnTo>
                    <a:lnTo>
                      <a:pt x="0" y="0"/>
                    </a:lnTo>
                    <a:lnTo>
                      <a:pt x="141" y="3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4" name="Freeform 17"/>
              <p:cNvSpPr>
                <a:spLocks/>
              </p:cNvSpPr>
              <p:nvPr>
                <p:custDataLst>
                  <p:tags r:id="rId146"/>
                </p:custDataLst>
              </p:nvPr>
            </p:nvSpPr>
            <p:spPr bwMode="gray">
              <a:xfrm>
                <a:off x="1775" y="917"/>
                <a:ext cx="1172" cy="102"/>
              </a:xfrm>
              <a:custGeom>
                <a:avLst/>
                <a:gdLst>
                  <a:gd name="T0" fmla="*/ 148 w 1143"/>
                  <a:gd name="T1" fmla="*/ 6 h 111"/>
                  <a:gd name="T2" fmla="*/ 221 w 1143"/>
                  <a:gd name="T3" fmla="*/ 6 h 111"/>
                  <a:gd name="T4" fmla="*/ 309 w 1143"/>
                  <a:gd name="T5" fmla="*/ 10 h 111"/>
                  <a:gd name="T6" fmla="*/ 388 w 1143"/>
                  <a:gd name="T7" fmla="*/ 13 h 111"/>
                  <a:gd name="T8" fmla="*/ 483 w 1143"/>
                  <a:gd name="T9" fmla="*/ 15 h 111"/>
                  <a:gd name="T10" fmla="*/ 575 w 1143"/>
                  <a:gd name="T11" fmla="*/ 17 h 111"/>
                  <a:gd name="T12" fmla="*/ 669 w 1143"/>
                  <a:gd name="T13" fmla="*/ 18 h 111"/>
                  <a:gd name="T14" fmla="*/ 759 w 1143"/>
                  <a:gd name="T15" fmla="*/ 20 h 111"/>
                  <a:gd name="T16" fmla="*/ 853 w 1143"/>
                  <a:gd name="T17" fmla="*/ 22 h 111"/>
                  <a:gd name="T18" fmla="*/ 945 w 1143"/>
                  <a:gd name="T19" fmla="*/ 23 h 111"/>
                  <a:gd name="T20" fmla="*/ 1029 w 1143"/>
                  <a:gd name="T21" fmla="*/ 25 h 111"/>
                  <a:gd name="T22" fmla="*/ 1118 w 1143"/>
                  <a:gd name="T23" fmla="*/ 25 h 111"/>
                  <a:gd name="T24" fmla="*/ 1200 w 1143"/>
                  <a:gd name="T25" fmla="*/ 26 h 111"/>
                  <a:gd name="T26" fmla="*/ 1272 w 1143"/>
                  <a:gd name="T27" fmla="*/ 26 h 111"/>
                  <a:gd name="T28" fmla="*/ 1333 w 1143"/>
                  <a:gd name="T29" fmla="*/ 26 h 111"/>
                  <a:gd name="T30" fmla="*/ 1396 w 1143"/>
                  <a:gd name="T31" fmla="*/ 26 h 111"/>
                  <a:gd name="T32" fmla="*/ 1450 w 1143"/>
                  <a:gd name="T33" fmla="*/ 26 h 111"/>
                  <a:gd name="T34" fmla="*/ 1494 w 1143"/>
                  <a:gd name="T35" fmla="*/ 28 h 111"/>
                  <a:gd name="T36" fmla="*/ 1543 w 1143"/>
                  <a:gd name="T37" fmla="*/ 28 h 111"/>
                  <a:gd name="T38" fmla="*/ 1520 w 1143"/>
                  <a:gd name="T39" fmla="*/ 32 h 111"/>
                  <a:gd name="T40" fmla="*/ 1470 w 1143"/>
                  <a:gd name="T41" fmla="*/ 34 h 111"/>
                  <a:gd name="T42" fmla="*/ 1414 w 1143"/>
                  <a:gd name="T43" fmla="*/ 37 h 111"/>
                  <a:gd name="T44" fmla="*/ 1352 w 1143"/>
                  <a:gd name="T45" fmla="*/ 37 h 111"/>
                  <a:gd name="T46" fmla="*/ 1279 w 1143"/>
                  <a:gd name="T47" fmla="*/ 38 h 111"/>
                  <a:gd name="T48" fmla="*/ 1230 w 1143"/>
                  <a:gd name="T49" fmla="*/ 40 h 111"/>
                  <a:gd name="T50" fmla="*/ 1186 w 1143"/>
                  <a:gd name="T51" fmla="*/ 40 h 111"/>
                  <a:gd name="T52" fmla="*/ 1143 w 1143"/>
                  <a:gd name="T53" fmla="*/ 40 h 111"/>
                  <a:gd name="T54" fmla="*/ 1100 w 1143"/>
                  <a:gd name="T55" fmla="*/ 40 h 111"/>
                  <a:gd name="T56" fmla="*/ 1049 w 1143"/>
                  <a:gd name="T57" fmla="*/ 40 h 111"/>
                  <a:gd name="T58" fmla="*/ 1006 w 1143"/>
                  <a:gd name="T59" fmla="*/ 40 h 111"/>
                  <a:gd name="T60" fmla="*/ 951 w 1143"/>
                  <a:gd name="T61" fmla="*/ 38 h 111"/>
                  <a:gd name="T62" fmla="*/ 897 w 1143"/>
                  <a:gd name="T63" fmla="*/ 38 h 111"/>
                  <a:gd name="T64" fmla="*/ 845 w 1143"/>
                  <a:gd name="T65" fmla="*/ 37 h 111"/>
                  <a:gd name="T66" fmla="*/ 791 w 1143"/>
                  <a:gd name="T67" fmla="*/ 37 h 111"/>
                  <a:gd name="T68" fmla="*/ 729 w 1143"/>
                  <a:gd name="T69" fmla="*/ 37 h 111"/>
                  <a:gd name="T70" fmla="*/ 673 w 1143"/>
                  <a:gd name="T71" fmla="*/ 34 h 111"/>
                  <a:gd name="T72" fmla="*/ 611 w 1143"/>
                  <a:gd name="T73" fmla="*/ 32 h 111"/>
                  <a:gd name="T74" fmla="*/ 555 w 1143"/>
                  <a:gd name="T75" fmla="*/ 28 h 111"/>
                  <a:gd name="T76" fmla="*/ 499 w 1143"/>
                  <a:gd name="T77" fmla="*/ 28 h 111"/>
                  <a:gd name="T78" fmla="*/ 439 w 1143"/>
                  <a:gd name="T79" fmla="*/ 26 h 111"/>
                  <a:gd name="T80" fmla="*/ 382 w 1143"/>
                  <a:gd name="T81" fmla="*/ 23 h 111"/>
                  <a:gd name="T82" fmla="*/ 333 w 1143"/>
                  <a:gd name="T83" fmla="*/ 20 h 111"/>
                  <a:gd name="T84" fmla="*/ 278 w 1143"/>
                  <a:gd name="T85" fmla="*/ 17 h 111"/>
                  <a:gd name="T86" fmla="*/ 221 w 1143"/>
                  <a:gd name="T87" fmla="*/ 15 h 111"/>
                  <a:gd name="T88" fmla="*/ 179 w 1143"/>
                  <a:gd name="T89" fmla="*/ 13 h 111"/>
                  <a:gd name="T90" fmla="*/ 137 w 1143"/>
                  <a:gd name="T91" fmla="*/ 11 h 111"/>
                  <a:gd name="T92" fmla="*/ 93 w 1143"/>
                  <a:gd name="T93" fmla="*/ 7 h 111"/>
                  <a:gd name="T94" fmla="*/ 14 w 1143"/>
                  <a:gd name="T95" fmla="*/ 6 h 111"/>
                  <a:gd name="T96" fmla="*/ 14 w 1143"/>
                  <a:gd name="T97" fmla="*/ 0 h 111"/>
                  <a:gd name="T98" fmla="*/ 58 w 1143"/>
                  <a:gd name="T99" fmla="*/ 0 h 111"/>
                  <a:gd name="T100" fmla="*/ 97 w 1143"/>
                  <a:gd name="T101" fmla="*/ 0 h 1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3"/>
                  <a:gd name="T154" fmla="*/ 0 h 111"/>
                  <a:gd name="T155" fmla="*/ 1143 w 1143"/>
                  <a:gd name="T156" fmla="*/ 111 h 1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3" h="111">
                    <a:moveTo>
                      <a:pt x="78" y="0"/>
                    </a:moveTo>
                    <a:lnTo>
                      <a:pt x="96" y="3"/>
                    </a:lnTo>
                    <a:lnTo>
                      <a:pt x="110" y="6"/>
                    </a:lnTo>
                    <a:lnTo>
                      <a:pt x="133" y="12"/>
                    </a:lnTo>
                    <a:lnTo>
                      <a:pt x="151" y="15"/>
                    </a:lnTo>
                    <a:lnTo>
                      <a:pt x="165" y="17"/>
                    </a:lnTo>
                    <a:lnTo>
                      <a:pt x="187" y="20"/>
                    </a:lnTo>
                    <a:lnTo>
                      <a:pt x="206" y="23"/>
                    </a:lnTo>
                    <a:lnTo>
                      <a:pt x="229" y="26"/>
                    </a:lnTo>
                    <a:lnTo>
                      <a:pt x="247" y="29"/>
                    </a:lnTo>
                    <a:lnTo>
                      <a:pt x="265" y="29"/>
                    </a:lnTo>
                    <a:lnTo>
                      <a:pt x="288" y="34"/>
                    </a:lnTo>
                    <a:lnTo>
                      <a:pt x="311" y="34"/>
                    </a:lnTo>
                    <a:lnTo>
                      <a:pt x="334" y="37"/>
                    </a:lnTo>
                    <a:lnTo>
                      <a:pt x="357" y="40"/>
                    </a:lnTo>
                    <a:lnTo>
                      <a:pt x="379" y="43"/>
                    </a:lnTo>
                    <a:lnTo>
                      <a:pt x="402" y="46"/>
                    </a:lnTo>
                    <a:lnTo>
                      <a:pt x="425" y="46"/>
                    </a:lnTo>
                    <a:lnTo>
                      <a:pt x="448" y="49"/>
                    </a:lnTo>
                    <a:lnTo>
                      <a:pt x="471" y="49"/>
                    </a:lnTo>
                    <a:lnTo>
                      <a:pt x="494" y="52"/>
                    </a:lnTo>
                    <a:lnTo>
                      <a:pt x="517" y="52"/>
                    </a:lnTo>
                    <a:lnTo>
                      <a:pt x="539" y="54"/>
                    </a:lnTo>
                    <a:lnTo>
                      <a:pt x="562" y="54"/>
                    </a:lnTo>
                    <a:lnTo>
                      <a:pt x="590" y="57"/>
                    </a:lnTo>
                    <a:lnTo>
                      <a:pt x="608" y="57"/>
                    </a:lnTo>
                    <a:lnTo>
                      <a:pt x="631" y="60"/>
                    </a:lnTo>
                    <a:lnTo>
                      <a:pt x="654" y="60"/>
                    </a:lnTo>
                    <a:lnTo>
                      <a:pt x="676" y="63"/>
                    </a:lnTo>
                    <a:lnTo>
                      <a:pt x="699" y="63"/>
                    </a:lnTo>
                    <a:lnTo>
                      <a:pt x="722" y="63"/>
                    </a:lnTo>
                    <a:lnTo>
                      <a:pt x="745" y="63"/>
                    </a:lnTo>
                    <a:lnTo>
                      <a:pt x="763" y="69"/>
                    </a:lnTo>
                    <a:lnTo>
                      <a:pt x="786" y="69"/>
                    </a:lnTo>
                    <a:lnTo>
                      <a:pt x="809" y="69"/>
                    </a:lnTo>
                    <a:lnTo>
                      <a:pt x="827" y="69"/>
                    </a:lnTo>
                    <a:lnTo>
                      <a:pt x="850" y="69"/>
                    </a:lnTo>
                    <a:lnTo>
                      <a:pt x="864" y="69"/>
                    </a:lnTo>
                    <a:lnTo>
                      <a:pt x="887" y="71"/>
                    </a:lnTo>
                    <a:lnTo>
                      <a:pt x="905" y="71"/>
                    </a:lnTo>
                    <a:lnTo>
                      <a:pt x="923" y="71"/>
                    </a:lnTo>
                    <a:lnTo>
                      <a:pt x="942" y="71"/>
                    </a:lnTo>
                    <a:lnTo>
                      <a:pt x="955" y="71"/>
                    </a:lnTo>
                    <a:lnTo>
                      <a:pt x="974" y="71"/>
                    </a:lnTo>
                    <a:lnTo>
                      <a:pt x="987" y="71"/>
                    </a:lnTo>
                    <a:lnTo>
                      <a:pt x="1006" y="71"/>
                    </a:lnTo>
                    <a:lnTo>
                      <a:pt x="1019" y="74"/>
                    </a:lnTo>
                    <a:lnTo>
                      <a:pt x="1033" y="74"/>
                    </a:lnTo>
                    <a:lnTo>
                      <a:pt x="1051" y="74"/>
                    </a:lnTo>
                    <a:lnTo>
                      <a:pt x="1060" y="74"/>
                    </a:lnTo>
                    <a:lnTo>
                      <a:pt x="1074" y="74"/>
                    </a:lnTo>
                    <a:lnTo>
                      <a:pt x="1083" y="74"/>
                    </a:lnTo>
                    <a:lnTo>
                      <a:pt x="1092" y="77"/>
                    </a:lnTo>
                    <a:lnTo>
                      <a:pt x="1106" y="77"/>
                    </a:lnTo>
                    <a:lnTo>
                      <a:pt x="1124" y="80"/>
                    </a:lnTo>
                    <a:lnTo>
                      <a:pt x="1133" y="80"/>
                    </a:lnTo>
                    <a:lnTo>
                      <a:pt x="1143" y="80"/>
                    </a:lnTo>
                    <a:lnTo>
                      <a:pt x="1143" y="83"/>
                    </a:lnTo>
                    <a:lnTo>
                      <a:pt x="1124" y="89"/>
                    </a:lnTo>
                    <a:lnTo>
                      <a:pt x="1106" y="91"/>
                    </a:lnTo>
                    <a:lnTo>
                      <a:pt x="1097" y="91"/>
                    </a:lnTo>
                    <a:lnTo>
                      <a:pt x="1088" y="94"/>
                    </a:lnTo>
                    <a:lnTo>
                      <a:pt x="1074" y="94"/>
                    </a:lnTo>
                    <a:lnTo>
                      <a:pt x="1060" y="100"/>
                    </a:lnTo>
                    <a:lnTo>
                      <a:pt x="1047" y="100"/>
                    </a:lnTo>
                    <a:lnTo>
                      <a:pt x="1033" y="100"/>
                    </a:lnTo>
                    <a:lnTo>
                      <a:pt x="1015" y="103"/>
                    </a:lnTo>
                    <a:lnTo>
                      <a:pt x="1001" y="103"/>
                    </a:lnTo>
                    <a:lnTo>
                      <a:pt x="983" y="103"/>
                    </a:lnTo>
                    <a:lnTo>
                      <a:pt x="964" y="106"/>
                    </a:lnTo>
                    <a:lnTo>
                      <a:pt x="946" y="106"/>
                    </a:lnTo>
                    <a:lnTo>
                      <a:pt x="932" y="109"/>
                    </a:lnTo>
                    <a:lnTo>
                      <a:pt x="919" y="109"/>
                    </a:lnTo>
                    <a:lnTo>
                      <a:pt x="910" y="109"/>
                    </a:lnTo>
                    <a:lnTo>
                      <a:pt x="900" y="109"/>
                    </a:lnTo>
                    <a:lnTo>
                      <a:pt x="887" y="109"/>
                    </a:lnTo>
                    <a:lnTo>
                      <a:pt x="878" y="109"/>
                    </a:lnTo>
                    <a:lnTo>
                      <a:pt x="864" y="109"/>
                    </a:lnTo>
                    <a:lnTo>
                      <a:pt x="855" y="109"/>
                    </a:lnTo>
                    <a:lnTo>
                      <a:pt x="846" y="111"/>
                    </a:lnTo>
                    <a:lnTo>
                      <a:pt x="832" y="111"/>
                    </a:lnTo>
                    <a:lnTo>
                      <a:pt x="823" y="111"/>
                    </a:lnTo>
                    <a:lnTo>
                      <a:pt x="814" y="111"/>
                    </a:lnTo>
                    <a:lnTo>
                      <a:pt x="800" y="111"/>
                    </a:lnTo>
                    <a:lnTo>
                      <a:pt x="786" y="111"/>
                    </a:lnTo>
                    <a:lnTo>
                      <a:pt x="777" y="111"/>
                    </a:lnTo>
                    <a:lnTo>
                      <a:pt x="763" y="111"/>
                    </a:lnTo>
                    <a:lnTo>
                      <a:pt x="754" y="111"/>
                    </a:lnTo>
                    <a:lnTo>
                      <a:pt x="745" y="109"/>
                    </a:lnTo>
                    <a:lnTo>
                      <a:pt x="727" y="106"/>
                    </a:lnTo>
                    <a:lnTo>
                      <a:pt x="718" y="106"/>
                    </a:lnTo>
                    <a:lnTo>
                      <a:pt x="704" y="106"/>
                    </a:lnTo>
                    <a:lnTo>
                      <a:pt x="686" y="106"/>
                    </a:lnTo>
                    <a:lnTo>
                      <a:pt x="676" y="106"/>
                    </a:lnTo>
                    <a:lnTo>
                      <a:pt x="663" y="106"/>
                    </a:lnTo>
                    <a:lnTo>
                      <a:pt x="654" y="106"/>
                    </a:lnTo>
                    <a:lnTo>
                      <a:pt x="635" y="103"/>
                    </a:lnTo>
                    <a:lnTo>
                      <a:pt x="626" y="103"/>
                    </a:lnTo>
                    <a:lnTo>
                      <a:pt x="608" y="103"/>
                    </a:lnTo>
                    <a:lnTo>
                      <a:pt x="599" y="103"/>
                    </a:lnTo>
                    <a:lnTo>
                      <a:pt x="585" y="100"/>
                    </a:lnTo>
                    <a:lnTo>
                      <a:pt x="571" y="100"/>
                    </a:lnTo>
                    <a:lnTo>
                      <a:pt x="558" y="100"/>
                    </a:lnTo>
                    <a:lnTo>
                      <a:pt x="539" y="100"/>
                    </a:lnTo>
                    <a:lnTo>
                      <a:pt x="526" y="94"/>
                    </a:lnTo>
                    <a:lnTo>
                      <a:pt x="512" y="94"/>
                    </a:lnTo>
                    <a:lnTo>
                      <a:pt x="498" y="91"/>
                    </a:lnTo>
                    <a:lnTo>
                      <a:pt x="485" y="91"/>
                    </a:lnTo>
                    <a:lnTo>
                      <a:pt x="471" y="91"/>
                    </a:lnTo>
                    <a:lnTo>
                      <a:pt x="453" y="89"/>
                    </a:lnTo>
                    <a:lnTo>
                      <a:pt x="443" y="83"/>
                    </a:lnTo>
                    <a:lnTo>
                      <a:pt x="430" y="83"/>
                    </a:lnTo>
                    <a:lnTo>
                      <a:pt x="411" y="80"/>
                    </a:lnTo>
                    <a:lnTo>
                      <a:pt x="398" y="80"/>
                    </a:lnTo>
                    <a:lnTo>
                      <a:pt x="384" y="77"/>
                    </a:lnTo>
                    <a:lnTo>
                      <a:pt x="370" y="77"/>
                    </a:lnTo>
                    <a:lnTo>
                      <a:pt x="352" y="74"/>
                    </a:lnTo>
                    <a:lnTo>
                      <a:pt x="343" y="71"/>
                    </a:lnTo>
                    <a:lnTo>
                      <a:pt x="325" y="71"/>
                    </a:lnTo>
                    <a:lnTo>
                      <a:pt x="315" y="69"/>
                    </a:lnTo>
                    <a:lnTo>
                      <a:pt x="297" y="63"/>
                    </a:lnTo>
                    <a:lnTo>
                      <a:pt x="283" y="63"/>
                    </a:lnTo>
                    <a:lnTo>
                      <a:pt x="270" y="60"/>
                    </a:lnTo>
                    <a:lnTo>
                      <a:pt x="256" y="57"/>
                    </a:lnTo>
                    <a:lnTo>
                      <a:pt x="247" y="54"/>
                    </a:lnTo>
                    <a:lnTo>
                      <a:pt x="229" y="52"/>
                    </a:lnTo>
                    <a:lnTo>
                      <a:pt x="215" y="49"/>
                    </a:lnTo>
                    <a:lnTo>
                      <a:pt x="206" y="49"/>
                    </a:lnTo>
                    <a:lnTo>
                      <a:pt x="192" y="46"/>
                    </a:lnTo>
                    <a:lnTo>
                      <a:pt x="178" y="43"/>
                    </a:lnTo>
                    <a:lnTo>
                      <a:pt x="165" y="40"/>
                    </a:lnTo>
                    <a:lnTo>
                      <a:pt x="155" y="37"/>
                    </a:lnTo>
                    <a:lnTo>
                      <a:pt x="142" y="34"/>
                    </a:lnTo>
                    <a:lnTo>
                      <a:pt x="133" y="34"/>
                    </a:lnTo>
                    <a:lnTo>
                      <a:pt x="123" y="32"/>
                    </a:lnTo>
                    <a:lnTo>
                      <a:pt x="110" y="29"/>
                    </a:lnTo>
                    <a:lnTo>
                      <a:pt x="101" y="29"/>
                    </a:lnTo>
                    <a:lnTo>
                      <a:pt x="87" y="23"/>
                    </a:lnTo>
                    <a:lnTo>
                      <a:pt x="78" y="23"/>
                    </a:lnTo>
                    <a:lnTo>
                      <a:pt x="69" y="20"/>
                    </a:lnTo>
                    <a:lnTo>
                      <a:pt x="50" y="17"/>
                    </a:lnTo>
                    <a:lnTo>
                      <a:pt x="32" y="15"/>
                    </a:lnTo>
                    <a:lnTo>
                      <a:pt x="14" y="6"/>
                    </a:lnTo>
                    <a:lnTo>
                      <a:pt x="0" y="6"/>
                    </a:lnTo>
                    <a:lnTo>
                      <a:pt x="5" y="0"/>
                    </a:lnTo>
                    <a:lnTo>
                      <a:pt x="14" y="0"/>
                    </a:lnTo>
                    <a:lnTo>
                      <a:pt x="23" y="0"/>
                    </a:lnTo>
                    <a:lnTo>
                      <a:pt x="37" y="0"/>
                    </a:lnTo>
                    <a:lnTo>
                      <a:pt x="46" y="0"/>
                    </a:lnTo>
                    <a:lnTo>
                      <a:pt x="55" y="0"/>
                    </a:lnTo>
                    <a:lnTo>
                      <a:pt x="64" y="0"/>
                    </a:lnTo>
                    <a:lnTo>
                      <a:pt x="73" y="0"/>
                    </a:lnTo>
                    <a:lnTo>
                      <a:pt x="7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5" name="Freeform 18"/>
              <p:cNvSpPr>
                <a:spLocks/>
              </p:cNvSpPr>
              <p:nvPr>
                <p:custDataLst>
                  <p:tags r:id="rId147"/>
                </p:custDataLst>
              </p:nvPr>
            </p:nvSpPr>
            <p:spPr bwMode="gray">
              <a:xfrm>
                <a:off x="632" y="1094"/>
                <a:ext cx="750" cy="290"/>
              </a:xfrm>
              <a:custGeom>
                <a:avLst/>
                <a:gdLst>
                  <a:gd name="T0" fmla="*/ 548 w 731"/>
                  <a:gd name="T1" fmla="*/ 6 h 316"/>
                  <a:gd name="T2" fmla="*/ 472 w 731"/>
                  <a:gd name="T3" fmla="*/ 16 h 316"/>
                  <a:gd name="T4" fmla="*/ 391 w 731"/>
                  <a:gd name="T5" fmla="*/ 28 h 316"/>
                  <a:gd name="T6" fmla="*/ 310 w 731"/>
                  <a:gd name="T7" fmla="*/ 39 h 316"/>
                  <a:gd name="T8" fmla="*/ 243 w 731"/>
                  <a:gd name="T9" fmla="*/ 50 h 316"/>
                  <a:gd name="T10" fmla="*/ 173 w 731"/>
                  <a:gd name="T11" fmla="*/ 60 h 316"/>
                  <a:gd name="T12" fmla="*/ 118 w 731"/>
                  <a:gd name="T13" fmla="*/ 70 h 316"/>
                  <a:gd name="T14" fmla="*/ 66 w 731"/>
                  <a:gd name="T15" fmla="*/ 77 h 316"/>
                  <a:gd name="T16" fmla="*/ 14 w 731"/>
                  <a:gd name="T17" fmla="*/ 87 h 316"/>
                  <a:gd name="T18" fmla="*/ 5 w 731"/>
                  <a:gd name="T19" fmla="*/ 90 h 316"/>
                  <a:gd name="T20" fmla="*/ 49 w 731"/>
                  <a:gd name="T21" fmla="*/ 90 h 316"/>
                  <a:gd name="T22" fmla="*/ 93 w 731"/>
                  <a:gd name="T23" fmla="*/ 92 h 316"/>
                  <a:gd name="T24" fmla="*/ 143 w 731"/>
                  <a:gd name="T25" fmla="*/ 95 h 316"/>
                  <a:gd name="T26" fmla="*/ 194 w 731"/>
                  <a:gd name="T27" fmla="*/ 96 h 316"/>
                  <a:gd name="T28" fmla="*/ 249 w 731"/>
                  <a:gd name="T29" fmla="*/ 98 h 316"/>
                  <a:gd name="T30" fmla="*/ 305 w 731"/>
                  <a:gd name="T31" fmla="*/ 98 h 316"/>
                  <a:gd name="T32" fmla="*/ 353 w 731"/>
                  <a:gd name="T33" fmla="*/ 100 h 316"/>
                  <a:gd name="T34" fmla="*/ 404 w 731"/>
                  <a:gd name="T35" fmla="*/ 103 h 316"/>
                  <a:gd name="T36" fmla="*/ 448 w 731"/>
                  <a:gd name="T37" fmla="*/ 104 h 316"/>
                  <a:gd name="T38" fmla="*/ 499 w 731"/>
                  <a:gd name="T39" fmla="*/ 106 h 316"/>
                  <a:gd name="T40" fmla="*/ 559 w 731"/>
                  <a:gd name="T41" fmla="*/ 106 h 316"/>
                  <a:gd name="T42" fmla="*/ 629 w 731"/>
                  <a:gd name="T43" fmla="*/ 107 h 316"/>
                  <a:gd name="T44" fmla="*/ 710 w 731"/>
                  <a:gd name="T45" fmla="*/ 108 h 316"/>
                  <a:gd name="T46" fmla="*/ 789 w 731"/>
                  <a:gd name="T47" fmla="*/ 110 h 316"/>
                  <a:gd name="T48" fmla="*/ 864 w 731"/>
                  <a:gd name="T49" fmla="*/ 110 h 316"/>
                  <a:gd name="T50" fmla="*/ 927 w 731"/>
                  <a:gd name="T51" fmla="*/ 111 h 316"/>
                  <a:gd name="T52" fmla="*/ 982 w 731"/>
                  <a:gd name="T53" fmla="*/ 113 h 316"/>
                  <a:gd name="T54" fmla="*/ 972 w 731"/>
                  <a:gd name="T55" fmla="*/ 110 h 316"/>
                  <a:gd name="T56" fmla="*/ 921 w 731"/>
                  <a:gd name="T57" fmla="*/ 107 h 316"/>
                  <a:gd name="T58" fmla="*/ 878 w 731"/>
                  <a:gd name="T59" fmla="*/ 107 h 316"/>
                  <a:gd name="T60" fmla="*/ 827 w 731"/>
                  <a:gd name="T61" fmla="*/ 104 h 316"/>
                  <a:gd name="T62" fmla="*/ 773 w 731"/>
                  <a:gd name="T63" fmla="*/ 101 h 316"/>
                  <a:gd name="T64" fmla="*/ 716 w 731"/>
                  <a:gd name="T65" fmla="*/ 98 h 316"/>
                  <a:gd name="T66" fmla="*/ 659 w 731"/>
                  <a:gd name="T67" fmla="*/ 97 h 316"/>
                  <a:gd name="T68" fmla="*/ 603 w 731"/>
                  <a:gd name="T69" fmla="*/ 95 h 316"/>
                  <a:gd name="T70" fmla="*/ 541 w 731"/>
                  <a:gd name="T71" fmla="*/ 90 h 316"/>
                  <a:gd name="T72" fmla="*/ 484 w 731"/>
                  <a:gd name="T73" fmla="*/ 89 h 316"/>
                  <a:gd name="T74" fmla="*/ 422 w 731"/>
                  <a:gd name="T75" fmla="*/ 84 h 316"/>
                  <a:gd name="T76" fmla="*/ 379 w 731"/>
                  <a:gd name="T77" fmla="*/ 83 h 316"/>
                  <a:gd name="T78" fmla="*/ 329 w 731"/>
                  <a:gd name="T79" fmla="*/ 82 h 316"/>
                  <a:gd name="T80" fmla="*/ 286 w 731"/>
                  <a:gd name="T81" fmla="*/ 80 h 316"/>
                  <a:gd name="T82" fmla="*/ 243 w 731"/>
                  <a:gd name="T83" fmla="*/ 76 h 316"/>
                  <a:gd name="T84" fmla="*/ 199 w 731"/>
                  <a:gd name="T85" fmla="*/ 76 h 316"/>
                  <a:gd name="T86" fmla="*/ 603 w 731"/>
                  <a:gd name="T87" fmla="*/ 0 h 3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1"/>
                  <a:gd name="T133" fmla="*/ 0 h 316"/>
                  <a:gd name="T134" fmla="*/ 731 w 731"/>
                  <a:gd name="T135" fmla="*/ 316 h 3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1" h="316">
                    <a:moveTo>
                      <a:pt x="443" y="0"/>
                    </a:moveTo>
                    <a:lnTo>
                      <a:pt x="425" y="6"/>
                    </a:lnTo>
                    <a:lnTo>
                      <a:pt x="402" y="17"/>
                    </a:lnTo>
                    <a:lnTo>
                      <a:pt x="384" y="26"/>
                    </a:lnTo>
                    <a:lnTo>
                      <a:pt x="366" y="37"/>
                    </a:lnTo>
                    <a:lnTo>
                      <a:pt x="347" y="45"/>
                    </a:lnTo>
                    <a:lnTo>
                      <a:pt x="329" y="57"/>
                    </a:lnTo>
                    <a:lnTo>
                      <a:pt x="306" y="65"/>
                    </a:lnTo>
                    <a:lnTo>
                      <a:pt x="288" y="77"/>
                    </a:lnTo>
                    <a:lnTo>
                      <a:pt x="265" y="88"/>
                    </a:lnTo>
                    <a:lnTo>
                      <a:pt x="247" y="100"/>
                    </a:lnTo>
                    <a:lnTo>
                      <a:pt x="228" y="108"/>
                    </a:lnTo>
                    <a:lnTo>
                      <a:pt x="210" y="120"/>
                    </a:lnTo>
                    <a:lnTo>
                      <a:pt x="192" y="128"/>
                    </a:lnTo>
                    <a:lnTo>
                      <a:pt x="178" y="139"/>
                    </a:lnTo>
                    <a:lnTo>
                      <a:pt x="160" y="148"/>
                    </a:lnTo>
                    <a:lnTo>
                      <a:pt x="142" y="159"/>
                    </a:lnTo>
                    <a:lnTo>
                      <a:pt x="128" y="168"/>
                    </a:lnTo>
                    <a:lnTo>
                      <a:pt x="114" y="176"/>
                    </a:lnTo>
                    <a:lnTo>
                      <a:pt x="96" y="188"/>
                    </a:lnTo>
                    <a:lnTo>
                      <a:pt x="87" y="196"/>
                    </a:lnTo>
                    <a:lnTo>
                      <a:pt x="73" y="202"/>
                    </a:lnTo>
                    <a:lnTo>
                      <a:pt x="59" y="211"/>
                    </a:lnTo>
                    <a:lnTo>
                      <a:pt x="50" y="219"/>
                    </a:lnTo>
                    <a:lnTo>
                      <a:pt x="41" y="225"/>
                    </a:lnTo>
                    <a:lnTo>
                      <a:pt x="23" y="233"/>
                    </a:lnTo>
                    <a:lnTo>
                      <a:pt x="14" y="242"/>
                    </a:lnTo>
                    <a:lnTo>
                      <a:pt x="5" y="248"/>
                    </a:lnTo>
                    <a:lnTo>
                      <a:pt x="0" y="251"/>
                    </a:lnTo>
                    <a:lnTo>
                      <a:pt x="5" y="251"/>
                    </a:lnTo>
                    <a:lnTo>
                      <a:pt x="14" y="251"/>
                    </a:lnTo>
                    <a:lnTo>
                      <a:pt x="23" y="253"/>
                    </a:lnTo>
                    <a:lnTo>
                      <a:pt x="37" y="253"/>
                    </a:lnTo>
                    <a:lnTo>
                      <a:pt x="46" y="253"/>
                    </a:lnTo>
                    <a:lnTo>
                      <a:pt x="55" y="256"/>
                    </a:lnTo>
                    <a:lnTo>
                      <a:pt x="69" y="259"/>
                    </a:lnTo>
                    <a:lnTo>
                      <a:pt x="82" y="262"/>
                    </a:lnTo>
                    <a:lnTo>
                      <a:pt x="91" y="262"/>
                    </a:lnTo>
                    <a:lnTo>
                      <a:pt x="105" y="265"/>
                    </a:lnTo>
                    <a:lnTo>
                      <a:pt x="114" y="265"/>
                    </a:lnTo>
                    <a:lnTo>
                      <a:pt x="128" y="268"/>
                    </a:lnTo>
                    <a:lnTo>
                      <a:pt x="142" y="268"/>
                    </a:lnTo>
                    <a:lnTo>
                      <a:pt x="155" y="270"/>
                    </a:lnTo>
                    <a:lnTo>
                      <a:pt x="169" y="270"/>
                    </a:lnTo>
                    <a:lnTo>
                      <a:pt x="183" y="273"/>
                    </a:lnTo>
                    <a:lnTo>
                      <a:pt x="192" y="273"/>
                    </a:lnTo>
                    <a:lnTo>
                      <a:pt x="210" y="276"/>
                    </a:lnTo>
                    <a:lnTo>
                      <a:pt x="224" y="279"/>
                    </a:lnTo>
                    <a:lnTo>
                      <a:pt x="238" y="282"/>
                    </a:lnTo>
                    <a:lnTo>
                      <a:pt x="247" y="282"/>
                    </a:lnTo>
                    <a:lnTo>
                      <a:pt x="260" y="282"/>
                    </a:lnTo>
                    <a:lnTo>
                      <a:pt x="274" y="282"/>
                    </a:lnTo>
                    <a:lnTo>
                      <a:pt x="288" y="285"/>
                    </a:lnTo>
                    <a:lnTo>
                      <a:pt x="297" y="288"/>
                    </a:lnTo>
                    <a:lnTo>
                      <a:pt x="311" y="288"/>
                    </a:lnTo>
                    <a:lnTo>
                      <a:pt x="320" y="288"/>
                    </a:lnTo>
                    <a:lnTo>
                      <a:pt x="329" y="290"/>
                    </a:lnTo>
                    <a:lnTo>
                      <a:pt x="338" y="290"/>
                    </a:lnTo>
                    <a:lnTo>
                      <a:pt x="352" y="290"/>
                    </a:lnTo>
                    <a:lnTo>
                      <a:pt x="366" y="293"/>
                    </a:lnTo>
                    <a:lnTo>
                      <a:pt x="379" y="293"/>
                    </a:lnTo>
                    <a:lnTo>
                      <a:pt x="393" y="293"/>
                    </a:lnTo>
                    <a:lnTo>
                      <a:pt x="411" y="293"/>
                    </a:lnTo>
                    <a:lnTo>
                      <a:pt x="425" y="296"/>
                    </a:lnTo>
                    <a:lnTo>
                      <a:pt x="448" y="299"/>
                    </a:lnTo>
                    <a:lnTo>
                      <a:pt x="462" y="299"/>
                    </a:lnTo>
                    <a:lnTo>
                      <a:pt x="480" y="302"/>
                    </a:lnTo>
                    <a:lnTo>
                      <a:pt x="503" y="302"/>
                    </a:lnTo>
                    <a:lnTo>
                      <a:pt x="521" y="305"/>
                    </a:lnTo>
                    <a:lnTo>
                      <a:pt x="539" y="305"/>
                    </a:lnTo>
                    <a:lnTo>
                      <a:pt x="558" y="307"/>
                    </a:lnTo>
                    <a:lnTo>
                      <a:pt x="580" y="310"/>
                    </a:lnTo>
                    <a:lnTo>
                      <a:pt x="599" y="310"/>
                    </a:lnTo>
                    <a:lnTo>
                      <a:pt x="617" y="310"/>
                    </a:lnTo>
                    <a:lnTo>
                      <a:pt x="635" y="310"/>
                    </a:lnTo>
                    <a:lnTo>
                      <a:pt x="649" y="313"/>
                    </a:lnTo>
                    <a:lnTo>
                      <a:pt x="672" y="313"/>
                    </a:lnTo>
                    <a:lnTo>
                      <a:pt x="681" y="313"/>
                    </a:lnTo>
                    <a:lnTo>
                      <a:pt x="699" y="316"/>
                    </a:lnTo>
                    <a:lnTo>
                      <a:pt x="708" y="316"/>
                    </a:lnTo>
                    <a:lnTo>
                      <a:pt x="722" y="316"/>
                    </a:lnTo>
                    <a:lnTo>
                      <a:pt x="731" y="316"/>
                    </a:lnTo>
                    <a:lnTo>
                      <a:pt x="731" y="313"/>
                    </a:lnTo>
                    <a:lnTo>
                      <a:pt x="713" y="310"/>
                    </a:lnTo>
                    <a:lnTo>
                      <a:pt x="695" y="307"/>
                    </a:lnTo>
                    <a:lnTo>
                      <a:pt x="690" y="305"/>
                    </a:lnTo>
                    <a:lnTo>
                      <a:pt x="676" y="302"/>
                    </a:lnTo>
                    <a:lnTo>
                      <a:pt x="667" y="302"/>
                    </a:lnTo>
                    <a:lnTo>
                      <a:pt x="658" y="302"/>
                    </a:lnTo>
                    <a:lnTo>
                      <a:pt x="644" y="299"/>
                    </a:lnTo>
                    <a:lnTo>
                      <a:pt x="635" y="296"/>
                    </a:lnTo>
                    <a:lnTo>
                      <a:pt x="617" y="293"/>
                    </a:lnTo>
                    <a:lnTo>
                      <a:pt x="608" y="290"/>
                    </a:lnTo>
                    <a:lnTo>
                      <a:pt x="590" y="290"/>
                    </a:lnTo>
                    <a:lnTo>
                      <a:pt x="580" y="288"/>
                    </a:lnTo>
                    <a:lnTo>
                      <a:pt x="567" y="285"/>
                    </a:lnTo>
                    <a:lnTo>
                      <a:pt x="558" y="285"/>
                    </a:lnTo>
                    <a:lnTo>
                      <a:pt x="539" y="282"/>
                    </a:lnTo>
                    <a:lnTo>
                      <a:pt x="526" y="279"/>
                    </a:lnTo>
                    <a:lnTo>
                      <a:pt x="512" y="276"/>
                    </a:lnTo>
                    <a:lnTo>
                      <a:pt x="503" y="273"/>
                    </a:lnTo>
                    <a:lnTo>
                      <a:pt x="484" y="270"/>
                    </a:lnTo>
                    <a:lnTo>
                      <a:pt x="471" y="268"/>
                    </a:lnTo>
                    <a:lnTo>
                      <a:pt x="457" y="265"/>
                    </a:lnTo>
                    <a:lnTo>
                      <a:pt x="443" y="265"/>
                    </a:lnTo>
                    <a:lnTo>
                      <a:pt x="425" y="262"/>
                    </a:lnTo>
                    <a:lnTo>
                      <a:pt x="411" y="259"/>
                    </a:lnTo>
                    <a:lnTo>
                      <a:pt x="398" y="253"/>
                    </a:lnTo>
                    <a:lnTo>
                      <a:pt x="384" y="253"/>
                    </a:lnTo>
                    <a:lnTo>
                      <a:pt x="370" y="251"/>
                    </a:lnTo>
                    <a:lnTo>
                      <a:pt x="356" y="248"/>
                    </a:lnTo>
                    <a:lnTo>
                      <a:pt x="343" y="245"/>
                    </a:lnTo>
                    <a:lnTo>
                      <a:pt x="329" y="242"/>
                    </a:lnTo>
                    <a:lnTo>
                      <a:pt x="311" y="239"/>
                    </a:lnTo>
                    <a:lnTo>
                      <a:pt x="302" y="239"/>
                    </a:lnTo>
                    <a:lnTo>
                      <a:pt x="292" y="233"/>
                    </a:lnTo>
                    <a:lnTo>
                      <a:pt x="279" y="233"/>
                    </a:lnTo>
                    <a:lnTo>
                      <a:pt x="265" y="231"/>
                    </a:lnTo>
                    <a:lnTo>
                      <a:pt x="256" y="231"/>
                    </a:lnTo>
                    <a:lnTo>
                      <a:pt x="242" y="228"/>
                    </a:lnTo>
                    <a:lnTo>
                      <a:pt x="238" y="225"/>
                    </a:lnTo>
                    <a:lnTo>
                      <a:pt x="224" y="225"/>
                    </a:lnTo>
                    <a:lnTo>
                      <a:pt x="210" y="222"/>
                    </a:lnTo>
                    <a:lnTo>
                      <a:pt x="201" y="219"/>
                    </a:lnTo>
                    <a:lnTo>
                      <a:pt x="192" y="219"/>
                    </a:lnTo>
                    <a:lnTo>
                      <a:pt x="178" y="216"/>
                    </a:lnTo>
                    <a:lnTo>
                      <a:pt x="169" y="214"/>
                    </a:lnTo>
                    <a:lnTo>
                      <a:pt x="155" y="211"/>
                    </a:lnTo>
                    <a:lnTo>
                      <a:pt x="146" y="211"/>
                    </a:lnTo>
                    <a:lnTo>
                      <a:pt x="142" y="211"/>
                    </a:lnTo>
                    <a:lnTo>
                      <a:pt x="44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6" name="Freeform 19"/>
              <p:cNvSpPr>
                <a:spLocks/>
              </p:cNvSpPr>
              <p:nvPr>
                <p:custDataLst>
                  <p:tags r:id="rId148"/>
                </p:custDataLst>
              </p:nvPr>
            </p:nvSpPr>
            <p:spPr bwMode="gray">
              <a:xfrm>
                <a:off x="2047" y="511"/>
                <a:ext cx="988" cy="211"/>
              </a:xfrm>
              <a:custGeom>
                <a:avLst/>
                <a:gdLst>
                  <a:gd name="T0" fmla="*/ 44 w 964"/>
                  <a:gd name="T1" fmla="*/ 72 h 231"/>
                  <a:gd name="T2" fmla="*/ 116 w 964"/>
                  <a:gd name="T3" fmla="*/ 63 h 231"/>
                  <a:gd name="T4" fmla="*/ 171 w 964"/>
                  <a:gd name="T5" fmla="*/ 58 h 231"/>
                  <a:gd name="T6" fmla="*/ 214 w 964"/>
                  <a:gd name="T7" fmla="*/ 53 h 231"/>
                  <a:gd name="T8" fmla="*/ 264 w 964"/>
                  <a:gd name="T9" fmla="*/ 46 h 231"/>
                  <a:gd name="T10" fmla="*/ 307 w 964"/>
                  <a:gd name="T11" fmla="*/ 43 h 231"/>
                  <a:gd name="T12" fmla="*/ 356 w 964"/>
                  <a:gd name="T13" fmla="*/ 37 h 231"/>
                  <a:gd name="T14" fmla="*/ 399 w 964"/>
                  <a:gd name="T15" fmla="*/ 33 h 231"/>
                  <a:gd name="T16" fmla="*/ 449 w 964"/>
                  <a:gd name="T17" fmla="*/ 29 h 231"/>
                  <a:gd name="T18" fmla="*/ 492 w 964"/>
                  <a:gd name="T19" fmla="*/ 24 h 231"/>
                  <a:gd name="T20" fmla="*/ 540 w 964"/>
                  <a:gd name="T21" fmla="*/ 20 h 231"/>
                  <a:gd name="T22" fmla="*/ 583 w 964"/>
                  <a:gd name="T23" fmla="*/ 16 h 231"/>
                  <a:gd name="T24" fmla="*/ 625 w 964"/>
                  <a:gd name="T25" fmla="*/ 14 h 231"/>
                  <a:gd name="T26" fmla="*/ 668 w 964"/>
                  <a:gd name="T27" fmla="*/ 11 h 231"/>
                  <a:gd name="T28" fmla="*/ 737 w 964"/>
                  <a:gd name="T29" fmla="*/ 5 h 231"/>
                  <a:gd name="T30" fmla="*/ 805 w 964"/>
                  <a:gd name="T31" fmla="*/ 5 h 231"/>
                  <a:gd name="T32" fmla="*/ 867 w 964"/>
                  <a:gd name="T33" fmla="*/ 0 h 231"/>
                  <a:gd name="T34" fmla="*/ 915 w 964"/>
                  <a:gd name="T35" fmla="*/ 0 h 231"/>
                  <a:gd name="T36" fmla="*/ 969 w 964"/>
                  <a:gd name="T37" fmla="*/ 0 h 231"/>
                  <a:gd name="T38" fmla="*/ 1019 w 964"/>
                  <a:gd name="T39" fmla="*/ 5 h 231"/>
                  <a:gd name="T40" fmla="*/ 1081 w 964"/>
                  <a:gd name="T41" fmla="*/ 5 h 231"/>
                  <a:gd name="T42" fmla="*/ 1129 w 964"/>
                  <a:gd name="T43" fmla="*/ 8 h 231"/>
                  <a:gd name="T44" fmla="*/ 1180 w 964"/>
                  <a:gd name="T45" fmla="*/ 12 h 231"/>
                  <a:gd name="T46" fmla="*/ 1227 w 964"/>
                  <a:gd name="T47" fmla="*/ 15 h 231"/>
                  <a:gd name="T48" fmla="*/ 1283 w 964"/>
                  <a:gd name="T49" fmla="*/ 19 h 231"/>
                  <a:gd name="T50" fmla="*/ 1295 w 964"/>
                  <a:gd name="T51" fmla="*/ 20 h 231"/>
                  <a:gd name="T52" fmla="*/ 1246 w 964"/>
                  <a:gd name="T53" fmla="*/ 18 h 231"/>
                  <a:gd name="T54" fmla="*/ 1180 w 964"/>
                  <a:gd name="T55" fmla="*/ 15 h 231"/>
                  <a:gd name="T56" fmla="*/ 1137 w 964"/>
                  <a:gd name="T57" fmla="*/ 15 h 231"/>
                  <a:gd name="T58" fmla="*/ 1081 w 964"/>
                  <a:gd name="T59" fmla="*/ 13 h 231"/>
                  <a:gd name="T60" fmla="*/ 1019 w 964"/>
                  <a:gd name="T61" fmla="*/ 12 h 231"/>
                  <a:gd name="T62" fmla="*/ 959 w 964"/>
                  <a:gd name="T63" fmla="*/ 11 h 231"/>
                  <a:gd name="T64" fmla="*/ 896 w 964"/>
                  <a:gd name="T65" fmla="*/ 12 h 231"/>
                  <a:gd name="T66" fmla="*/ 835 w 964"/>
                  <a:gd name="T67" fmla="*/ 13 h 231"/>
                  <a:gd name="T68" fmla="*/ 767 w 964"/>
                  <a:gd name="T69" fmla="*/ 15 h 231"/>
                  <a:gd name="T70" fmla="*/ 700 w 964"/>
                  <a:gd name="T71" fmla="*/ 19 h 231"/>
                  <a:gd name="T72" fmla="*/ 656 w 964"/>
                  <a:gd name="T73" fmla="*/ 22 h 231"/>
                  <a:gd name="T74" fmla="*/ 615 w 964"/>
                  <a:gd name="T75" fmla="*/ 26 h 231"/>
                  <a:gd name="T76" fmla="*/ 559 w 964"/>
                  <a:gd name="T77" fmla="*/ 30 h 231"/>
                  <a:gd name="T78" fmla="*/ 508 w 964"/>
                  <a:gd name="T79" fmla="*/ 33 h 231"/>
                  <a:gd name="T80" fmla="*/ 461 w 964"/>
                  <a:gd name="T81" fmla="*/ 37 h 231"/>
                  <a:gd name="T82" fmla="*/ 407 w 964"/>
                  <a:gd name="T83" fmla="*/ 41 h 231"/>
                  <a:gd name="T84" fmla="*/ 356 w 964"/>
                  <a:gd name="T85" fmla="*/ 44 h 231"/>
                  <a:gd name="T86" fmla="*/ 307 w 964"/>
                  <a:gd name="T87" fmla="*/ 49 h 231"/>
                  <a:gd name="T88" fmla="*/ 253 w 964"/>
                  <a:gd name="T89" fmla="*/ 53 h 231"/>
                  <a:gd name="T90" fmla="*/ 209 w 964"/>
                  <a:gd name="T91" fmla="*/ 58 h 231"/>
                  <a:gd name="T92" fmla="*/ 166 w 964"/>
                  <a:gd name="T93" fmla="*/ 63 h 231"/>
                  <a:gd name="T94" fmla="*/ 116 w 964"/>
                  <a:gd name="T95" fmla="*/ 66 h 231"/>
                  <a:gd name="T96" fmla="*/ 49 w 964"/>
                  <a:gd name="T97" fmla="*/ 73 h 231"/>
                  <a:gd name="T98" fmla="*/ 0 w 964"/>
                  <a:gd name="T99" fmla="*/ 77 h 2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231"/>
                  <a:gd name="T152" fmla="*/ 964 w 964"/>
                  <a:gd name="T153" fmla="*/ 231 h 2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231">
                    <a:moveTo>
                      <a:pt x="0" y="231"/>
                    </a:moveTo>
                    <a:lnTo>
                      <a:pt x="14" y="222"/>
                    </a:lnTo>
                    <a:lnTo>
                      <a:pt x="32" y="214"/>
                    </a:lnTo>
                    <a:lnTo>
                      <a:pt x="46" y="202"/>
                    </a:lnTo>
                    <a:lnTo>
                      <a:pt x="69" y="197"/>
                    </a:lnTo>
                    <a:lnTo>
                      <a:pt x="87" y="185"/>
                    </a:lnTo>
                    <a:lnTo>
                      <a:pt x="105" y="177"/>
                    </a:lnTo>
                    <a:lnTo>
                      <a:pt x="119" y="171"/>
                    </a:lnTo>
                    <a:lnTo>
                      <a:pt x="128" y="168"/>
                    </a:lnTo>
                    <a:lnTo>
                      <a:pt x="142" y="163"/>
                    </a:lnTo>
                    <a:lnTo>
                      <a:pt x="151" y="157"/>
                    </a:lnTo>
                    <a:lnTo>
                      <a:pt x="160" y="154"/>
                    </a:lnTo>
                    <a:lnTo>
                      <a:pt x="169" y="148"/>
                    </a:lnTo>
                    <a:lnTo>
                      <a:pt x="183" y="143"/>
                    </a:lnTo>
                    <a:lnTo>
                      <a:pt x="197" y="137"/>
                    </a:lnTo>
                    <a:lnTo>
                      <a:pt x="206" y="134"/>
                    </a:lnTo>
                    <a:lnTo>
                      <a:pt x="220" y="128"/>
                    </a:lnTo>
                    <a:lnTo>
                      <a:pt x="229" y="126"/>
                    </a:lnTo>
                    <a:lnTo>
                      <a:pt x="238" y="120"/>
                    </a:lnTo>
                    <a:lnTo>
                      <a:pt x="256" y="114"/>
                    </a:lnTo>
                    <a:lnTo>
                      <a:pt x="265" y="111"/>
                    </a:lnTo>
                    <a:lnTo>
                      <a:pt x="274" y="106"/>
                    </a:lnTo>
                    <a:lnTo>
                      <a:pt x="288" y="103"/>
                    </a:lnTo>
                    <a:lnTo>
                      <a:pt x="297" y="97"/>
                    </a:lnTo>
                    <a:lnTo>
                      <a:pt x="311" y="91"/>
                    </a:lnTo>
                    <a:lnTo>
                      <a:pt x="325" y="91"/>
                    </a:lnTo>
                    <a:lnTo>
                      <a:pt x="334" y="86"/>
                    </a:lnTo>
                    <a:lnTo>
                      <a:pt x="343" y="80"/>
                    </a:lnTo>
                    <a:lnTo>
                      <a:pt x="357" y="77"/>
                    </a:lnTo>
                    <a:lnTo>
                      <a:pt x="366" y="71"/>
                    </a:lnTo>
                    <a:lnTo>
                      <a:pt x="379" y="69"/>
                    </a:lnTo>
                    <a:lnTo>
                      <a:pt x="389" y="66"/>
                    </a:lnTo>
                    <a:lnTo>
                      <a:pt x="402" y="60"/>
                    </a:lnTo>
                    <a:lnTo>
                      <a:pt x="411" y="57"/>
                    </a:lnTo>
                    <a:lnTo>
                      <a:pt x="425" y="54"/>
                    </a:lnTo>
                    <a:lnTo>
                      <a:pt x="434" y="49"/>
                    </a:lnTo>
                    <a:lnTo>
                      <a:pt x="448" y="49"/>
                    </a:lnTo>
                    <a:lnTo>
                      <a:pt x="457" y="43"/>
                    </a:lnTo>
                    <a:lnTo>
                      <a:pt x="466" y="40"/>
                    </a:lnTo>
                    <a:lnTo>
                      <a:pt x="480" y="37"/>
                    </a:lnTo>
                    <a:lnTo>
                      <a:pt x="489" y="34"/>
                    </a:lnTo>
                    <a:lnTo>
                      <a:pt x="498" y="32"/>
                    </a:lnTo>
                    <a:lnTo>
                      <a:pt x="512" y="29"/>
                    </a:lnTo>
                    <a:lnTo>
                      <a:pt x="530" y="23"/>
                    </a:lnTo>
                    <a:lnTo>
                      <a:pt x="549" y="17"/>
                    </a:lnTo>
                    <a:lnTo>
                      <a:pt x="567" y="15"/>
                    </a:lnTo>
                    <a:lnTo>
                      <a:pt x="585" y="9"/>
                    </a:lnTo>
                    <a:lnTo>
                      <a:pt x="599" y="6"/>
                    </a:lnTo>
                    <a:lnTo>
                      <a:pt x="617" y="6"/>
                    </a:lnTo>
                    <a:lnTo>
                      <a:pt x="631" y="0"/>
                    </a:lnTo>
                    <a:lnTo>
                      <a:pt x="645" y="0"/>
                    </a:lnTo>
                    <a:lnTo>
                      <a:pt x="654" y="0"/>
                    </a:lnTo>
                    <a:lnTo>
                      <a:pt x="667" y="0"/>
                    </a:lnTo>
                    <a:lnTo>
                      <a:pt x="681" y="0"/>
                    </a:lnTo>
                    <a:lnTo>
                      <a:pt x="695" y="0"/>
                    </a:lnTo>
                    <a:lnTo>
                      <a:pt x="704" y="0"/>
                    </a:lnTo>
                    <a:lnTo>
                      <a:pt x="722" y="0"/>
                    </a:lnTo>
                    <a:lnTo>
                      <a:pt x="736" y="3"/>
                    </a:lnTo>
                    <a:lnTo>
                      <a:pt x="750" y="6"/>
                    </a:lnTo>
                    <a:lnTo>
                      <a:pt x="759" y="6"/>
                    </a:lnTo>
                    <a:lnTo>
                      <a:pt x="777" y="9"/>
                    </a:lnTo>
                    <a:lnTo>
                      <a:pt x="786" y="12"/>
                    </a:lnTo>
                    <a:lnTo>
                      <a:pt x="804" y="17"/>
                    </a:lnTo>
                    <a:lnTo>
                      <a:pt x="814" y="17"/>
                    </a:lnTo>
                    <a:lnTo>
                      <a:pt x="827" y="20"/>
                    </a:lnTo>
                    <a:lnTo>
                      <a:pt x="841" y="23"/>
                    </a:lnTo>
                    <a:lnTo>
                      <a:pt x="855" y="29"/>
                    </a:lnTo>
                    <a:lnTo>
                      <a:pt x="864" y="29"/>
                    </a:lnTo>
                    <a:lnTo>
                      <a:pt x="878" y="34"/>
                    </a:lnTo>
                    <a:lnTo>
                      <a:pt x="887" y="37"/>
                    </a:lnTo>
                    <a:lnTo>
                      <a:pt x="896" y="40"/>
                    </a:lnTo>
                    <a:lnTo>
                      <a:pt x="914" y="43"/>
                    </a:lnTo>
                    <a:lnTo>
                      <a:pt x="932" y="49"/>
                    </a:lnTo>
                    <a:lnTo>
                      <a:pt x="946" y="54"/>
                    </a:lnTo>
                    <a:lnTo>
                      <a:pt x="955" y="57"/>
                    </a:lnTo>
                    <a:lnTo>
                      <a:pt x="964" y="60"/>
                    </a:lnTo>
                    <a:lnTo>
                      <a:pt x="955" y="60"/>
                    </a:lnTo>
                    <a:lnTo>
                      <a:pt x="946" y="57"/>
                    </a:lnTo>
                    <a:lnTo>
                      <a:pt x="928" y="54"/>
                    </a:lnTo>
                    <a:lnTo>
                      <a:pt x="910" y="49"/>
                    </a:lnTo>
                    <a:lnTo>
                      <a:pt x="891" y="49"/>
                    </a:lnTo>
                    <a:lnTo>
                      <a:pt x="878" y="46"/>
                    </a:lnTo>
                    <a:lnTo>
                      <a:pt x="868" y="43"/>
                    </a:lnTo>
                    <a:lnTo>
                      <a:pt x="859" y="43"/>
                    </a:lnTo>
                    <a:lnTo>
                      <a:pt x="846" y="43"/>
                    </a:lnTo>
                    <a:lnTo>
                      <a:pt x="832" y="40"/>
                    </a:lnTo>
                    <a:lnTo>
                      <a:pt x="823" y="37"/>
                    </a:lnTo>
                    <a:lnTo>
                      <a:pt x="804" y="37"/>
                    </a:lnTo>
                    <a:lnTo>
                      <a:pt x="791" y="37"/>
                    </a:lnTo>
                    <a:lnTo>
                      <a:pt x="772" y="34"/>
                    </a:lnTo>
                    <a:lnTo>
                      <a:pt x="759" y="34"/>
                    </a:lnTo>
                    <a:lnTo>
                      <a:pt x="745" y="34"/>
                    </a:lnTo>
                    <a:lnTo>
                      <a:pt x="731" y="34"/>
                    </a:lnTo>
                    <a:lnTo>
                      <a:pt x="713" y="32"/>
                    </a:lnTo>
                    <a:lnTo>
                      <a:pt x="699" y="32"/>
                    </a:lnTo>
                    <a:lnTo>
                      <a:pt x="681" y="32"/>
                    </a:lnTo>
                    <a:lnTo>
                      <a:pt x="667" y="34"/>
                    </a:lnTo>
                    <a:lnTo>
                      <a:pt x="654" y="34"/>
                    </a:lnTo>
                    <a:lnTo>
                      <a:pt x="635" y="37"/>
                    </a:lnTo>
                    <a:lnTo>
                      <a:pt x="622" y="37"/>
                    </a:lnTo>
                    <a:lnTo>
                      <a:pt x="608" y="43"/>
                    </a:lnTo>
                    <a:lnTo>
                      <a:pt x="585" y="43"/>
                    </a:lnTo>
                    <a:lnTo>
                      <a:pt x="571" y="46"/>
                    </a:lnTo>
                    <a:lnTo>
                      <a:pt x="549" y="49"/>
                    </a:lnTo>
                    <a:lnTo>
                      <a:pt x="530" y="57"/>
                    </a:lnTo>
                    <a:lnTo>
                      <a:pt x="521" y="57"/>
                    </a:lnTo>
                    <a:lnTo>
                      <a:pt x="512" y="60"/>
                    </a:lnTo>
                    <a:lnTo>
                      <a:pt x="498" y="63"/>
                    </a:lnTo>
                    <a:lnTo>
                      <a:pt x="489" y="66"/>
                    </a:lnTo>
                    <a:lnTo>
                      <a:pt x="480" y="71"/>
                    </a:lnTo>
                    <a:lnTo>
                      <a:pt x="466" y="71"/>
                    </a:lnTo>
                    <a:lnTo>
                      <a:pt x="457" y="77"/>
                    </a:lnTo>
                    <a:lnTo>
                      <a:pt x="443" y="80"/>
                    </a:lnTo>
                    <a:lnTo>
                      <a:pt x="430" y="83"/>
                    </a:lnTo>
                    <a:lnTo>
                      <a:pt x="416" y="89"/>
                    </a:lnTo>
                    <a:lnTo>
                      <a:pt x="402" y="91"/>
                    </a:lnTo>
                    <a:lnTo>
                      <a:pt x="393" y="94"/>
                    </a:lnTo>
                    <a:lnTo>
                      <a:pt x="379" y="97"/>
                    </a:lnTo>
                    <a:lnTo>
                      <a:pt x="366" y="103"/>
                    </a:lnTo>
                    <a:lnTo>
                      <a:pt x="357" y="106"/>
                    </a:lnTo>
                    <a:lnTo>
                      <a:pt x="343" y="111"/>
                    </a:lnTo>
                    <a:lnTo>
                      <a:pt x="325" y="114"/>
                    </a:lnTo>
                    <a:lnTo>
                      <a:pt x="311" y="117"/>
                    </a:lnTo>
                    <a:lnTo>
                      <a:pt x="302" y="123"/>
                    </a:lnTo>
                    <a:lnTo>
                      <a:pt x="288" y="128"/>
                    </a:lnTo>
                    <a:lnTo>
                      <a:pt x="274" y="131"/>
                    </a:lnTo>
                    <a:lnTo>
                      <a:pt x="265" y="134"/>
                    </a:lnTo>
                    <a:lnTo>
                      <a:pt x="256" y="140"/>
                    </a:lnTo>
                    <a:lnTo>
                      <a:pt x="238" y="145"/>
                    </a:lnTo>
                    <a:lnTo>
                      <a:pt x="229" y="148"/>
                    </a:lnTo>
                    <a:lnTo>
                      <a:pt x="215" y="151"/>
                    </a:lnTo>
                    <a:lnTo>
                      <a:pt x="201" y="157"/>
                    </a:lnTo>
                    <a:lnTo>
                      <a:pt x="188" y="160"/>
                    </a:lnTo>
                    <a:lnTo>
                      <a:pt x="178" y="163"/>
                    </a:lnTo>
                    <a:lnTo>
                      <a:pt x="169" y="168"/>
                    </a:lnTo>
                    <a:lnTo>
                      <a:pt x="156" y="171"/>
                    </a:lnTo>
                    <a:lnTo>
                      <a:pt x="146" y="177"/>
                    </a:lnTo>
                    <a:lnTo>
                      <a:pt x="133" y="180"/>
                    </a:lnTo>
                    <a:lnTo>
                      <a:pt x="124" y="183"/>
                    </a:lnTo>
                    <a:lnTo>
                      <a:pt x="114" y="185"/>
                    </a:lnTo>
                    <a:lnTo>
                      <a:pt x="105" y="191"/>
                    </a:lnTo>
                    <a:lnTo>
                      <a:pt x="87" y="197"/>
                    </a:lnTo>
                    <a:lnTo>
                      <a:pt x="69" y="205"/>
                    </a:lnTo>
                    <a:lnTo>
                      <a:pt x="55" y="211"/>
                    </a:lnTo>
                    <a:lnTo>
                      <a:pt x="37" y="217"/>
                    </a:lnTo>
                    <a:lnTo>
                      <a:pt x="28" y="220"/>
                    </a:lnTo>
                    <a:lnTo>
                      <a:pt x="18" y="225"/>
                    </a:lnTo>
                    <a:lnTo>
                      <a:pt x="0" y="23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7" name="Freeform 20"/>
              <p:cNvSpPr>
                <a:spLocks/>
              </p:cNvSpPr>
              <p:nvPr>
                <p:custDataLst>
                  <p:tags r:id="rId149"/>
                </p:custDataLst>
              </p:nvPr>
            </p:nvSpPr>
            <p:spPr bwMode="gray">
              <a:xfrm>
                <a:off x="4230" y="923"/>
                <a:ext cx="797" cy="336"/>
              </a:xfrm>
              <a:custGeom>
                <a:avLst/>
                <a:gdLst>
                  <a:gd name="T0" fmla="*/ 35 w 777"/>
                  <a:gd name="T1" fmla="*/ 5 h 367"/>
                  <a:gd name="T2" fmla="*/ 88 w 777"/>
                  <a:gd name="T3" fmla="*/ 8 h 367"/>
                  <a:gd name="T4" fmla="*/ 136 w 777"/>
                  <a:gd name="T5" fmla="*/ 13 h 367"/>
                  <a:gd name="T6" fmla="*/ 187 w 777"/>
                  <a:gd name="T7" fmla="*/ 17 h 367"/>
                  <a:gd name="T8" fmla="*/ 248 w 777"/>
                  <a:gd name="T9" fmla="*/ 24 h 367"/>
                  <a:gd name="T10" fmla="*/ 309 w 777"/>
                  <a:gd name="T11" fmla="*/ 31 h 367"/>
                  <a:gd name="T12" fmla="*/ 378 w 777"/>
                  <a:gd name="T13" fmla="*/ 38 h 367"/>
                  <a:gd name="T14" fmla="*/ 446 w 777"/>
                  <a:gd name="T15" fmla="*/ 45 h 367"/>
                  <a:gd name="T16" fmla="*/ 521 w 777"/>
                  <a:gd name="T17" fmla="*/ 54 h 367"/>
                  <a:gd name="T18" fmla="*/ 588 w 777"/>
                  <a:gd name="T19" fmla="*/ 61 h 367"/>
                  <a:gd name="T20" fmla="*/ 664 w 777"/>
                  <a:gd name="T21" fmla="*/ 69 h 367"/>
                  <a:gd name="T22" fmla="*/ 731 w 777"/>
                  <a:gd name="T23" fmla="*/ 76 h 367"/>
                  <a:gd name="T24" fmla="*/ 793 w 777"/>
                  <a:gd name="T25" fmla="*/ 83 h 367"/>
                  <a:gd name="T26" fmla="*/ 854 w 777"/>
                  <a:gd name="T27" fmla="*/ 90 h 367"/>
                  <a:gd name="T28" fmla="*/ 912 w 777"/>
                  <a:gd name="T29" fmla="*/ 95 h 367"/>
                  <a:gd name="T30" fmla="*/ 961 w 777"/>
                  <a:gd name="T31" fmla="*/ 102 h 367"/>
                  <a:gd name="T32" fmla="*/ 1015 w 777"/>
                  <a:gd name="T33" fmla="*/ 110 h 367"/>
                  <a:gd name="T34" fmla="*/ 1055 w 777"/>
                  <a:gd name="T35" fmla="*/ 114 h 367"/>
                  <a:gd name="T36" fmla="*/ 1015 w 777"/>
                  <a:gd name="T37" fmla="*/ 114 h 367"/>
                  <a:gd name="T38" fmla="*/ 966 w 777"/>
                  <a:gd name="T39" fmla="*/ 118 h 367"/>
                  <a:gd name="T40" fmla="*/ 907 w 777"/>
                  <a:gd name="T41" fmla="*/ 119 h 367"/>
                  <a:gd name="T42" fmla="*/ 830 w 777"/>
                  <a:gd name="T43" fmla="*/ 121 h 367"/>
                  <a:gd name="T44" fmla="*/ 755 w 777"/>
                  <a:gd name="T45" fmla="*/ 123 h 367"/>
                  <a:gd name="T46" fmla="*/ 669 w 777"/>
                  <a:gd name="T47" fmla="*/ 125 h 367"/>
                  <a:gd name="T48" fmla="*/ 601 w 777"/>
                  <a:gd name="T49" fmla="*/ 125 h 367"/>
                  <a:gd name="T50" fmla="*/ 539 w 777"/>
                  <a:gd name="T51" fmla="*/ 127 h 367"/>
                  <a:gd name="T52" fmla="*/ 793 w 777"/>
                  <a:gd name="T53" fmla="*/ 101 h 367"/>
                  <a:gd name="T54" fmla="*/ 743 w 777"/>
                  <a:gd name="T55" fmla="*/ 94 h 367"/>
                  <a:gd name="T56" fmla="*/ 695 w 777"/>
                  <a:gd name="T57" fmla="*/ 87 h 367"/>
                  <a:gd name="T58" fmla="*/ 645 w 777"/>
                  <a:gd name="T59" fmla="*/ 81 h 367"/>
                  <a:gd name="T60" fmla="*/ 597 w 777"/>
                  <a:gd name="T61" fmla="*/ 74 h 367"/>
                  <a:gd name="T62" fmla="*/ 539 w 777"/>
                  <a:gd name="T63" fmla="*/ 69 h 367"/>
                  <a:gd name="T64" fmla="*/ 490 w 777"/>
                  <a:gd name="T65" fmla="*/ 61 h 367"/>
                  <a:gd name="T66" fmla="*/ 422 w 777"/>
                  <a:gd name="T67" fmla="*/ 55 h 367"/>
                  <a:gd name="T68" fmla="*/ 371 w 777"/>
                  <a:gd name="T69" fmla="*/ 47 h 367"/>
                  <a:gd name="T70" fmla="*/ 309 w 777"/>
                  <a:gd name="T71" fmla="*/ 41 h 367"/>
                  <a:gd name="T72" fmla="*/ 253 w 777"/>
                  <a:gd name="T73" fmla="*/ 34 h 367"/>
                  <a:gd name="T74" fmla="*/ 198 w 777"/>
                  <a:gd name="T75" fmla="*/ 26 h 367"/>
                  <a:gd name="T76" fmla="*/ 154 w 777"/>
                  <a:gd name="T77" fmla="*/ 20 h 367"/>
                  <a:gd name="T78" fmla="*/ 110 w 777"/>
                  <a:gd name="T79" fmla="*/ 14 h 367"/>
                  <a:gd name="T80" fmla="*/ 48 w 777"/>
                  <a:gd name="T81" fmla="*/ 5 h 367"/>
                  <a:gd name="T82" fmla="*/ 0 w 777"/>
                  <a:gd name="T83" fmla="*/ 0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7"/>
                  <a:gd name="T127" fmla="*/ 0 h 367"/>
                  <a:gd name="T128" fmla="*/ 777 w 777"/>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7" h="367">
                    <a:moveTo>
                      <a:pt x="4" y="0"/>
                    </a:moveTo>
                    <a:lnTo>
                      <a:pt x="9" y="0"/>
                    </a:lnTo>
                    <a:lnTo>
                      <a:pt x="23" y="6"/>
                    </a:lnTo>
                    <a:lnTo>
                      <a:pt x="36" y="11"/>
                    </a:lnTo>
                    <a:lnTo>
                      <a:pt x="55" y="17"/>
                    </a:lnTo>
                    <a:lnTo>
                      <a:pt x="64" y="23"/>
                    </a:lnTo>
                    <a:lnTo>
                      <a:pt x="73" y="26"/>
                    </a:lnTo>
                    <a:lnTo>
                      <a:pt x="87" y="28"/>
                    </a:lnTo>
                    <a:lnTo>
                      <a:pt x="100" y="37"/>
                    </a:lnTo>
                    <a:lnTo>
                      <a:pt x="110" y="40"/>
                    </a:lnTo>
                    <a:lnTo>
                      <a:pt x="123" y="46"/>
                    </a:lnTo>
                    <a:lnTo>
                      <a:pt x="137" y="51"/>
                    </a:lnTo>
                    <a:lnTo>
                      <a:pt x="155" y="57"/>
                    </a:lnTo>
                    <a:lnTo>
                      <a:pt x="169" y="65"/>
                    </a:lnTo>
                    <a:lnTo>
                      <a:pt x="183" y="68"/>
                    </a:lnTo>
                    <a:lnTo>
                      <a:pt x="196" y="74"/>
                    </a:lnTo>
                    <a:lnTo>
                      <a:pt x="215" y="85"/>
                    </a:lnTo>
                    <a:lnTo>
                      <a:pt x="228" y="88"/>
                    </a:lnTo>
                    <a:lnTo>
                      <a:pt x="247" y="97"/>
                    </a:lnTo>
                    <a:lnTo>
                      <a:pt x="260" y="105"/>
                    </a:lnTo>
                    <a:lnTo>
                      <a:pt x="279" y="111"/>
                    </a:lnTo>
                    <a:lnTo>
                      <a:pt x="297" y="117"/>
                    </a:lnTo>
                    <a:lnTo>
                      <a:pt x="311" y="125"/>
                    </a:lnTo>
                    <a:lnTo>
                      <a:pt x="329" y="131"/>
                    </a:lnTo>
                    <a:lnTo>
                      <a:pt x="347" y="140"/>
                    </a:lnTo>
                    <a:lnTo>
                      <a:pt x="365" y="148"/>
                    </a:lnTo>
                    <a:lnTo>
                      <a:pt x="384" y="154"/>
                    </a:lnTo>
                    <a:lnTo>
                      <a:pt x="402" y="162"/>
                    </a:lnTo>
                    <a:lnTo>
                      <a:pt x="420" y="171"/>
                    </a:lnTo>
                    <a:lnTo>
                      <a:pt x="434" y="177"/>
                    </a:lnTo>
                    <a:lnTo>
                      <a:pt x="457" y="185"/>
                    </a:lnTo>
                    <a:lnTo>
                      <a:pt x="471" y="191"/>
                    </a:lnTo>
                    <a:lnTo>
                      <a:pt x="489" y="199"/>
                    </a:lnTo>
                    <a:lnTo>
                      <a:pt x="507" y="205"/>
                    </a:lnTo>
                    <a:lnTo>
                      <a:pt x="525" y="214"/>
                    </a:lnTo>
                    <a:lnTo>
                      <a:pt x="539" y="219"/>
                    </a:lnTo>
                    <a:lnTo>
                      <a:pt x="557" y="225"/>
                    </a:lnTo>
                    <a:lnTo>
                      <a:pt x="571" y="233"/>
                    </a:lnTo>
                    <a:lnTo>
                      <a:pt x="585" y="239"/>
                    </a:lnTo>
                    <a:lnTo>
                      <a:pt x="603" y="248"/>
                    </a:lnTo>
                    <a:lnTo>
                      <a:pt x="617" y="253"/>
                    </a:lnTo>
                    <a:lnTo>
                      <a:pt x="630" y="259"/>
                    </a:lnTo>
                    <a:lnTo>
                      <a:pt x="644" y="268"/>
                    </a:lnTo>
                    <a:lnTo>
                      <a:pt x="658" y="273"/>
                    </a:lnTo>
                    <a:lnTo>
                      <a:pt x="672" y="279"/>
                    </a:lnTo>
                    <a:lnTo>
                      <a:pt x="681" y="282"/>
                    </a:lnTo>
                    <a:lnTo>
                      <a:pt x="690" y="288"/>
                    </a:lnTo>
                    <a:lnTo>
                      <a:pt x="708" y="293"/>
                    </a:lnTo>
                    <a:lnTo>
                      <a:pt x="717" y="299"/>
                    </a:lnTo>
                    <a:lnTo>
                      <a:pt x="736" y="308"/>
                    </a:lnTo>
                    <a:lnTo>
                      <a:pt x="749" y="316"/>
                    </a:lnTo>
                    <a:lnTo>
                      <a:pt x="763" y="322"/>
                    </a:lnTo>
                    <a:lnTo>
                      <a:pt x="772" y="325"/>
                    </a:lnTo>
                    <a:lnTo>
                      <a:pt x="777" y="330"/>
                    </a:lnTo>
                    <a:lnTo>
                      <a:pt x="763" y="330"/>
                    </a:lnTo>
                    <a:lnTo>
                      <a:pt x="749" y="333"/>
                    </a:lnTo>
                    <a:lnTo>
                      <a:pt x="740" y="336"/>
                    </a:lnTo>
                    <a:lnTo>
                      <a:pt x="726" y="336"/>
                    </a:lnTo>
                    <a:lnTo>
                      <a:pt x="713" y="339"/>
                    </a:lnTo>
                    <a:lnTo>
                      <a:pt x="699" y="342"/>
                    </a:lnTo>
                    <a:lnTo>
                      <a:pt x="681" y="342"/>
                    </a:lnTo>
                    <a:lnTo>
                      <a:pt x="667" y="342"/>
                    </a:lnTo>
                    <a:lnTo>
                      <a:pt x="649" y="342"/>
                    </a:lnTo>
                    <a:lnTo>
                      <a:pt x="630" y="347"/>
                    </a:lnTo>
                    <a:lnTo>
                      <a:pt x="612" y="347"/>
                    </a:lnTo>
                    <a:lnTo>
                      <a:pt x="594" y="350"/>
                    </a:lnTo>
                    <a:lnTo>
                      <a:pt x="571" y="353"/>
                    </a:lnTo>
                    <a:lnTo>
                      <a:pt x="557" y="353"/>
                    </a:lnTo>
                    <a:lnTo>
                      <a:pt x="535" y="356"/>
                    </a:lnTo>
                    <a:lnTo>
                      <a:pt x="516" y="359"/>
                    </a:lnTo>
                    <a:lnTo>
                      <a:pt x="493" y="359"/>
                    </a:lnTo>
                    <a:lnTo>
                      <a:pt x="480" y="362"/>
                    </a:lnTo>
                    <a:lnTo>
                      <a:pt x="461" y="362"/>
                    </a:lnTo>
                    <a:lnTo>
                      <a:pt x="443" y="364"/>
                    </a:lnTo>
                    <a:lnTo>
                      <a:pt x="425" y="364"/>
                    </a:lnTo>
                    <a:lnTo>
                      <a:pt x="416" y="367"/>
                    </a:lnTo>
                    <a:lnTo>
                      <a:pt x="397" y="367"/>
                    </a:lnTo>
                    <a:lnTo>
                      <a:pt x="589" y="293"/>
                    </a:lnTo>
                    <a:lnTo>
                      <a:pt x="585" y="290"/>
                    </a:lnTo>
                    <a:lnTo>
                      <a:pt x="585" y="288"/>
                    </a:lnTo>
                    <a:lnTo>
                      <a:pt x="571" y="282"/>
                    </a:lnTo>
                    <a:lnTo>
                      <a:pt x="562" y="279"/>
                    </a:lnTo>
                    <a:lnTo>
                      <a:pt x="548" y="271"/>
                    </a:lnTo>
                    <a:lnTo>
                      <a:pt x="525" y="262"/>
                    </a:lnTo>
                    <a:lnTo>
                      <a:pt x="516" y="256"/>
                    </a:lnTo>
                    <a:lnTo>
                      <a:pt x="512" y="253"/>
                    </a:lnTo>
                    <a:lnTo>
                      <a:pt x="498" y="248"/>
                    </a:lnTo>
                    <a:lnTo>
                      <a:pt x="489" y="242"/>
                    </a:lnTo>
                    <a:lnTo>
                      <a:pt x="475" y="236"/>
                    </a:lnTo>
                    <a:lnTo>
                      <a:pt x="466" y="231"/>
                    </a:lnTo>
                    <a:lnTo>
                      <a:pt x="452" y="225"/>
                    </a:lnTo>
                    <a:lnTo>
                      <a:pt x="439" y="216"/>
                    </a:lnTo>
                    <a:lnTo>
                      <a:pt x="425" y="211"/>
                    </a:lnTo>
                    <a:lnTo>
                      <a:pt x="416" y="205"/>
                    </a:lnTo>
                    <a:lnTo>
                      <a:pt x="397" y="199"/>
                    </a:lnTo>
                    <a:lnTo>
                      <a:pt x="384" y="194"/>
                    </a:lnTo>
                    <a:lnTo>
                      <a:pt x="370" y="185"/>
                    </a:lnTo>
                    <a:lnTo>
                      <a:pt x="361" y="179"/>
                    </a:lnTo>
                    <a:lnTo>
                      <a:pt x="347" y="171"/>
                    </a:lnTo>
                    <a:lnTo>
                      <a:pt x="329" y="165"/>
                    </a:lnTo>
                    <a:lnTo>
                      <a:pt x="311" y="157"/>
                    </a:lnTo>
                    <a:lnTo>
                      <a:pt x="301" y="151"/>
                    </a:lnTo>
                    <a:lnTo>
                      <a:pt x="288" y="145"/>
                    </a:lnTo>
                    <a:lnTo>
                      <a:pt x="274" y="137"/>
                    </a:lnTo>
                    <a:lnTo>
                      <a:pt x="256" y="131"/>
                    </a:lnTo>
                    <a:lnTo>
                      <a:pt x="242" y="122"/>
                    </a:lnTo>
                    <a:lnTo>
                      <a:pt x="228" y="117"/>
                    </a:lnTo>
                    <a:lnTo>
                      <a:pt x="215" y="108"/>
                    </a:lnTo>
                    <a:lnTo>
                      <a:pt x="201" y="103"/>
                    </a:lnTo>
                    <a:lnTo>
                      <a:pt x="187" y="97"/>
                    </a:lnTo>
                    <a:lnTo>
                      <a:pt x="173" y="88"/>
                    </a:lnTo>
                    <a:lnTo>
                      <a:pt x="160" y="85"/>
                    </a:lnTo>
                    <a:lnTo>
                      <a:pt x="146" y="74"/>
                    </a:lnTo>
                    <a:lnTo>
                      <a:pt x="137" y="68"/>
                    </a:lnTo>
                    <a:lnTo>
                      <a:pt x="123" y="65"/>
                    </a:lnTo>
                    <a:lnTo>
                      <a:pt x="114" y="57"/>
                    </a:lnTo>
                    <a:lnTo>
                      <a:pt x="100" y="48"/>
                    </a:lnTo>
                    <a:lnTo>
                      <a:pt x="87" y="46"/>
                    </a:lnTo>
                    <a:lnTo>
                      <a:pt x="82" y="40"/>
                    </a:lnTo>
                    <a:lnTo>
                      <a:pt x="73" y="37"/>
                    </a:lnTo>
                    <a:lnTo>
                      <a:pt x="50" y="26"/>
                    </a:lnTo>
                    <a:lnTo>
                      <a:pt x="36" y="17"/>
                    </a:lnTo>
                    <a:lnTo>
                      <a:pt x="23" y="11"/>
                    </a:lnTo>
                    <a:lnTo>
                      <a:pt x="14" y="6"/>
                    </a:lnTo>
                    <a:lnTo>
                      <a:pt x="0" y="0"/>
                    </a:lnTo>
                    <a:lnTo>
                      <a:pt x="4"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8" name="Freeform 21"/>
              <p:cNvSpPr>
                <a:spLocks/>
              </p:cNvSpPr>
              <p:nvPr>
                <p:custDataLst>
                  <p:tags r:id="rId150"/>
                </p:custDataLst>
              </p:nvPr>
            </p:nvSpPr>
            <p:spPr bwMode="gray">
              <a:xfrm>
                <a:off x="2000" y="1341"/>
                <a:ext cx="1804" cy="70"/>
              </a:xfrm>
              <a:custGeom>
                <a:avLst/>
                <a:gdLst>
                  <a:gd name="T0" fmla="*/ 473 w 1760"/>
                  <a:gd name="T1" fmla="*/ 22 h 77"/>
                  <a:gd name="T2" fmla="*/ 629 w 1760"/>
                  <a:gd name="T3" fmla="*/ 25 h 77"/>
                  <a:gd name="T4" fmla="*/ 794 w 1760"/>
                  <a:gd name="T5" fmla="*/ 25 h 77"/>
                  <a:gd name="T6" fmla="*/ 959 w 1760"/>
                  <a:gd name="T7" fmla="*/ 25 h 77"/>
                  <a:gd name="T8" fmla="*/ 1132 w 1760"/>
                  <a:gd name="T9" fmla="*/ 25 h 77"/>
                  <a:gd name="T10" fmla="*/ 1310 w 1760"/>
                  <a:gd name="T11" fmla="*/ 23 h 77"/>
                  <a:gd name="T12" fmla="*/ 1475 w 1760"/>
                  <a:gd name="T13" fmla="*/ 20 h 77"/>
                  <a:gd name="T14" fmla="*/ 1642 w 1760"/>
                  <a:gd name="T15" fmla="*/ 17 h 77"/>
                  <a:gd name="T16" fmla="*/ 1797 w 1760"/>
                  <a:gd name="T17" fmla="*/ 15 h 77"/>
                  <a:gd name="T18" fmla="*/ 1938 w 1760"/>
                  <a:gd name="T19" fmla="*/ 12 h 77"/>
                  <a:gd name="T20" fmla="*/ 2063 w 1760"/>
                  <a:gd name="T21" fmla="*/ 10 h 77"/>
                  <a:gd name="T22" fmla="*/ 2169 w 1760"/>
                  <a:gd name="T23" fmla="*/ 6 h 77"/>
                  <a:gd name="T24" fmla="*/ 2256 w 1760"/>
                  <a:gd name="T25" fmla="*/ 5 h 77"/>
                  <a:gd name="T26" fmla="*/ 2317 w 1760"/>
                  <a:gd name="T27" fmla="*/ 5 h 77"/>
                  <a:gd name="T28" fmla="*/ 2367 w 1760"/>
                  <a:gd name="T29" fmla="*/ 0 h 77"/>
                  <a:gd name="T30" fmla="*/ 2300 w 1760"/>
                  <a:gd name="T31" fmla="*/ 0 h 77"/>
                  <a:gd name="T32" fmla="*/ 2217 w 1760"/>
                  <a:gd name="T33" fmla="*/ 3 h 77"/>
                  <a:gd name="T34" fmla="*/ 2145 w 1760"/>
                  <a:gd name="T35" fmla="*/ 5 h 77"/>
                  <a:gd name="T36" fmla="*/ 2052 w 1760"/>
                  <a:gd name="T37" fmla="*/ 5 h 77"/>
                  <a:gd name="T38" fmla="*/ 1958 w 1760"/>
                  <a:gd name="T39" fmla="*/ 5 h 77"/>
                  <a:gd name="T40" fmla="*/ 1856 w 1760"/>
                  <a:gd name="T41" fmla="*/ 5 h 77"/>
                  <a:gd name="T42" fmla="*/ 1754 w 1760"/>
                  <a:gd name="T43" fmla="*/ 5 h 77"/>
                  <a:gd name="T44" fmla="*/ 1635 w 1760"/>
                  <a:gd name="T45" fmla="*/ 6 h 77"/>
                  <a:gd name="T46" fmla="*/ 1525 w 1760"/>
                  <a:gd name="T47" fmla="*/ 7 h 77"/>
                  <a:gd name="T48" fmla="*/ 1416 w 1760"/>
                  <a:gd name="T49" fmla="*/ 10 h 77"/>
                  <a:gd name="T50" fmla="*/ 1310 w 1760"/>
                  <a:gd name="T51" fmla="*/ 11 h 77"/>
                  <a:gd name="T52" fmla="*/ 1212 w 1760"/>
                  <a:gd name="T53" fmla="*/ 12 h 77"/>
                  <a:gd name="T54" fmla="*/ 1119 w 1760"/>
                  <a:gd name="T55" fmla="*/ 13 h 77"/>
                  <a:gd name="T56" fmla="*/ 1043 w 1760"/>
                  <a:gd name="T57" fmla="*/ 13 h 77"/>
                  <a:gd name="T58" fmla="*/ 984 w 1760"/>
                  <a:gd name="T59" fmla="*/ 14 h 77"/>
                  <a:gd name="T60" fmla="*/ 921 w 1760"/>
                  <a:gd name="T61" fmla="*/ 14 h 77"/>
                  <a:gd name="T62" fmla="*/ 860 w 1760"/>
                  <a:gd name="T63" fmla="*/ 14 h 77"/>
                  <a:gd name="T64" fmla="*/ 787 w 1760"/>
                  <a:gd name="T65" fmla="*/ 15 h 77"/>
                  <a:gd name="T66" fmla="*/ 707 w 1760"/>
                  <a:gd name="T67" fmla="*/ 15 h 77"/>
                  <a:gd name="T68" fmla="*/ 629 w 1760"/>
                  <a:gd name="T69" fmla="*/ 15 h 77"/>
                  <a:gd name="T70" fmla="*/ 542 w 1760"/>
                  <a:gd name="T71" fmla="*/ 15 h 77"/>
                  <a:gd name="T72" fmla="*/ 456 w 1760"/>
                  <a:gd name="T73" fmla="*/ 15 h 77"/>
                  <a:gd name="T74" fmla="*/ 375 w 1760"/>
                  <a:gd name="T75" fmla="*/ 15 h 77"/>
                  <a:gd name="T76" fmla="*/ 297 w 1760"/>
                  <a:gd name="T77" fmla="*/ 15 h 77"/>
                  <a:gd name="T78" fmla="*/ 221 w 1760"/>
                  <a:gd name="T79" fmla="*/ 15 h 77"/>
                  <a:gd name="T80" fmla="*/ 160 w 1760"/>
                  <a:gd name="T81" fmla="*/ 14 h 77"/>
                  <a:gd name="T82" fmla="*/ 98 w 1760"/>
                  <a:gd name="T83" fmla="*/ 14 h 77"/>
                  <a:gd name="T84" fmla="*/ 35 w 1760"/>
                  <a:gd name="T85" fmla="*/ 14 h 77"/>
                  <a:gd name="T86" fmla="*/ 10 w 1760"/>
                  <a:gd name="T87" fmla="*/ 14 h 77"/>
                  <a:gd name="T88" fmla="*/ 93 w 1760"/>
                  <a:gd name="T89" fmla="*/ 15 h 77"/>
                  <a:gd name="T90" fmla="*/ 160 w 1760"/>
                  <a:gd name="T91" fmla="*/ 15 h 77"/>
                  <a:gd name="T92" fmla="*/ 221 w 1760"/>
                  <a:gd name="T93" fmla="*/ 17 h 77"/>
                  <a:gd name="T94" fmla="*/ 284 w 1760"/>
                  <a:gd name="T95" fmla="*/ 18 h 77"/>
                  <a:gd name="T96" fmla="*/ 338 w 1760"/>
                  <a:gd name="T97" fmla="*/ 19 h 77"/>
                  <a:gd name="T98" fmla="*/ 370 w 1760"/>
                  <a:gd name="T99" fmla="*/ 21 h 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0"/>
                  <a:gd name="T151" fmla="*/ 0 h 77"/>
                  <a:gd name="T152" fmla="*/ 1760 w 1760"/>
                  <a:gd name="T153" fmla="*/ 77 h 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0" h="77">
                    <a:moveTo>
                      <a:pt x="275" y="66"/>
                    </a:moveTo>
                    <a:lnTo>
                      <a:pt x="302" y="66"/>
                    </a:lnTo>
                    <a:lnTo>
                      <a:pt x="325" y="66"/>
                    </a:lnTo>
                    <a:lnTo>
                      <a:pt x="352" y="69"/>
                    </a:lnTo>
                    <a:lnTo>
                      <a:pt x="380" y="72"/>
                    </a:lnTo>
                    <a:lnTo>
                      <a:pt x="407" y="74"/>
                    </a:lnTo>
                    <a:lnTo>
                      <a:pt x="435" y="74"/>
                    </a:lnTo>
                    <a:lnTo>
                      <a:pt x="467" y="77"/>
                    </a:lnTo>
                    <a:lnTo>
                      <a:pt x="499" y="77"/>
                    </a:lnTo>
                    <a:lnTo>
                      <a:pt x="526" y="77"/>
                    </a:lnTo>
                    <a:lnTo>
                      <a:pt x="558" y="77"/>
                    </a:lnTo>
                    <a:lnTo>
                      <a:pt x="590" y="77"/>
                    </a:lnTo>
                    <a:lnTo>
                      <a:pt x="622" y="77"/>
                    </a:lnTo>
                    <a:lnTo>
                      <a:pt x="649" y="77"/>
                    </a:lnTo>
                    <a:lnTo>
                      <a:pt x="681" y="77"/>
                    </a:lnTo>
                    <a:lnTo>
                      <a:pt x="713" y="77"/>
                    </a:lnTo>
                    <a:lnTo>
                      <a:pt x="750" y="77"/>
                    </a:lnTo>
                    <a:lnTo>
                      <a:pt x="782" y="77"/>
                    </a:lnTo>
                    <a:lnTo>
                      <a:pt x="809" y="77"/>
                    </a:lnTo>
                    <a:lnTo>
                      <a:pt x="841" y="77"/>
                    </a:lnTo>
                    <a:lnTo>
                      <a:pt x="878" y="77"/>
                    </a:lnTo>
                    <a:lnTo>
                      <a:pt x="905" y="74"/>
                    </a:lnTo>
                    <a:lnTo>
                      <a:pt x="937" y="72"/>
                    </a:lnTo>
                    <a:lnTo>
                      <a:pt x="974" y="72"/>
                    </a:lnTo>
                    <a:lnTo>
                      <a:pt x="1006" y="69"/>
                    </a:lnTo>
                    <a:lnTo>
                      <a:pt x="1033" y="66"/>
                    </a:lnTo>
                    <a:lnTo>
                      <a:pt x="1065" y="66"/>
                    </a:lnTo>
                    <a:lnTo>
                      <a:pt x="1097" y="63"/>
                    </a:lnTo>
                    <a:lnTo>
                      <a:pt x="1129" y="60"/>
                    </a:lnTo>
                    <a:lnTo>
                      <a:pt x="1161" y="60"/>
                    </a:lnTo>
                    <a:lnTo>
                      <a:pt x="1193" y="57"/>
                    </a:lnTo>
                    <a:lnTo>
                      <a:pt x="1221" y="55"/>
                    </a:lnTo>
                    <a:lnTo>
                      <a:pt x="1248" y="55"/>
                    </a:lnTo>
                    <a:lnTo>
                      <a:pt x="1280" y="52"/>
                    </a:lnTo>
                    <a:lnTo>
                      <a:pt x="1303" y="49"/>
                    </a:lnTo>
                    <a:lnTo>
                      <a:pt x="1335" y="46"/>
                    </a:lnTo>
                    <a:lnTo>
                      <a:pt x="1362" y="46"/>
                    </a:lnTo>
                    <a:lnTo>
                      <a:pt x="1390" y="40"/>
                    </a:lnTo>
                    <a:lnTo>
                      <a:pt x="1413" y="40"/>
                    </a:lnTo>
                    <a:lnTo>
                      <a:pt x="1440" y="37"/>
                    </a:lnTo>
                    <a:lnTo>
                      <a:pt x="1467" y="35"/>
                    </a:lnTo>
                    <a:lnTo>
                      <a:pt x="1490" y="32"/>
                    </a:lnTo>
                    <a:lnTo>
                      <a:pt x="1513" y="32"/>
                    </a:lnTo>
                    <a:lnTo>
                      <a:pt x="1536" y="29"/>
                    </a:lnTo>
                    <a:lnTo>
                      <a:pt x="1559" y="23"/>
                    </a:lnTo>
                    <a:lnTo>
                      <a:pt x="1577" y="23"/>
                    </a:lnTo>
                    <a:lnTo>
                      <a:pt x="1595" y="20"/>
                    </a:lnTo>
                    <a:lnTo>
                      <a:pt x="1614" y="20"/>
                    </a:lnTo>
                    <a:lnTo>
                      <a:pt x="1637" y="18"/>
                    </a:lnTo>
                    <a:lnTo>
                      <a:pt x="1650" y="15"/>
                    </a:lnTo>
                    <a:lnTo>
                      <a:pt x="1664" y="15"/>
                    </a:lnTo>
                    <a:lnTo>
                      <a:pt x="1678" y="12"/>
                    </a:lnTo>
                    <a:lnTo>
                      <a:pt x="1691" y="12"/>
                    </a:lnTo>
                    <a:lnTo>
                      <a:pt x="1701" y="9"/>
                    </a:lnTo>
                    <a:lnTo>
                      <a:pt x="1719" y="6"/>
                    </a:lnTo>
                    <a:lnTo>
                      <a:pt x="1723" y="6"/>
                    </a:lnTo>
                    <a:lnTo>
                      <a:pt x="1737" y="6"/>
                    </a:lnTo>
                    <a:lnTo>
                      <a:pt x="1746" y="3"/>
                    </a:lnTo>
                    <a:lnTo>
                      <a:pt x="1755" y="0"/>
                    </a:lnTo>
                    <a:lnTo>
                      <a:pt x="1760" y="0"/>
                    </a:lnTo>
                    <a:lnTo>
                      <a:pt x="1755" y="0"/>
                    </a:lnTo>
                    <a:lnTo>
                      <a:pt x="1742" y="0"/>
                    </a:lnTo>
                    <a:lnTo>
                      <a:pt x="1723" y="0"/>
                    </a:lnTo>
                    <a:lnTo>
                      <a:pt x="1710" y="0"/>
                    </a:lnTo>
                    <a:lnTo>
                      <a:pt x="1691" y="3"/>
                    </a:lnTo>
                    <a:lnTo>
                      <a:pt x="1678" y="3"/>
                    </a:lnTo>
                    <a:lnTo>
                      <a:pt x="1664" y="3"/>
                    </a:lnTo>
                    <a:lnTo>
                      <a:pt x="1650" y="3"/>
                    </a:lnTo>
                    <a:lnTo>
                      <a:pt x="1637" y="3"/>
                    </a:lnTo>
                    <a:lnTo>
                      <a:pt x="1627" y="3"/>
                    </a:lnTo>
                    <a:lnTo>
                      <a:pt x="1609" y="3"/>
                    </a:lnTo>
                    <a:lnTo>
                      <a:pt x="1595" y="6"/>
                    </a:lnTo>
                    <a:lnTo>
                      <a:pt x="1577" y="6"/>
                    </a:lnTo>
                    <a:lnTo>
                      <a:pt x="1559" y="6"/>
                    </a:lnTo>
                    <a:lnTo>
                      <a:pt x="1545" y="6"/>
                    </a:lnTo>
                    <a:lnTo>
                      <a:pt x="1527" y="9"/>
                    </a:lnTo>
                    <a:lnTo>
                      <a:pt x="1513" y="9"/>
                    </a:lnTo>
                    <a:lnTo>
                      <a:pt x="1490" y="9"/>
                    </a:lnTo>
                    <a:lnTo>
                      <a:pt x="1477" y="12"/>
                    </a:lnTo>
                    <a:lnTo>
                      <a:pt x="1458" y="12"/>
                    </a:lnTo>
                    <a:lnTo>
                      <a:pt x="1440" y="12"/>
                    </a:lnTo>
                    <a:lnTo>
                      <a:pt x="1417" y="12"/>
                    </a:lnTo>
                    <a:lnTo>
                      <a:pt x="1399" y="15"/>
                    </a:lnTo>
                    <a:lnTo>
                      <a:pt x="1381" y="15"/>
                    </a:lnTo>
                    <a:lnTo>
                      <a:pt x="1358" y="18"/>
                    </a:lnTo>
                    <a:lnTo>
                      <a:pt x="1339" y="18"/>
                    </a:lnTo>
                    <a:lnTo>
                      <a:pt x="1321" y="18"/>
                    </a:lnTo>
                    <a:lnTo>
                      <a:pt x="1303" y="18"/>
                    </a:lnTo>
                    <a:lnTo>
                      <a:pt x="1280" y="20"/>
                    </a:lnTo>
                    <a:lnTo>
                      <a:pt x="1257" y="20"/>
                    </a:lnTo>
                    <a:lnTo>
                      <a:pt x="1239" y="20"/>
                    </a:lnTo>
                    <a:lnTo>
                      <a:pt x="1216" y="20"/>
                    </a:lnTo>
                    <a:lnTo>
                      <a:pt x="1198" y="23"/>
                    </a:lnTo>
                    <a:lnTo>
                      <a:pt x="1175" y="23"/>
                    </a:lnTo>
                    <a:lnTo>
                      <a:pt x="1157" y="23"/>
                    </a:lnTo>
                    <a:lnTo>
                      <a:pt x="1134" y="23"/>
                    </a:lnTo>
                    <a:lnTo>
                      <a:pt x="1116" y="26"/>
                    </a:lnTo>
                    <a:lnTo>
                      <a:pt x="1093" y="26"/>
                    </a:lnTo>
                    <a:lnTo>
                      <a:pt x="1070" y="29"/>
                    </a:lnTo>
                    <a:lnTo>
                      <a:pt x="1052" y="29"/>
                    </a:lnTo>
                    <a:lnTo>
                      <a:pt x="1033" y="32"/>
                    </a:lnTo>
                    <a:lnTo>
                      <a:pt x="1010" y="32"/>
                    </a:lnTo>
                    <a:lnTo>
                      <a:pt x="992" y="32"/>
                    </a:lnTo>
                    <a:lnTo>
                      <a:pt x="974" y="32"/>
                    </a:lnTo>
                    <a:lnTo>
                      <a:pt x="956" y="32"/>
                    </a:lnTo>
                    <a:lnTo>
                      <a:pt x="937" y="32"/>
                    </a:lnTo>
                    <a:lnTo>
                      <a:pt x="919" y="35"/>
                    </a:lnTo>
                    <a:lnTo>
                      <a:pt x="901" y="35"/>
                    </a:lnTo>
                    <a:lnTo>
                      <a:pt x="887" y="35"/>
                    </a:lnTo>
                    <a:lnTo>
                      <a:pt x="869" y="35"/>
                    </a:lnTo>
                    <a:lnTo>
                      <a:pt x="850" y="37"/>
                    </a:lnTo>
                    <a:lnTo>
                      <a:pt x="832" y="40"/>
                    </a:lnTo>
                    <a:lnTo>
                      <a:pt x="818" y="40"/>
                    </a:lnTo>
                    <a:lnTo>
                      <a:pt x="800" y="40"/>
                    </a:lnTo>
                    <a:lnTo>
                      <a:pt x="791" y="40"/>
                    </a:lnTo>
                    <a:lnTo>
                      <a:pt x="777" y="40"/>
                    </a:lnTo>
                    <a:lnTo>
                      <a:pt x="764" y="40"/>
                    </a:lnTo>
                    <a:lnTo>
                      <a:pt x="750" y="40"/>
                    </a:lnTo>
                    <a:lnTo>
                      <a:pt x="741" y="40"/>
                    </a:lnTo>
                    <a:lnTo>
                      <a:pt x="732" y="43"/>
                    </a:lnTo>
                    <a:lnTo>
                      <a:pt x="723" y="43"/>
                    </a:lnTo>
                    <a:lnTo>
                      <a:pt x="709" y="43"/>
                    </a:lnTo>
                    <a:lnTo>
                      <a:pt x="700" y="43"/>
                    </a:lnTo>
                    <a:lnTo>
                      <a:pt x="686" y="43"/>
                    </a:lnTo>
                    <a:lnTo>
                      <a:pt x="677" y="43"/>
                    </a:lnTo>
                    <a:lnTo>
                      <a:pt x="663" y="43"/>
                    </a:lnTo>
                    <a:lnTo>
                      <a:pt x="649" y="43"/>
                    </a:lnTo>
                    <a:lnTo>
                      <a:pt x="640" y="43"/>
                    </a:lnTo>
                    <a:lnTo>
                      <a:pt x="627" y="46"/>
                    </a:lnTo>
                    <a:lnTo>
                      <a:pt x="613" y="46"/>
                    </a:lnTo>
                    <a:lnTo>
                      <a:pt x="599" y="46"/>
                    </a:lnTo>
                    <a:lnTo>
                      <a:pt x="585" y="46"/>
                    </a:lnTo>
                    <a:lnTo>
                      <a:pt x="572" y="46"/>
                    </a:lnTo>
                    <a:lnTo>
                      <a:pt x="558" y="46"/>
                    </a:lnTo>
                    <a:lnTo>
                      <a:pt x="544" y="46"/>
                    </a:lnTo>
                    <a:lnTo>
                      <a:pt x="526" y="46"/>
                    </a:lnTo>
                    <a:lnTo>
                      <a:pt x="512" y="46"/>
                    </a:lnTo>
                    <a:lnTo>
                      <a:pt x="499" y="46"/>
                    </a:lnTo>
                    <a:lnTo>
                      <a:pt x="480" y="46"/>
                    </a:lnTo>
                    <a:lnTo>
                      <a:pt x="467" y="46"/>
                    </a:lnTo>
                    <a:lnTo>
                      <a:pt x="448" y="46"/>
                    </a:lnTo>
                    <a:lnTo>
                      <a:pt x="435" y="46"/>
                    </a:lnTo>
                    <a:lnTo>
                      <a:pt x="416" y="46"/>
                    </a:lnTo>
                    <a:lnTo>
                      <a:pt x="403" y="46"/>
                    </a:lnTo>
                    <a:lnTo>
                      <a:pt x="389" y="46"/>
                    </a:lnTo>
                    <a:lnTo>
                      <a:pt x="371" y="46"/>
                    </a:lnTo>
                    <a:lnTo>
                      <a:pt x="357" y="46"/>
                    </a:lnTo>
                    <a:lnTo>
                      <a:pt x="339" y="46"/>
                    </a:lnTo>
                    <a:lnTo>
                      <a:pt x="325" y="46"/>
                    </a:lnTo>
                    <a:lnTo>
                      <a:pt x="311" y="46"/>
                    </a:lnTo>
                    <a:lnTo>
                      <a:pt x="293" y="46"/>
                    </a:lnTo>
                    <a:lnTo>
                      <a:pt x="279" y="46"/>
                    </a:lnTo>
                    <a:lnTo>
                      <a:pt x="266" y="46"/>
                    </a:lnTo>
                    <a:lnTo>
                      <a:pt x="252" y="46"/>
                    </a:lnTo>
                    <a:lnTo>
                      <a:pt x="234" y="46"/>
                    </a:lnTo>
                    <a:lnTo>
                      <a:pt x="220" y="46"/>
                    </a:lnTo>
                    <a:lnTo>
                      <a:pt x="206" y="46"/>
                    </a:lnTo>
                    <a:lnTo>
                      <a:pt x="192" y="46"/>
                    </a:lnTo>
                    <a:lnTo>
                      <a:pt x="179" y="46"/>
                    </a:lnTo>
                    <a:lnTo>
                      <a:pt x="165" y="46"/>
                    </a:lnTo>
                    <a:lnTo>
                      <a:pt x="156" y="46"/>
                    </a:lnTo>
                    <a:lnTo>
                      <a:pt x="142" y="43"/>
                    </a:lnTo>
                    <a:lnTo>
                      <a:pt x="128" y="43"/>
                    </a:lnTo>
                    <a:lnTo>
                      <a:pt x="119" y="43"/>
                    </a:lnTo>
                    <a:lnTo>
                      <a:pt x="106" y="43"/>
                    </a:lnTo>
                    <a:lnTo>
                      <a:pt x="96" y="43"/>
                    </a:lnTo>
                    <a:lnTo>
                      <a:pt x="83" y="43"/>
                    </a:lnTo>
                    <a:lnTo>
                      <a:pt x="74" y="43"/>
                    </a:lnTo>
                    <a:lnTo>
                      <a:pt x="64" y="43"/>
                    </a:lnTo>
                    <a:lnTo>
                      <a:pt x="46" y="43"/>
                    </a:lnTo>
                    <a:lnTo>
                      <a:pt x="32" y="43"/>
                    </a:lnTo>
                    <a:lnTo>
                      <a:pt x="23" y="43"/>
                    </a:lnTo>
                    <a:lnTo>
                      <a:pt x="10" y="43"/>
                    </a:lnTo>
                    <a:lnTo>
                      <a:pt x="0" y="43"/>
                    </a:lnTo>
                    <a:lnTo>
                      <a:pt x="10" y="43"/>
                    </a:lnTo>
                    <a:lnTo>
                      <a:pt x="28" y="43"/>
                    </a:lnTo>
                    <a:lnTo>
                      <a:pt x="42" y="46"/>
                    </a:lnTo>
                    <a:lnTo>
                      <a:pt x="60" y="46"/>
                    </a:lnTo>
                    <a:lnTo>
                      <a:pt x="69" y="46"/>
                    </a:lnTo>
                    <a:lnTo>
                      <a:pt x="83" y="46"/>
                    </a:lnTo>
                    <a:lnTo>
                      <a:pt x="92" y="49"/>
                    </a:lnTo>
                    <a:lnTo>
                      <a:pt x="106" y="49"/>
                    </a:lnTo>
                    <a:lnTo>
                      <a:pt x="119" y="49"/>
                    </a:lnTo>
                    <a:lnTo>
                      <a:pt x="128" y="52"/>
                    </a:lnTo>
                    <a:lnTo>
                      <a:pt x="142" y="55"/>
                    </a:lnTo>
                    <a:lnTo>
                      <a:pt x="156" y="55"/>
                    </a:lnTo>
                    <a:lnTo>
                      <a:pt x="165" y="55"/>
                    </a:lnTo>
                    <a:lnTo>
                      <a:pt x="179" y="55"/>
                    </a:lnTo>
                    <a:lnTo>
                      <a:pt x="188" y="55"/>
                    </a:lnTo>
                    <a:lnTo>
                      <a:pt x="202" y="57"/>
                    </a:lnTo>
                    <a:lnTo>
                      <a:pt x="211" y="57"/>
                    </a:lnTo>
                    <a:lnTo>
                      <a:pt x="220" y="57"/>
                    </a:lnTo>
                    <a:lnTo>
                      <a:pt x="229" y="60"/>
                    </a:lnTo>
                    <a:lnTo>
                      <a:pt x="238" y="60"/>
                    </a:lnTo>
                    <a:lnTo>
                      <a:pt x="252" y="60"/>
                    </a:lnTo>
                    <a:lnTo>
                      <a:pt x="266" y="60"/>
                    </a:lnTo>
                    <a:lnTo>
                      <a:pt x="270" y="63"/>
                    </a:lnTo>
                    <a:lnTo>
                      <a:pt x="275" y="6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29" name="Freeform 22"/>
              <p:cNvSpPr>
                <a:spLocks/>
              </p:cNvSpPr>
              <p:nvPr>
                <p:custDataLst>
                  <p:tags r:id="rId151"/>
                </p:custDataLst>
              </p:nvPr>
            </p:nvSpPr>
            <p:spPr bwMode="gray">
              <a:xfrm>
                <a:off x="1227" y="2140"/>
                <a:ext cx="1139" cy="188"/>
              </a:xfrm>
              <a:custGeom>
                <a:avLst/>
                <a:gdLst>
                  <a:gd name="T0" fmla="*/ 35 w 1111"/>
                  <a:gd name="T1" fmla="*/ 3 h 205"/>
                  <a:gd name="T2" fmla="*/ 74 w 1111"/>
                  <a:gd name="T3" fmla="*/ 6 h 205"/>
                  <a:gd name="T4" fmla="*/ 137 w 1111"/>
                  <a:gd name="T5" fmla="*/ 6 h 205"/>
                  <a:gd name="T6" fmla="*/ 192 w 1111"/>
                  <a:gd name="T7" fmla="*/ 6 h 205"/>
                  <a:gd name="T8" fmla="*/ 243 w 1111"/>
                  <a:gd name="T9" fmla="*/ 6 h 205"/>
                  <a:gd name="T10" fmla="*/ 284 w 1111"/>
                  <a:gd name="T11" fmla="*/ 8 h 205"/>
                  <a:gd name="T12" fmla="*/ 327 w 1111"/>
                  <a:gd name="T13" fmla="*/ 8 h 205"/>
                  <a:gd name="T14" fmla="*/ 370 w 1111"/>
                  <a:gd name="T15" fmla="*/ 11 h 205"/>
                  <a:gd name="T16" fmla="*/ 419 w 1111"/>
                  <a:gd name="T17" fmla="*/ 12 h 205"/>
                  <a:gd name="T18" fmla="*/ 469 w 1111"/>
                  <a:gd name="T19" fmla="*/ 13 h 205"/>
                  <a:gd name="T20" fmla="*/ 518 w 1111"/>
                  <a:gd name="T21" fmla="*/ 14 h 205"/>
                  <a:gd name="T22" fmla="*/ 568 w 1111"/>
                  <a:gd name="T23" fmla="*/ 15 h 205"/>
                  <a:gd name="T24" fmla="*/ 611 w 1111"/>
                  <a:gd name="T25" fmla="*/ 17 h 205"/>
                  <a:gd name="T26" fmla="*/ 659 w 1111"/>
                  <a:gd name="T27" fmla="*/ 17 h 205"/>
                  <a:gd name="T28" fmla="*/ 709 w 1111"/>
                  <a:gd name="T29" fmla="*/ 17 h 205"/>
                  <a:gd name="T30" fmla="*/ 752 w 1111"/>
                  <a:gd name="T31" fmla="*/ 17 h 205"/>
                  <a:gd name="T32" fmla="*/ 801 w 1111"/>
                  <a:gd name="T33" fmla="*/ 18 h 205"/>
                  <a:gd name="T34" fmla="*/ 844 w 1111"/>
                  <a:gd name="T35" fmla="*/ 20 h 205"/>
                  <a:gd name="T36" fmla="*/ 911 w 1111"/>
                  <a:gd name="T37" fmla="*/ 20 h 205"/>
                  <a:gd name="T38" fmla="*/ 955 w 1111"/>
                  <a:gd name="T39" fmla="*/ 20 h 205"/>
                  <a:gd name="T40" fmla="*/ 1015 w 1111"/>
                  <a:gd name="T41" fmla="*/ 22 h 205"/>
                  <a:gd name="T42" fmla="*/ 1066 w 1111"/>
                  <a:gd name="T43" fmla="*/ 22 h 205"/>
                  <a:gd name="T44" fmla="*/ 1128 w 1111"/>
                  <a:gd name="T45" fmla="*/ 22 h 205"/>
                  <a:gd name="T46" fmla="*/ 1209 w 1111"/>
                  <a:gd name="T47" fmla="*/ 23 h 205"/>
                  <a:gd name="T48" fmla="*/ 1289 w 1111"/>
                  <a:gd name="T49" fmla="*/ 24 h 205"/>
                  <a:gd name="T50" fmla="*/ 1350 w 1111"/>
                  <a:gd name="T51" fmla="*/ 24 h 205"/>
                  <a:gd name="T52" fmla="*/ 1405 w 1111"/>
                  <a:gd name="T53" fmla="*/ 24 h 205"/>
                  <a:gd name="T54" fmla="*/ 1448 w 1111"/>
                  <a:gd name="T55" fmla="*/ 24 h 205"/>
                  <a:gd name="T56" fmla="*/ 1486 w 1111"/>
                  <a:gd name="T57" fmla="*/ 24 h 205"/>
                  <a:gd name="T58" fmla="*/ 1473 w 1111"/>
                  <a:gd name="T59" fmla="*/ 72 h 205"/>
                  <a:gd name="T60" fmla="*/ 1443 w 1111"/>
                  <a:gd name="T61" fmla="*/ 72 h 205"/>
                  <a:gd name="T62" fmla="*/ 1399 w 1111"/>
                  <a:gd name="T63" fmla="*/ 72 h 205"/>
                  <a:gd name="T64" fmla="*/ 1338 w 1111"/>
                  <a:gd name="T65" fmla="*/ 72 h 205"/>
                  <a:gd name="T66" fmla="*/ 1263 w 1111"/>
                  <a:gd name="T67" fmla="*/ 70 h 205"/>
                  <a:gd name="T68" fmla="*/ 1195 w 1111"/>
                  <a:gd name="T69" fmla="*/ 70 h 205"/>
                  <a:gd name="T70" fmla="*/ 1153 w 1111"/>
                  <a:gd name="T71" fmla="*/ 70 h 205"/>
                  <a:gd name="T72" fmla="*/ 1109 w 1111"/>
                  <a:gd name="T73" fmla="*/ 69 h 205"/>
                  <a:gd name="T74" fmla="*/ 1066 w 1111"/>
                  <a:gd name="T75" fmla="*/ 69 h 205"/>
                  <a:gd name="T76" fmla="*/ 1024 w 1111"/>
                  <a:gd name="T77" fmla="*/ 69 h 205"/>
                  <a:gd name="T78" fmla="*/ 979 w 1111"/>
                  <a:gd name="T79" fmla="*/ 69 h 205"/>
                  <a:gd name="T80" fmla="*/ 936 w 1111"/>
                  <a:gd name="T81" fmla="*/ 69 h 205"/>
                  <a:gd name="T82" fmla="*/ 893 w 1111"/>
                  <a:gd name="T83" fmla="*/ 69 h 205"/>
                  <a:gd name="T84" fmla="*/ 839 w 1111"/>
                  <a:gd name="T85" fmla="*/ 68 h 205"/>
                  <a:gd name="T86" fmla="*/ 764 w 1111"/>
                  <a:gd name="T87" fmla="*/ 66 h 205"/>
                  <a:gd name="T88" fmla="*/ 696 w 1111"/>
                  <a:gd name="T89" fmla="*/ 66 h 205"/>
                  <a:gd name="T90" fmla="*/ 659 w 1111"/>
                  <a:gd name="T91" fmla="*/ 64 h 205"/>
                  <a:gd name="T92" fmla="*/ 611 w 1111"/>
                  <a:gd name="T93" fmla="*/ 63 h 205"/>
                  <a:gd name="T94" fmla="*/ 568 w 1111"/>
                  <a:gd name="T95" fmla="*/ 62 h 205"/>
                  <a:gd name="T96" fmla="*/ 518 w 1111"/>
                  <a:gd name="T97" fmla="*/ 61 h 205"/>
                  <a:gd name="T98" fmla="*/ 469 w 1111"/>
                  <a:gd name="T99" fmla="*/ 59 h 205"/>
                  <a:gd name="T100" fmla="*/ 419 w 1111"/>
                  <a:gd name="T101" fmla="*/ 58 h 205"/>
                  <a:gd name="T102" fmla="*/ 370 w 1111"/>
                  <a:gd name="T103" fmla="*/ 58 h 205"/>
                  <a:gd name="T104" fmla="*/ 327 w 1111"/>
                  <a:gd name="T105" fmla="*/ 56 h 205"/>
                  <a:gd name="T106" fmla="*/ 284 w 1111"/>
                  <a:gd name="T107" fmla="*/ 56 h 205"/>
                  <a:gd name="T108" fmla="*/ 243 w 1111"/>
                  <a:gd name="T109" fmla="*/ 53 h 205"/>
                  <a:gd name="T110" fmla="*/ 172 w 1111"/>
                  <a:gd name="T111" fmla="*/ 51 h 205"/>
                  <a:gd name="T112" fmla="*/ 97 w 1111"/>
                  <a:gd name="T113" fmla="*/ 50 h 205"/>
                  <a:gd name="T114" fmla="*/ 44 w 1111"/>
                  <a:gd name="T115" fmla="*/ 49 h 205"/>
                  <a:gd name="T116" fmla="*/ 5 w 1111"/>
                  <a:gd name="T117" fmla="*/ 47 h 205"/>
                  <a:gd name="T118" fmla="*/ 10 w 1111"/>
                  <a:gd name="T119" fmla="*/ 0 h 2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11"/>
                  <a:gd name="T181" fmla="*/ 0 h 205"/>
                  <a:gd name="T182" fmla="*/ 1111 w 1111"/>
                  <a:gd name="T183" fmla="*/ 205 h 2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11" h="205">
                    <a:moveTo>
                      <a:pt x="10" y="0"/>
                    </a:moveTo>
                    <a:lnTo>
                      <a:pt x="14" y="0"/>
                    </a:lnTo>
                    <a:lnTo>
                      <a:pt x="23" y="3"/>
                    </a:lnTo>
                    <a:lnTo>
                      <a:pt x="32" y="3"/>
                    </a:lnTo>
                    <a:lnTo>
                      <a:pt x="42" y="3"/>
                    </a:lnTo>
                    <a:lnTo>
                      <a:pt x="55" y="6"/>
                    </a:lnTo>
                    <a:lnTo>
                      <a:pt x="69" y="9"/>
                    </a:lnTo>
                    <a:lnTo>
                      <a:pt x="83" y="11"/>
                    </a:lnTo>
                    <a:lnTo>
                      <a:pt x="101" y="11"/>
                    </a:lnTo>
                    <a:lnTo>
                      <a:pt x="119" y="11"/>
                    </a:lnTo>
                    <a:lnTo>
                      <a:pt x="133" y="14"/>
                    </a:lnTo>
                    <a:lnTo>
                      <a:pt x="142" y="14"/>
                    </a:lnTo>
                    <a:lnTo>
                      <a:pt x="151" y="17"/>
                    </a:lnTo>
                    <a:lnTo>
                      <a:pt x="165" y="17"/>
                    </a:lnTo>
                    <a:lnTo>
                      <a:pt x="179" y="17"/>
                    </a:lnTo>
                    <a:lnTo>
                      <a:pt x="183" y="17"/>
                    </a:lnTo>
                    <a:lnTo>
                      <a:pt x="197" y="20"/>
                    </a:lnTo>
                    <a:lnTo>
                      <a:pt x="211" y="23"/>
                    </a:lnTo>
                    <a:lnTo>
                      <a:pt x="220" y="23"/>
                    </a:lnTo>
                    <a:lnTo>
                      <a:pt x="229" y="23"/>
                    </a:lnTo>
                    <a:lnTo>
                      <a:pt x="243" y="23"/>
                    </a:lnTo>
                    <a:lnTo>
                      <a:pt x="252" y="26"/>
                    </a:lnTo>
                    <a:lnTo>
                      <a:pt x="265" y="29"/>
                    </a:lnTo>
                    <a:lnTo>
                      <a:pt x="275" y="29"/>
                    </a:lnTo>
                    <a:lnTo>
                      <a:pt x="288" y="29"/>
                    </a:lnTo>
                    <a:lnTo>
                      <a:pt x="302" y="31"/>
                    </a:lnTo>
                    <a:lnTo>
                      <a:pt x="311" y="31"/>
                    </a:lnTo>
                    <a:lnTo>
                      <a:pt x="320" y="31"/>
                    </a:lnTo>
                    <a:lnTo>
                      <a:pt x="334" y="34"/>
                    </a:lnTo>
                    <a:lnTo>
                      <a:pt x="348" y="34"/>
                    </a:lnTo>
                    <a:lnTo>
                      <a:pt x="357" y="34"/>
                    </a:lnTo>
                    <a:lnTo>
                      <a:pt x="371" y="34"/>
                    </a:lnTo>
                    <a:lnTo>
                      <a:pt x="384" y="37"/>
                    </a:lnTo>
                    <a:lnTo>
                      <a:pt x="393" y="37"/>
                    </a:lnTo>
                    <a:lnTo>
                      <a:pt x="407" y="37"/>
                    </a:lnTo>
                    <a:lnTo>
                      <a:pt x="421" y="40"/>
                    </a:lnTo>
                    <a:lnTo>
                      <a:pt x="435" y="40"/>
                    </a:lnTo>
                    <a:lnTo>
                      <a:pt x="444" y="43"/>
                    </a:lnTo>
                    <a:lnTo>
                      <a:pt x="453" y="46"/>
                    </a:lnTo>
                    <a:lnTo>
                      <a:pt x="471" y="46"/>
                    </a:lnTo>
                    <a:lnTo>
                      <a:pt x="480" y="46"/>
                    </a:lnTo>
                    <a:lnTo>
                      <a:pt x="489" y="46"/>
                    </a:lnTo>
                    <a:lnTo>
                      <a:pt x="508" y="46"/>
                    </a:lnTo>
                    <a:lnTo>
                      <a:pt x="517" y="46"/>
                    </a:lnTo>
                    <a:lnTo>
                      <a:pt x="526" y="46"/>
                    </a:lnTo>
                    <a:lnTo>
                      <a:pt x="540" y="48"/>
                    </a:lnTo>
                    <a:lnTo>
                      <a:pt x="553" y="48"/>
                    </a:lnTo>
                    <a:lnTo>
                      <a:pt x="558" y="48"/>
                    </a:lnTo>
                    <a:lnTo>
                      <a:pt x="572" y="51"/>
                    </a:lnTo>
                    <a:lnTo>
                      <a:pt x="585" y="51"/>
                    </a:lnTo>
                    <a:lnTo>
                      <a:pt x="594" y="51"/>
                    </a:lnTo>
                    <a:lnTo>
                      <a:pt x="604" y="51"/>
                    </a:lnTo>
                    <a:lnTo>
                      <a:pt x="613" y="51"/>
                    </a:lnTo>
                    <a:lnTo>
                      <a:pt x="626" y="54"/>
                    </a:lnTo>
                    <a:lnTo>
                      <a:pt x="640" y="54"/>
                    </a:lnTo>
                    <a:lnTo>
                      <a:pt x="658" y="54"/>
                    </a:lnTo>
                    <a:lnTo>
                      <a:pt x="677" y="57"/>
                    </a:lnTo>
                    <a:lnTo>
                      <a:pt x="686" y="57"/>
                    </a:lnTo>
                    <a:lnTo>
                      <a:pt x="695" y="57"/>
                    </a:lnTo>
                    <a:lnTo>
                      <a:pt x="709" y="57"/>
                    </a:lnTo>
                    <a:lnTo>
                      <a:pt x="718" y="57"/>
                    </a:lnTo>
                    <a:lnTo>
                      <a:pt x="736" y="57"/>
                    </a:lnTo>
                    <a:lnTo>
                      <a:pt x="754" y="60"/>
                    </a:lnTo>
                    <a:lnTo>
                      <a:pt x="764" y="60"/>
                    </a:lnTo>
                    <a:lnTo>
                      <a:pt x="782" y="60"/>
                    </a:lnTo>
                    <a:lnTo>
                      <a:pt x="791" y="60"/>
                    </a:lnTo>
                    <a:lnTo>
                      <a:pt x="800" y="60"/>
                    </a:lnTo>
                    <a:lnTo>
                      <a:pt x="818" y="60"/>
                    </a:lnTo>
                    <a:lnTo>
                      <a:pt x="837" y="60"/>
                    </a:lnTo>
                    <a:lnTo>
                      <a:pt x="855" y="60"/>
                    </a:lnTo>
                    <a:lnTo>
                      <a:pt x="878" y="63"/>
                    </a:lnTo>
                    <a:lnTo>
                      <a:pt x="896" y="63"/>
                    </a:lnTo>
                    <a:lnTo>
                      <a:pt x="914" y="63"/>
                    </a:lnTo>
                    <a:lnTo>
                      <a:pt x="933" y="63"/>
                    </a:lnTo>
                    <a:lnTo>
                      <a:pt x="956" y="66"/>
                    </a:lnTo>
                    <a:lnTo>
                      <a:pt x="969" y="66"/>
                    </a:lnTo>
                    <a:lnTo>
                      <a:pt x="983" y="66"/>
                    </a:lnTo>
                    <a:lnTo>
                      <a:pt x="1001" y="66"/>
                    </a:lnTo>
                    <a:lnTo>
                      <a:pt x="1020" y="66"/>
                    </a:lnTo>
                    <a:lnTo>
                      <a:pt x="1029" y="66"/>
                    </a:lnTo>
                    <a:lnTo>
                      <a:pt x="1042" y="66"/>
                    </a:lnTo>
                    <a:lnTo>
                      <a:pt x="1056" y="66"/>
                    </a:lnTo>
                    <a:lnTo>
                      <a:pt x="1065" y="66"/>
                    </a:lnTo>
                    <a:lnTo>
                      <a:pt x="1074" y="66"/>
                    </a:lnTo>
                    <a:lnTo>
                      <a:pt x="1088" y="66"/>
                    </a:lnTo>
                    <a:lnTo>
                      <a:pt x="1093" y="66"/>
                    </a:lnTo>
                    <a:lnTo>
                      <a:pt x="1102" y="66"/>
                    </a:lnTo>
                    <a:lnTo>
                      <a:pt x="1111" y="66"/>
                    </a:lnTo>
                    <a:lnTo>
                      <a:pt x="1093" y="205"/>
                    </a:lnTo>
                    <a:lnTo>
                      <a:pt x="1088" y="205"/>
                    </a:lnTo>
                    <a:lnTo>
                      <a:pt x="1074" y="205"/>
                    </a:lnTo>
                    <a:lnTo>
                      <a:pt x="1070" y="205"/>
                    </a:lnTo>
                    <a:lnTo>
                      <a:pt x="1056" y="205"/>
                    </a:lnTo>
                    <a:lnTo>
                      <a:pt x="1047" y="205"/>
                    </a:lnTo>
                    <a:lnTo>
                      <a:pt x="1038" y="205"/>
                    </a:lnTo>
                    <a:lnTo>
                      <a:pt x="1020" y="202"/>
                    </a:lnTo>
                    <a:lnTo>
                      <a:pt x="1010" y="202"/>
                    </a:lnTo>
                    <a:lnTo>
                      <a:pt x="992" y="202"/>
                    </a:lnTo>
                    <a:lnTo>
                      <a:pt x="978" y="202"/>
                    </a:lnTo>
                    <a:lnTo>
                      <a:pt x="956" y="199"/>
                    </a:lnTo>
                    <a:lnTo>
                      <a:pt x="937" y="199"/>
                    </a:lnTo>
                    <a:lnTo>
                      <a:pt x="919" y="199"/>
                    </a:lnTo>
                    <a:lnTo>
                      <a:pt x="901" y="199"/>
                    </a:lnTo>
                    <a:lnTo>
                      <a:pt x="887" y="199"/>
                    </a:lnTo>
                    <a:lnTo>
                      <a:pt x="878" y="199"/>
                    </a:lnTo>
                    <a:lnTo>
                      <a:pt x="869" y="199"/>
                    </a:lnTo>
                    <a:lnTo>
                      <a:pt x="855" y="199"/>
                    </a:lnTo>
                    <a:lnTo>
                      <a:pt x="846" y="197"/>
                    </a:lnTo>
                    <a:lnTo>
                      <a:pt x="837" y="197"/>
                    </a:lnTo>
                    <a:lnTo>
                      <a:pt x="823" y="197"/>
                    </a:lnTo>
                    <a:lnTo>
                      <a:pt x="814" y="197"/>
                    </a:lnTo>
                    <a:lnTo>
                      <a:pt x="800" y="197"/>
                    </a:lnTo>
                    <a:lnTo>
                      <a:pt x="791" y="197"/>
                    </a:lnTo>
                    <a:lnTo>
                      <a:pt x="782" y="197"/>
                    </a:lnTo>
                    <a:lnTo>
                      <a:pt x="768" y="197"/>
                    </a:lnTo>
                    <a:lnTo>
                      <a:pt x="759" y="194"/>
                    </a:lnTo>
                    <a:lnTo>
                      <a:pt x="745" y="194"/>
                    </a:lnTo>
                    <a:lnTo>
                      <a:pt x="736" y="194"/>
                    </a:lnTo>
                    <a:lnTo>
                      <a:pt x="727" y="194"/>
                    </a:lnTo>
                    <a:lnTo>
                      <a:pt x="713" y="194"/>
                    </a:lnTo>
                    <a:lnTo>
                      <a:pt x="704" y="194"/>
                    </a:lnTo>
                    <a:lnTo>
                      <a:pt x="695" y="194"/>
                    </a:lnTo>
                    <a:lnTo>
                      <a:pt x="681" y="194"/>
                    </a:lnTo>
                    <a:lnTo>
                      <a:pt x="672" y="194"/>
                    </a:lnTo>
                    <a:lnTo>
                      <a:pt x="663" y="194"/>
                    </a:lnTo>
                    <a:lnTo>
                      <a:pt x="649" y="194"/>
                    </a:lnTo>
                    <a:lnTo>
                      <a:pt x="640" y="194"/>
                    </a:lnTo>
                    <a:lnTo>
                      <a:pt x="622" y="191"/>
                    </a:lnTo>
                    <a:lnTo>
                      <a:pt x="604" y="188"/>
                    </a:lnTo>
                    <a:lnTo>
                      <a:pt x="585" y="188"/>
                    </a:lnTo>
                    <a:lnTo>
                      <a:pt x="567" y="188"/>
                    </a:lnTo>
                    <a:lnTo>
                      <a:pt x="544" y="185"/>
                    </a:lnTo>
                    <a:lnTo>
                      <a:pt x="526" y="185"/>
                    </a:lnTo>
                    <a:lnTo>
                      <a:pt x="517" y="185"/>
                    </a:lnTo>
                    <a:lnTo>
                      <a:pt x="508" y="182"/>
                    </a:lnTo>
                    <a:lnTo>
                      <a:pt x="494" y="182"/>
                    </a:lnTo>
                    <a:lnTo>
                      <a:pt x="489" y="182"/>
                    </a:lnTo>
                    <a:lnTo>
                      <a:pt x="471" y="177"/>
                    </a:lnTo>
                    <a:lnTo>
                      <a:pt x="462" y="177"/>
                    </a:lnTo>
                    <a:lnTo>
                      <a:pt x="453" y="177"/>
                    </a:lnTo>
                    <a:lnTo>
                      <a:pt x="439" y="177"/>
                    </a:lnTo>
                    <a:lnTo>
                      <a:pt x="430" y="174"/>
                    </a:lnTo>
                    <a:lnTo>
                      <a:pt x="421" y="174"/>
                    </a:lnTo>
                    <a:lnTo>
                      <a:pt x="407" y="174"/>
                    </a:lnTo>
                    <a:lnTo>
                      <a:pt x="398" y="174"/>
                    </a:lnTo>
                    <a:lnTo>
                      <a:pt x="384" y="171"/>
                    </a:lnTo>
                    <a:lnTo>
                      <a:pt x="371" y="171"/>
                    </a:lnTo>
                    <a:lnTo>
                      <a:pt x="357" y="168"/>
                    </a:lnTo>
                    <a:lnTo>
                      <a:pt x="348" y="168"/>
                    </a:lnTo>
                    <a:lnTo>
                      <a:pt x="334" y="165"/>
                    </a:lnTo>
                    <a:lnTo>
                      <a:pt x="320" y="162"/>
                    </a:lnTo>
                    <a:lnTo>
                      <a:pt x="311" y="162"/>
                    </a:lnTo>
                    <a:lnTo>
                      <a:pt x="302" y="162"/>
                    </a:lnTo>
                    <a:lnTo>
                      <a:pt x="288" y="162"/>
                    </a:lnTo>
                    <a:lnTo>
                      <a:pt x="275" y="162"/>
                    </a:lnTo>
                    <a:lnTo>
                      <a:pt x="265" y="160"/>
                    </a:lnTo>
                    <a:lnTo>
                      <a:pt x="256" y="160"/>
                    </a:lnTo>
                    <a:lnTo>
                      <a:pt x="243" y="157"/>
                    </a:lnTo>
                    <a:lnTo>
                      <a:pt x="233" y="157"/>
                    </a:lnTo>
                    <a:lnTo>
                      <a:pt x="220" y="157"/>
                    </a:lnTo>
                    <a:lnTo>
                      <a:pt x="211" y="157"/>
                    </a:lnTo>
                    <a:lnTo>
                      <a:pt x="197" y="151"/>
                    </a:lnTo>
                    <a:lnTo>
                      <a:pt x="188" y="151"/>
                    </a:lnTo>
                    <a:lnTo>
                      <a:pt x="179" y="151"/>
                    </a:lnTo>
                    <a:lnTo>
                      <a:pt x="165" y="151"/>
                    </a:lnTo>
                    <a:lnTo>
                      <a:pt x="147" y="148"/>
                    </a:lnTo>
                    <a:lnTo>
                      <a:pt x="128" y="145"/>
                    </a:lnTo>
                    <a:lnTo>
                      <a:pt x="110" y="142"/>
                    </a:lnTo>
                    <a:lnTo>
                      <a:pt x="92" y="142"/>
                    </a:lnTo>
                    <a:lnTo>
                      <a:pt x="73" y="140"/>
                    </a:lnTo>
                    <a:lnTo>
                      <a:pt x="60" y="140"/>
                    </a:lnTo>
                    <a:lnTo>
                      <a:pt x="42" y="137"/>
                    </a:lnTo>
                    <a:lnTo>
                      <a:pt x="32" y="137"/>
                    </a:lnTo>
                    <a:lnTo>
                      <a:pt x="23" y="134"/>
                    </a:lnTo>
                    <a:lnTo>
                      <a:pt x="14" y="134"/>
                    </a:lnTo>
                    <a:lnTo>
                      <a:pt x="5" y="134"/>
                    </a:lnTo>
                    <a:lnTo>
                      <a:pt x="0" y="134"/>
                    </a:lnTo>
                    <a:lnTo>
                      <a:pt x="10"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0" name="Freeform 23"/>
              <p:cNvSpPr>
                <a:spLocks/>
              </p:cNvSpPr>
              <p:nvPr>
                <p:custDataLst>
                  <p:tags r:id="rId152"/>
                </p:custDataLst>
              </p:nvPr>
            </p:nvSpPr>
            <p:spPr bwMode="gray">
              <a:xfrm>
                <a:off x="3658" y="2183"/>
                <a:ext cx="760" cy="161"/>
              </a:xfrm>
              <a:custGeom>
                <a:avLst/>
                <a:gdLst>
                  <a:gd name="T0" fmla="*/ 14 w 741"/>
                  <a:gd name="T1" fmla="*/ 14 h 176"/>
                  <a:gd name="T2" fmla="*/ 53 w 741"/>
                  <a:gd name="T3" fmla="*/ 14 h 176"/>
                  <a:gd name="T4" fmla="*/ 97 w 741"/>
                  <a:gd name="T5" fmla="*/ 14 h 176"/>
                  <a:gd name="T6" fmla="*/ 137 w 741"/>
                  <a:gd name="T7" fmla="*/ 14 h 176"/>
                  <a:gd name="T8" fmla="*/ 179 w 741"/>
                  <a:gd name="T9" fmla="*/ 13 h 176"/>
                  <a:gd name="T10" fmla="*/ 216 w 741"/>
                  <a:gd name="T11" fmla="*/ 13 h 176"/>
                  <a:gd name="T12" fmla="*/ 266 w 741"/>
                  <a:gd name="T13" fmla="*/ 12 h 176"/>
                  <a:gd name="T14" fmla="*/ 304 w 741"/>
                  <a:gd name="T15" fmla="*/ 12 h 176"/>
                  <a:gd name="T16" fmla="*/ 347 w 741"/>
                  <a:gd name="T17" fmla="*/ 11 h 176"/>
                  <a:gd name="T18" fmla="*/ 384 w 741"/>
                  <a:gd name="T19" fmla="*/ 10 h 176"/>
                  <a:gd name="T20" fmla="*/ 434 w 741"/>
                  <a:gd name="T21" fmla="*/ 10 h 176"/>
                  <a:gd name="T22" fmla="*/ 464 w 741"/>
                  <a:gd name="T23" fmla="*/ 9 h 176"/>
                  <a:gd name="T24" fmla="*/ 508 w 741"/>
                  <a:gd name="T25" fmla="*/ 7 h 176"/>
                  <a:gd name="T26" fmla="*/ 551 w 741"/>
                  <a:gd name="T27" fmla="*/ 6 h 176"/>
                  <a:gd name="T28" fmla="*/ 588 w 741"/>
                  <a:gd name="T29" fmla="*/ 6 h 176"/>
                  <a:gd name="T30" fmla="*/ 625 w 741"/>
                  <a:gd name="T31" fmla="*/ 5 h 176"/>
                  <a:gd name="T32" fmla="*/ 664 w 741"/>
                  <a:gd name="T33" fmla="*/ 5 h 176"/>
                  <a:gd name="T34" fmla="*/ 701 w 741"/>
                  <a:gd name="T35" fmla="*/ 5 h 176"/>
                  <a:gd name="T36" fmla="*/ 732 w 741"/>
                  <a:gd name="T37" fmla="*/ 5 h 176"/>
                  <a:gd name="T38" fmla="*/ 762 w 741"/>
                  <a:gd name="T39" fmla="*/ 5 h 176"/>
                  <a:gd name="T40" fmla="*/ 792 w 741"/>
                  <a:gd name="T41" fmla="*/ 5 h 176"/>
                  <a:gd name="T42" fmla="*/ 825 w 741"/>
                  <a:gd name="T43" fmla="*/ 2 h 176"/>
                  <a:gd name="T44" fmla="*/ 868 w 741"/>
                  <a:gd name="T45" fmla="*/ 0 h 176"/>
                  <a:gd name="T46" fmla="*/ 912 w 741"/>
                  <a:gd name="T47" fmla="*/ 0 h 176"/>
                  <a:gd name="T48" fmla="*/ 946 w 741"/>
                  <a:gd name="T49" fmla="*/ 0 h 176"/>
                  <a:gd name="T50" fmla="*/ 986 w 741"/>
                  <a:gd name="T51" fmla="*/ 0 h 176"/>
                  <a:gd name="T52" fmla="*/ 991 w 741"/>
                  <a:gd name="T53" fmla="*/ 2 h 176"/>
                  <a:gd name="T54" fmla="*/ 991 w 741"/>
                  <a:gd name="T55" fmla="*/ 5 h 176"/>
                  <a:gd name="T56" fmla="*/ 991 w 741"/>
                  <a:gd name="T57" fmla="*/ 11 h 176"/>
                  <a:gd name="T58" fmla="*/ 997 w 741"/>
                  <a:gd name="T59" fmla="*/ 17 h 176"/>
                  <a:gd name="T60" fmla="*/ 997 w 741"/>
                  <a:gd name="T61" fmla="*/ 24 h 176"/>
                  <a:gd name="T62" fmla="*/ 997 w 741"/>
                  <a:gd name="T63" fmla="*/ 31 h 176"/>
                  <a:gd name="T64" fmla="*/ 1003 w 741"/>
                  <a:gd name="T65" fmla="*/ 35 h 176"/>
                  <a:gd name="T66" fmla="*/ 1003 w 741"/>
                  <a:gd name="T67" fmla="*/ 38 h 176"/>
                  <a:gd name="T68" fmla="*/ 1003 w 741"/>
                  <a:gd name="T69" fmla="*/ 38 h 176"/>
                  <a:gd name="T70" fmla="*/ 972 w 741"/>
                  <a:gd name="T71" fmla="*/ 39 h 176"/>
                  <a:gd name="T72" fmla="*/ 936 w 741"/>
                  <a:gd name="T73" fmla="*/ 40 h 176"/>
                  <a:gd name="T74" fmla="*/ 904 w 741"/>
                  <a:gd name="T75" fmla="*/ 41 h 176"/>
                  <a:gd name="T76" fmla="*/ 868 w 741"/>
                  <a:gd name="T77" fmla="*/ 43 h 176"/>
                  <a:gd name="T78" fmla="*/ 831 w 741"/>
                  <a:gd name="T79" fmla="*/ 44 h 176"/>
                  <a:gd name="T80" fmla="*/ 792 w 741"/>
                  <a:gd name="T81" fmla="*/ 45 h 176"/>
                  <a:gd name="T82" fmla="*/ 744 w 741"/>
                  <a:gd name="T83" fmla="*/ 45 h 176"/>
                  <a:gd name="T84" fmla="*/ 706 w 741"/>
                  <a:gd name="T85" fmla="*/ 48 h 176"/>
                  <a:gd name="T86" fmla="*/ 656 w 741"/>
                  <a:gd name="T87" fmla="*/ 49 h 176"/>
                  <a:gd name="T88" fmla="*/ 606 w 741"/>
                  <a:gd name="T89" fmla="*/ 50 h 176"/>
                  <a:gd name="T90" fmla="*/ 564 w 741"/>
                  <a:gd name="T91" fmla="*/ 50 h 176"/>
                  <a:gd name="T92" fmla="*/ 520 w 741"/>
                  <a:gd name="T93" fmla="*/ 53 h 176"/>
                  <a:gd name="T94" fmla="*/ 476 w 741"/>
                  <a:gd name="T95" fmla="*/ 54 h 176"/>
                  <a:gd name="T96" fmla="*/ 0 w 741"/>
                  <a:gd name="T97" fmla="*/ 60 h 176"/>
                  <a:gd name="T98" fmla="*/ 0 w 741"/>
                  <a:gd name="T99" fmla="*/ 14 h 1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1"/>
                  <a:gd name="T151" fmla="*/ 0 h 176"/>
                  <a:gd name="T152" fmla="*/ 741 w 741"/>
                  <a:gd name="T153" fmla="*/ 176 h 1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1" h="176">
                    <a:moveTo>
                      <a:pt x="0" y="40"/>
                    </a:moveTo>
                    <a:lnTo>
                      <a:pt x="14" y="40"/>
                    </a:lnTo>
                    <a:lnTo>
                      <a:pt x="28" y="40"/>
                    </a:lnTo>
                    <a:lnTo>
                      <a:pt x="41" y="40"/>
                    </a:lnTo>
                    <a:lnTo>
                      <a:pt x="60" y="40"/>
                    </a:lnTo>
                    <a:lnTo>
                      <a:pt x="73" y="40"/>
                    </a:lnTo>
                    <a:lnTo>
                      <a:pt x="87" y="40"/>
                    </a:lnTo>
                    <a:lnTo>
                      <a:pt x="101" y="40"/>
                    </a:lnTo>
                    <a:lnTo>
                      <a:pt x="119" y="40"/>
                    </a:lnTo>
                    <a:lnTo>
                      <a:pt x="133" y="37"/>
                    </a:lnTo>
                    <a:lnTo>
                      <a:pt x="147" y="37"/>
                    </a:lnTo>
                    <a:lnTo>
                      <a:pt x="160" y="37"/>
                    </a:lnTo>
                    <a:lnTo>
                      <a:pt x="179" y="37"/>
                    </a:lnTo>
                    <a:lnTo>
                      <a:pt x="197" y="34"/>
                    </a:lnTo>
                    <a:lnTo>
                      <a:pt x="210" y="34"/>
                    </a:lnTo>
                    <a:lnTo>
                      <a:pt x="224" y="34"/>
                    </a:lnTo>
                    <a:lnTo>
                      <a:pt x="238" y="34"/>
                    </a:lnTo>
                    <a:lnTo>
                      <a:pt x="256" y="31"/>
                    </a:lnTo>
                    <a:lnTo>
                      <a:pt x="270" y="31"/>
                    </a:lnTo>
                    <a:lnTo>
                      <a:pt x="284" y="28"/>
                    </a:lnTo>
                    <a:lnTo>
                      <a:pt x="302" y="28"/>
                    </a:lnTo>
                    <a:lnTo>
                      <a:pt x="320" y="28"/>
                    </a:lnTo>
                    <a:lnTo>
                      <a:pt x="329" y="28"/>
                    </a:lnTo>
                    <a:lnTo>
                      <a:pt x="343" y="25"/>
                    </a:lnTo>
                    <a:lnTo>
                      <a:pt x="361" y="25"/>
                    </a:lnTo>
                    <a:lnTo>
                      <a:pt x="375" y="22"/>
                    </a:lnTo>
                    <a:lnTo>
                      <a:pt x="389" y="22"/>
                    </a:lnTo>
                    <a:lnTo>
                      <a:pt x="407" y="20"/>
                    </a:lnTo>
                    <a:lnTo>
                      <a:pt x="421" y="20"/>
                    </a:lnTo>
                    <a:lnTo>
                      <a:pt x="434" y="20"/>
                    </a:lnTo>
                    <a:lnTo>
                      <a:pt x="448" y="20"/>
                    </a:lnTo>
                    <a:lnTo>
                      <a:pt x="462" y="17"/>
                    </a:lnTo>
                    <a:lnTo>
                      <a:pt x="480" y="17"/>
                    </a:lnTo>
                    <a:lnTo>
                      <a:pt x="489" y="14"/>
                    </a:lnTo>
                    <a:lnTo>
                      <a:pt x="503" y="14"/>
                    </a:lnTo>
                    <a:lnTo>
                      <a:pt x="517" y="14"/>
                    </a:lnTo>
                    <a:lnTo>
                      <a:pt x="526" y="11"/>
                    </a:lnTo>
                    <a:lnTo>
                      <a:pt x="540" y="8"/>
                    </a:lnTo>
                    <a:lnTo>
                      <a:pt x="553" y="8"/>
                    </a:lnTo>
                    <a:lnTo>
                      <a:pt x="562" y="5"/>
                    </a:lnTo>
                    <a:lnTo>
                      <a:pt x="576" y="5"/>
                    </a:lnTo>
                    <a:lnTo>
                      <a:pt x="585" y="5"/>
                    </a:lnTo>
                    <a:lnTo>
                      <a:pt x="599" y="5"/>
                    </a:lnTo>
                    <a:lnTo>
                      <a:pt x="608" y="2"/>
                    </a:lnTo>
                    <a:lnTo>
                      <a:pt x="622" y="2"/>
                    </a:lnTo>
                    <a:lnTo>
                      <a:pt x="640" y="0"/>
                    </a:lnTo>
                    <a:lnTo>
                      <a:pt x="658" y="0"/>
                    </a:lnTo>
                    <a:lnTo>
                      <a:pt x="672" y="0"/>
                    </a:lnTo>
                    <a:lnTo>
                      <a:pt x="686" y="0"/>
                    </a:lnTo>
                    <a:lnTo>
                      <a:pt x="699" y="0"/>
                    </a:lnTo>
                    <a:lnTo>
                      <a:pt x="709" y="0"/>
                    </a:lnTo>
                    <a:lnTo>
                      <a:pt x="727" y="0"/>
                    </a:lnTo>
                    <a:lnTo>
                      <a:pt x="731" y="0"/>
                    </a:lnTo>
                    <a:lnTo>
                      <a:pt x="731" y="2"/>
                    </a:lnTo>
                    <a:lnTo>
                      <a:pt x="731" y="8"/>
                    </a:lnTo>
                    <a:lnTo>
                      <a:pt x="731" y="14"/>
                    </a:lnTo>
                    <a:lnTo>
                      <a:pt x="731" y="22"/>
                    </a:lnTo>
                    <a:lnTo>
                      <a:pt x="731" y="31"/>
                    </a:lnTo>
                    <a:lnTo>
                      <a:pt x="731" y="42"/>
                    </a:lnTo>
                    <a:lnTo>
                      <a:pt x="736" y="51"/>
                    </a:lnTo>
                    <a:lnTo>
                      <a:pt x="736" y="59"/>
                    </a:lnTo>
                    <a:lnTo>
                      <a:pt x="736" y="68"/>
                    </a:lnTo>
                    <a:lnTo>
                      <a:pt x="736" y="79"/>
                    </a:lnTo>
                    <a:lnTo>
                      <a:pt x="736" y="88"/>
                    </a:lnTo>
                    <a:lnTo>
                      <a:pt x="741" y="96"/>
                    </a:lnTo>
                    <a:lnTo>
                      <a:pt x="741" y="102"/>
                    </a:lnTo>
                    <a:lnTo>
                      <a:pt x="741" y="105"/>
                    </a:lnTo>
                    <a:lnTo>
                      <a:pt x="741" y="111"/>
                    </a:lnTo>
                    <a:lnTo>
                      <a:pt x="731" y="111"/>
                    </a:lnTo>
                    <a:lnTo>
                      <a:pt x="718" y="114"/>
                    </a:lnTo>
                    <a:lnTo>
                      <a:pt x="699" y="116"/>
                    </a:lnTo>
                    <a:lnTo>
                      <a:pt x="690" y="116"/>
                    </a:lnTo>
                    <a:lnTo>
                      <a:pt x="681" y="116"/>
                    </a:lnTo>
                    <a:lnTo>
                      <a:pt x="668" y="119"/>
                    </a:lnTo>
                    <a:lnTo>
                      <a:pt x="658" y="122"/>
                    </a:lnTo>
                    <a:lnTo>
                      <a:pt x="640" y="125"/>
                    </a:lnTo>
                    <a:lnTo>
                      <a:pt x="631" y="125"/>
                    </a:lnTo>
                    <a:lnTo>
                      <a:pt x="613" y="128"/>
                    </a:lnTo>
                    <a:lnTo>
                      <a:pt x="604" y="128"/>
                    </a:lnTo>
                    <a:lnTo>
                      <a:pt x="585" y="131"/>
                    </a:lnTo>
                    <a:lnTo>
                      <a:pt x="567" y="131"/>
                    </a:lnTo>
                    <a:lnTo>
                      <a:pt x="549" y="133"/>
                    </a:lnTo>
                    <a:lnTo>
                      <a:pt x="540" y="136"/>
                    </a:lnTo>
                    <a:lnTo>
                      <a:pt x="521" y="139"/>
                    </a:lnTo>
                    <a:lnTo>
                      <a:pt x="503" y="139"/>
                    </a:lnTo>
                    <a:lnTo>
                      <a:pt x="485" y="142"/>
                    </a:lnTo>
                    <a:lnTo>
                      <a:pt x="471" y="145"/>
                    </a:lnTo>
                    <a:lnTo>
                      <a:pt x="448" y="148"/>
                    </a:lnTo>
                    <a:lnTo>
                      <a:pt x="434" y="148"/>
                    </a:lnTo>
                    <a:lnTo>
                      <a:pt x="416" y="148"/>
                    </a:lnTo>
                    <a:lnTo>
                      <a:pt x="398" y="151"/>
                    </a:lnTo>
                    <a:lnTo>
                      <a:pt x="384" y="153"/>
                    </a:lnTo>
                    <a:lnTo>
                      <a:pt x="366" y="153"/>
                    </a:lnTo>
                    <a:lnTo>
                      <a:pt x="352" y="156"/>
                    </a:lnTo>
                    <a:lnTo>
                      <a:pt x="338" y="159"/>
                    </a:lnTo>
                    <a:lnTo>
                      <a:pt x="0" y="176"/>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1" name="Freeform 24"/>
              <p:cNvSpPr>
                <a:spLocks/>
              </p:cNvSpPr>
              <p:nvPr>
                <p:custDataLst>
                  <p:tags r:id="rId153"/>
                </p:custDataLst>
              </p:nvPr>
            </p:nvSpPr>
            <p:spPr bwMode="gray">
              <a:xfrm>
                <a:off x="1293" y="2430"/>
                <a:ext cx="164" cy="94"/>
              </a:xfrm>
              <a:custGeom>
                <a:avLst/>
                <a:gdLst>
                  <a:gd name="T0" fmla="*/ 40 w 160"/>
                  <a:gd name="T1" fmla="*/ 3 h 103"/>
                  <a:gd name="T2" fmla="*/ 19 w 160"/>
                  <a:gd name="T3" fmla="*/ 5 h 103"/>
                  <a:gd name="T4" fmla="*/ 14 w 160"/>
                  <a:gd name="T5" fmla="*/ 6 h 103"/>
                  <a:gd name="T6" fmla="*/ 9 w 160"/>
                  <a:gd name="T7" fmla="*/ 10 h 103"/>
                  <a:gd name="T8" fmla="*/ 5 w 160"/>
                  <a:gd name="T9" fmla="*/ 14 h 103"/>
                  <a:gd name="T10" fmla="*/ 0 w 160"/>
                  <a:gd name="T11" fmla="*/ 15 h 103"/>
                  <a:gd name="T12" fmla="*/ 0 w 160"/>
                  <a:gd name="T13" fmla="*/ 18 h 103"/>
                  <a:gd name="T14" fmla="*/ 0 w 160"/>
                  <a:gd name="T15" fmla="*/ 20 h 103"/>
                  <a:gd name="T16" fmla="*/ 5 w 160"/>
                  <a:gd name="T17" fmla="*/ 22 h 103"/>
                  <a:gd name="T18" fmla="*/ 5 w 160"/>
                  <a:gd name="T19" fmla="*/ 25 h 103"/>
                  <a:gd name="T20" fmla="*/ 9 w 160"/>
                  <a:gd name="T21" fmla="*/ 27 h 103"/>
                  <a:gd name="T22" fmla="*/ 19 w 160"/>
                  <a:gd name="T23" fmla="*/ 30 h 103"/>
                  <a:gd name="T24" fmla="*/ 44 w 160"/>
                  <a:gd name="T25" fmla="*/ 33 h 103"/>
                  <a:gd name="T26" fmla="*/ 58 w 160"/>
                  <a:gd name="T27" fmla="*/ 33 h 103"/>
                  <a:gd name="T28" fmla="*/ 83 w 160"/>
                  <a:gd name="T29" fmla="*/ 33 h 103"/>
                  <a:gd name="T30" fmla="*/ 97 w 160"/>
                  <a:gd name="T31" fmla="*/ 33 h 103"/>
                  <a:gd name="T32" fmla="*/ 116 w 160"/>
                  <a:gd name="T33" fmla="*/ 34 h 103"/>
                  <a:gd name="T34" fmla="*/ 137 w 160"/>
                  <a:gd name="T35" fmla="*/ 33 h 103"/>
                  <a:gd name="T36" fmla="*/ 154 w 160"/>
                  <a:gd name="T37" fmla="*/ 33 h 103"/>
                  <a:gd name="T38" fmla="*/ 166 w 160"/>
                  <a:gd name="T39" fmla="*/ 33 h 103"/>
                  <a:gd name="T40" fmla="*/ 178 w 160"/>
                  <a:gd name="T41" fmla="*/ 31 h 103"/>
                  <a:gd name="T42" fmla="*/ 198 w 160"/>
                  <a:gd name="T43" fmla="*/ 28 h 103"/>
                  <a:gd name="T44" fmla="*/ 203 w 160"/>
                  <a:gd name="T45" fmla="*/ 25 h 103"/>
                  <a:gd name="T46" fmla="*/ 209 w 160"/>
                  <a:gd name="T47" fmla="*/ 21 h 103"/>
                  <a:gd name="T48" fmla="*/ 214 w 160"/>
                  <a:gd name="T49" fmla="*/ 18 h 103"/>
                  <a:gd name="T50" fmla="*/ 209 w 160"/>
                  <a:gd name="T51" fmla="*/ 15 h 103"/>
                  <a:gd name="T52" fmla="*/ 209 w 160"/>
                  <a:gd name="T53" fmla="*/ 11 h 103"/>
                  <a:gd name="T54" fmla="*/ 203 w 160"/>
                  <a:gd name="T55" fmla="*/ 8 h 103"/>
                  <a:gd name="T56" fmla="*/ 198 w 160"/>
                  <a:gd name="T57" fmla="*/ 5 h 103"/>
                  <a:gd name="T58" fmla="*/ 178 w 160"/>
                  <a:gd name="T59" fmla="*/ 5 h 103"/>
                  <a:gd name="T60" fmla="*/ 154 w 160"/>
                  <a:gd name="T61" fmla="*/ 5 h 103"/>
                  <a:gd name="T62" fmla="*/ 137 w 160"/>
                  <a:gd name="T63" fmla="*/ 3 h 103"/>
                  <a:gd name="T64" fmla="*/ 102 w 160"/>
                  <a:gd name="T65" fmla="*/ 3 h 103"/>
                  <a:gd name="T66" fmla="*/ 83 w 160"/>
                  <a:gd name="T67" fmla="*/ 0 h 103"/>
                  <a:gd name="T68" fmla="*/ 58 w 160"/>
                  <a:gd name="T69" fmla="*/ 3 h 103"/>
                  <a:gd name="T70" fmla="*/ 49 w 160"/>
                  <a:gd name="T71" fmla="*/ 3 h 103"/>
                  <a:gd name="T72" fmla="*/ 40 w 160"/>
                  <a:gd name="T73" fmla="*/ 3 h 103"/>
                  <a:gd name="T74" fmla="*/ 40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28" y="3"/>
                    </a:moveTo>
                    <a:lnTo>
                      <a:pt x="19" y="12"/>
                    </a:lnTo>
                    <a:lnTo>
                      <a:pt x="14" y="20"/>
                    </a:lnTo>
                    <a:lnTo>
                      <a:pt x="9" y="29"/>
                    </a:lnTo>
                    <a:lnTo>
                      <a:pt x="5" y="40"/>
                    </a:lnTo>
                    <a:lnTo>
                      <a:pt x="0" y="46"/>
                    </a:lnTo>
                    <a:lnTo>
                      <a:pt x="0" y="54"/>
                    </a:lnTo>
                    <a:lnTo>
                      <a:pt x="0" y="60"/>
                    </a:lnTo>
                    <a:lnTo>
                      <a:pt x="5" y="66"/>
                    </a:lnTo>
                    <a:lnTo>
                      <a:pt x="5" y="74"/>
                    </a:lnTo>
                    <a:lnTo>
                      <a:pt x="9" y="83"/>
                    </a:lnTo>
                    <a:lnTo>
                      <a:pt x="19" y="91"/>
                    </a:lnTo>
                    <a:lnTo>
                      <a:pt x="32" y="97"/>
                    </a:lnTo>
                    <a:lnTo>
                      <a:pt x="46" y="100"/>
                    </a:lnTo>
                    <a:lnTo>
                      <a:pt x="60" y="100"/>
                    </a:lnTo>
                    <a:lnTo>
                      <a:pt x="73" y="100"/>
                    </a:lnTo>
                    <a:lnTo>
                      <a:pt x="87" y="103"/>
                    </a:lnTo>
                    <a:lnTo>
                      <a:pt x="101" y="100"/>
                    </a:lnTo>
                    <a:lnTo>
                      <a:pt x="115" y="100"/>
                    </a:lnTo>
                    <a:lnTo>
                      <a:pt x="124" y="97"/>
                    </a:lnTo>
                    <a:lnTo>
                      <a:pt x="133" y="94"/>
                    </a:lnTo>
                    <a:lnTo>
                      <a:pt x="147" y="86"/>
                    </a:lnTo>
                    <a:lnTo>
                      <a:pt x="151" y="74"/>
                    </a:lnTo>
                    <a:lnTo>
                      <a:pt x="156" y="63"/>
                    </a:lnTo>
                    <a:lnTo>
                      <a:pt x="160" y="54"/>
                    </a:lnTo>
                    <a:lnTo>
                      <a:pt x="156" y="43"/>
                    </a:lnTo>
                    <a:lnTo>
                      <a:pt x="156" y="31"/>
                    </a:lnTo>
                    <a:lnTo>
                      <a:pt x="151" y="23"/>
                    </a:lnTo>
                    <a:lnTo>
                      <a:pt x="147" y="17"/>
                    </a:lnTo>
                    <a:lnTo>
                      <a:pt x="133" y="9"/>
                    </a:lnTo>
                    <a:lnTo>
                      <a:pt x="115" y="6"/>
                    </a:lnTo>
                    <a:lnTo>
                      <a:pt x="101" y="3"/>
                    </a:lnTo>
                    <a:lnTo>
                      <a:pt x="78" y="3"/>
                    </a:lnTo>
                    <a:lnTo>
                      <a:pt x="60" y="0"/>
                    </a:lnTo>
                    <a:lnTo>
                      <a:pt x="46" y="3"/>
                    </a:lnTo>
                    <a:lnTo>
                      <a:pt x="37" y="3"/>
                    </a:lnTo>
                    <a:lnTo>
                      <a:pt x="28"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2" name="Freeform 25"/>
              <p:cNvSpPr>
                <a:spLocks/>
              </p:cNvSpPr>
              <p:nvPr>
                <p:custDataLst>
                  <p:tags r:id="rId154"/>
                </p:custDataLst>
              </p:nvPr>
            </p:nvSpPr>
            <p:spPr bwMode="gray">
              <a:xfrm>
                <a:off x="1785" y="2469"/>
                <a:ext cx="178" cy="93"/>
              </a:xfrm>
              <a:custGeom>
                <a:avLst/>
                <a:gdLst>
                  <a:gd name="T0" fmla="*/ 44 w 174"/>
                  <a:gd name="T1" fmla="*/ 5 h 102"/>
                  <a:gd name="T2" fmla="*/ 35 w 174"/>
                  <a:gd name="T3" fmla="*/ 5 h 102"/>
                  <a:gd name="T4" fmla="*/ 14 w 174"/>
                  <a:gd name="T5" fmla="*/ 8 h 102"/>
                  <a:gd name="T6" fmla="*/ 14 w 174"/>
                  <a:gd name="T7" fmla="*/ 11 h 102"/>
                  <a:gd name="T8" fmla="*/ 9 w 174"/>
                  <a:gd name="T9" fmla="*/ 14 h 102"/>
                  <a:gd name="T10" fmla="*/ 5 w 174"/>
                  <a:gd name="T11" fmla="*/ 15 h 102"/>
                  <a:gd name="T12" fmla="*/ 0 w 174"/>
                  <a:gd name="T13" fmla="*/ 18 h 102"/>
                  <a:gd name="T14" fmla="*/ 0 w 174"/>
                  <a:gd name="T15" fmla="*/ 20 h 102"/>
                  <a:gd name="T16" fmla="*/ 5 w 174"/>
                  <a:gd name="T17" fmla="*/ 22 h 102"/>
                  <a:gd name="T18" fmla="*/ 9 w 174"/>
                  <a:gd name="T19" fmla="*/ 25 h 102"/>
                  <a:gd name="T20" fmla="*/ 14 w 174"/>
                  <a:gd name="T21" fmla="*/ 27 h 102"/>
                  <a:gd name="T22" fmla="*/ 35 w 174"/>
                  <a:gd name="T23" fmla="*/ 30 h 102"/>
                  <a:gd name="T24" fmla="*/ 49 w 174"/>
                  <a:gd name="T25" fmla="*/ 33 h 102"/>
                  <a:gd name="T26" fmla="*/ 62 w 174"/>
                  <a:gd name="T27" fmla="*/ 33 h 102"/>
                  <a:gd name="T28" fmla="*/ 86 w 174"/>
                  <a:gd name="T29" fmla="*/ 33 h 102"/>
                  <a:gd name="T30" fmla="*/ 102 w 174"/>
                  <a:gd name="T31" fmla="*/ 33 h 102"/>
                  <a:gd name="T32" fmla="*/ 125 w 174"/>
                  <a:gd name="T33" fmla="*/ 34 h 102"/>
                  <a:gd name="T34" fmla="*/ 139 w 174"/>
                  <a:gd name="T35" fmla="*/ 33 h 102"/>
                  <a:gd name="T36" fmla="*/ 155 w 174"/>
                  <a:gd name="T37" fmla="*/ 33 h 102"/>
                  <a:gd name="T38" fmla="*/ 174 w 174"/>
                  <a:gd name="T39" fmla="*/ 31 h 102"/>
                  <a:gd name="T40" fmla="*/ 186 w 174"/>
                  <a:gd name="T41" fmla="*/ 31 h 102"/>
                  <a:gd name="T42" fmla="*/ 198 w 174"/>
                  <a:gd name="T43" fmla="*/ 27 h 102"/>
                  <a:gd name="T44" fmla="*/ 211 w 174"/>
                  <a:gd name="T45" fmla="*/ 25 h 102"/>
                  <a:gd name="T46" fmla="*/ 222 w 174"/>
                  <a:gd name="T47" fmla="*/ 24 h 102"/>
                  <a:gd name="T48" fmla="*/ 228 w 174"/>
                  <a:gd name="T49" fmla="*/ 21 h 102"/>
                  <a:gd name="T50" fmla="*/ 228 w 174"/>
                  <a:gd name="T51" fmla="*/ 17 h 102"/>
                  <a:gd name="T52" fmla="*/ 228 w 174"/>
                  <a:gd name="T53" fmla="*/ 15 h 102"/>
                  <a:gd name="T54" fmla="*/ 222 w 174"/>
                  <a:gd name="T55" fmla="*/ 11 h 102"/>
                  <a:gd name="T56" fmla="*/ 222 w 174"/>
                  <a:gd name="T57" fmla="*/ 6 h 102"/>
                  <a:gd name="T58" fmla="*/ 211 w 174"/>
                  <a:gd name="T59" fmla="*/ 5 h 102"/>
                  <a:gd name="T60" fmla="*/ 206 w 174"/>
                  <a:gd name="T61" fmla="*/ 5 h 102"/>
                  <a:gd name="T62" fmla="*/ 191 w 174"/>
                  <a:gd name="T63" fmla="*/ 5 h 102"/>
                  <a:gd name="T64" fmla="*/ 179 w 174"/>
                  <a:gd name="T65" fmla="*/ 0 h 102"/>
                  <a:gd name="T66" fmla="*/ 167 w 174"/>
                  <a:gd name="T67" fmla="*/ 0 h 102"/>
                  <a:gd name="T68" fmla="*/ 150 w 174"/>
                  <a:gd name="T69" fmla="*/ 0 h 102"/>
                  <a:gd name="T70" fmla="*/ 139 w 174"/>
                  <a:gd name="T71" fmla="*/ 0 h 102"/>
                  <a:gd name="T72" fmla="*/ 125 w 174"/>
                  <a:gd name="T73" fmla="*/ 0 h 102"/>
                  <a:gd name="T74" fmla="*/ 102 w 174"/>
                  <a:gd name="T75" fmla="*/ 0 h 102"/>
                  <a:gd name="T76" fmla="*/ 93 w 174"/>
                  <a:gd name="T77" fmla="*/ 0 h 102"/>
                  <a:gd name="T78" fmla="*/ 78 w 174"/>
                  <a:gd name="T79" fmla="*/ 0 h 102"/>
                  <a:gd name="T80" fmla="*/ 62 w 174"/>
                  <a:gd name="T81" fmla="*/ 0 h 102"/>
                  <a:gd name="T82" fmla="*/ 49 w 174"/>
                  <a:gd name="T83" fmla="*/ 3 h 102"/>
                  <a:gd name="T84" fmla="*/ 44 w 174"/>
                  <a:gd name="T85" fmla="*/ 5 h 102"/>
                  <a:gd name="T86" fmla="*/ 44 w 174"/>
                  <a:gd name="T87" fmla="*/ 5 h 1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
                  <a:gd name="T133" fmla="*/ 0 h 102"/>
                  <a:gd name="T134" fmla="*/ 174 w 174"/>
                  <a:gd name="T135" fmla="*/ 102 h 1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 h="102">
                    <a:moveTo>
                      <a:pt x="32" y="6"/>
                    </a:moveTo>
                    <a:lnTo>
                      <a:pt x="23" y="14"/>
                    </a:lnTo>
                    <a:lnTo>
                      <a:pt x="14" y="23"/>
                    </a:lnTo>
                    <a:lnTo>
                      <a:pt x="14" y="31"/>
                    </a:lnTo>
                    <a:lnTo>
                      <a:pt x="9" y="40"/>
                    </a:lnTo>
                    <a:lnTo>
                      <a:pt x="5" y="45"/>
                    </a:lnTo>
                    <a:lnTo>
                      <a:pt x="0" y="54"/>
                    </a:lnTo>
                    <a:lnTo>
                      <a:pt x="0" y="60"/>
                    </a:lnTo>
                    <a:lnTo>
                      <a:pt x="5" y="65"/>
                    </a:lnTo>
                    <a:lnTo>
                      <a:pt x="9" y="77"/>
                    </a:lnTo>
                    <a:lnTo>
                      <a:pt x="14" y="82"/>
                    </a:lnTo>
                    <a:lnTo>
                      <a:pt x="23" y="91"/>
                    </a:lnTo>
                    <a:lnTo>
                      <a:pt x="37" y="97"/>
                    </a:lnTo>
                    <a:lnTo>
                      <a:pt x="50" y="100"/>
                    </a:lnTo>
                    <a:lnTo>
                      <a:pt x="64" y="100"/>
                    </a:lnTo>
                    <a:lnTo>
                      <a:pt x="78" y="100"/>
                    </a:lnTo>
                    <a:lnTo>
                      <a:pt x="96" y="102"/>
                    </a:lnTo>
                    <a:lnTo>
                      <a:pt x="105" y="100"/>
                    </a:lnTo>
                    <a:lnTo>
                      <a:pt x="119" y="100"/>
                    </a:lnTo>
                    <a:lnTo>
                      <a:pt x="133" y="94"/>
                    </a:lnTo>
                    <a:lnTo>
                      <a:pt x="142" y="94"/>
                    </a:lnTo>
                    <a:lnTo>
                      <a:pt x="151" y="82"/>
                    </a:lnTo>
                    <a:lnTo>
                      <a:pt x="160" y="77"/>
                    </a:lnTo>
                    <a:lnTo>
                      <a:pt x="169" y="71"/>
                    </a:lnTo>
                    <a:lnTo>
                      <a:pt x="174" y="63"/>
                    </a:lnTo>
                    <a:lnTo>
                      <a:pt x="174" y="51"/>
                    </a:lnTo>
                    <a:lnTo>
                      <a:pt x="174" y="43"/>
                    </a:lnTo>
                    <a:lnTo>
                      <a:pt x="169" y="31"/>
                    </a:lnTo>
                    <a:lnTo>
                      <a:pt x="169" y="20"/>
                    </a:lnTo>
                    <a:lnTo>
                      <a:pt x="160" y="14"/>
                    </a:lnTo>
                    <a:lnTo>
                      <a:pt x="156" y="8"/>
                    </a:lnTo>
                    <a:lnTo>
                      <a:pt x="146" y="6"/>
                    </a:lnTo>
                    <a:lnTo>
                      <a:pt x="137" y="0"/>
                    </a:lnTo>
                    <a:lnTo>
                      <a:pt x="128" y="0"/>
                    </a:lnTo>
                    <a:lnTo>
                      <a:pt x="114" y="0"/>
                    </a:lnTo>
                    <a:lnTo>
                      <a:pt x="105" y="0"/>
                    </a:lnTo>
                    <a:lnTo>
                      <a:pt x="96" y="0"/>
                    </a:lnTo>
                    <a:lnTo>
                      <a:pt x="78" y="0"/>
                    </a:lnTo>
                    <a:lnTo>
                      <a:pt x="69" y="0"/>
                    </a:lnTo>
                    <a:lnTo>
                      <a:pt x="60" y="0"/>
                    </a:lnTo>
                    <a:lnTo>
                      <a:pt x="50" y="0"/>
                    </a:lnTo>
                    <a:lnTo>
                      <a:pt x="37" y="3"/>
                    </a:lnTo>
                    <a:lnTo>
                      <a:pt x="32" y="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3" name="Freeform 26"/>
              <p:cNvSpPr>
                <a:spLocks/>
              </p:cNvSpPr>
              <p:nvPr>
                <p:custDataLst>
                  <p:tags r:id="rId155"/>
                </p:custDataLst>
              </p:nvPr>
            </p:nvSpPr>
            <p:spPr bwMode="gray">
              <a:xfrm>
                <a:off x="2047" y="2479"/>
                <a:ext cx="164" cy="93"/>
              </a:xfrm>
              <a:custGeom>
                <a:avLst/>
                <a:gdLst>
                  <a:gd name="T0" fmla="*/ 44 w 160"/>
                  <a:gd name="T1" fmla="*/ 3 h 103"/>
                  <a:gd name="T2" fmla="*/ 18 w 160"/>
                  <a:gd name="T3" fmla="*/ 5 h 103"/>
                  <a:gd name="T4" fmla="*/ 14 w 160"/>
                  <a:gd name="T5" fmla="*/ 5 h 103"/>
                  <a:gd name="T6" fmla="*/ 9 w 160"/>
                  <a:gd name="T7" fmla="*/ 9 h 103"/>
                  <a:gd name="T8" fmla="*/ 0 w 160"/>
                  <a:gd name="T9" fmla="*/ 11 h 103"/>
                  <a:gd name="T10" fmla="*/ 0 w 160"/>
                  <a:gd name="T11" fmla="*/ 14 h 103"/>
                  <a:gd name="T12" fmla="*/ 0 w 160"/>
                  <a:gd name="T13" fmla="*/ 15 h 103"/>
                  <a:gd name="T14" fmla="*/ 0 w 160"/>
                  <a:gd name="T15" fmla="*/ 17 h 103"/>
                  <a:gd name="T16" fmla="*/ 0 w 160"/>
                  <a:gd name="T17" fmla="*/ 20 h 103"/>
                  <a:gd name="T18" fmla="*/ 0 w 160"/>
                  <a:gd name="T19" fmla="*/ 21 h 103"/>
                  <a:gd name="T20" fmla="*/ 9 w 160"/>
                  <a:gd name="T21" fmla="*/ 24 h 103"/>
                  <a:gd name="T22" fmla="*/ 18 w 160"/>
                  <a:gd name="T23" fmla="*/ 27 h 103"/>
                  <a:gd name="T24" fmla="*/ 44 w 160"/>
                  <a:gd name="T25" fmla="*/ 28 h 103"/>
                  <a:gd name="T26" fmla="*/ 53 w 160"/>
                  <a:gd name="T27" fmla="*/ 28 h 103"/>
                  <a:gd name="T28" fmla="*/ 73 w 160"/>
                  <a:gd name="T29" fmla="*/ 30 h 103"/>
                  <a:gd name="T30" fmla="*/ 97 w 160"/>
                  <a:gd name="T31" fmla="*/ 30 h 103"/>
                  <a:gd name="T32" fmla="*/ 116 w 160"/>
                  <a:gd name="T33" fmla="*/ 31 h 103"/>
                  <a:gd name="T34" fmla="*/ 137 w 160"/>
                  <a:gd name="T35" fmla="*/ 30 h 103"/>
                  <a:gd name="T36" fmla="*/ 153 w 160"/>
                  <a:gd name="T37" fmla="*/ 28 h 103"/>
                  <a:gd name="T38" fmla="*/ 166 w 160"/>
                  <a:gd name="T39" fmla="*/ 28 h 103"/>
                  <a:gd name="T40" fmla="*/ 178 w 160"/>
                  <a:gd name="T41" fmla="*/ 28 h 103"/>
                  <a:gd name="T42" fmla="*/ 197 w 160"/>
                  <a:gd name="T43" fmla="*/ 24 h 103"/>
                  <a:gd name="T44" fmla="*/ 209 w 160"/>
                  <a:gd name="T45" fmla="*/ 21 h 103"/>
                  <a:gd name="T46" fmla="*/ 209 w 160"/>
                  <a:gd name="T47" fmla="*/ 19 h 103"/>
                  <a:gd name="T48" fmla="*/ 214 w 160"/>
                  <a:gd name="T49" fmla="*/ 16 h 103"/>
                  <a:gd name="T50" fmla="*/ 214 w 160"/>
                  <a:gd name="T51" fmla="*/ 13 h 103"/>
                  <a:gd name="T52" fmla="*/ 209 w 160"/>
                  <a:gd name="T53" fmla="*/ 10 h 103"/>
                  <a:gd name="T54" fmla="*/ 203 w 160"/>
                  <a:gd name="T55" fmla="*/ 7 h 103"/>
                  <a:gd name="T56" fmla="*/ 197 w 160"/>
                  <a:gd name="T57" fmla="*/ 5 h 103"/>
                  <a:gd name="T58" fmla="*/ 178 w 160"/>
                  <a:gd name="T59" fmla="*/ 5 h 103"/>
                  <a:gd name="T60" fmla="*/ 160 w 160"/>
                  <a:gd name="T61" fmla="*/ 5 h 103"/>
                  <a:gd name="T62" fmla="*/ 129 w 160"/>
                  <a:gd name="T63" fmla="*/ 3 h 103"/>
                  <a:gd name="T64" fmla="*/ 102 w 160"/>
                  <a:gd name="T65" fmla="*/ 3 h 103"/>
                  <a:gd name="T66" fmla="*/ 73 w 160"/>
                  <a:gd name="T67" fmla="*/ 0 h 103"/>
                  <a:gd name="T68" fmla="*/ 53 w 160"/>
                  <a:gd name="T69" fmla="*/ 0 h 103"/>
                  <a:gd name="T70" fmla="*/ 44 w 160"/>
                  <a:gd name="T71" fmla="*/ 0 h 103"/>
                  <a:gd name="T72" fmla="*/ 44 w 160"/>
                  <a:gd name="T73" fmla="*/ 3 h 103"/>
                  <a:gd name="T74" fmla="*/ 44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32" y="3"/>
                    </a:moveTo>
                    <a:lnTo>
                      <a:pt x="18" y="9"/>
                    </a:lnTo>
                    <a:lnTo>
                      <a:pt x="14" y="20"/>
                    </a:lnTo>
                    <a:lnTo>
                      <a:pt x="9" y="29"/>
                    </a:lnTo>
                    <a:lnTo>
                      <a:pt x="0" y="37"/>
                    </a:lnTo>
                    <a:lnTo>
                      <a:pt x="0" y="46"/>
                    </a:lnTo>
                    <a:lnTo>
                      <a:pt x="0" y="52"/>
                    </a:lnTo>
                    <a:lnTo>
                      <a:pt x="0" y="57"/>
                    </a:lnTo>
                    <a:lnTo>
                      <a:pt x="0" y="66"/>
                    </a:lnTo>
                    <a:lnTo>
                      <a:pt x="0" y="71"/>
                    </a:lnTo>
                    <a:lnTo>
                      <a:pt x="9" y="83"/>
                    </a:lnTo>
                    <a:lnTo>
                      <a:pt x="18" y="91"/>
                    </a:lnTo>
                    <a:lnTo>
                      <a:pt x="32" y="94"/>
                    </a:lnTo>
                    <a:lnTo>
                      <a:pt x="41" y="97"/>
                    </a:lnTo>
                    <a:lnTo>
                      <a:pt x="55" y="100"/>
                    </a:lnTo>
                    <a:lnTo>
                      <a:pt x="73" y="100"/>
                    </a:lnTo>
                    <a:lnTo>
                      <a:pt x="87" y="103"/>
                    </a:lnTo>
                    <a:lnTo>
                      <a:pt x="101" y="100"/>
                    </a:lnTo>
                    <a:lnTo>
                      <a:pt x="114" y="97"/>
                    </a:lnTo>
                    <a:lnTo>
                      <a:pt x="124" y="94"/>
                    </a:lnTo>
                    <a:lnTo>
                      <a:pt x="133" y="94"/>
                    </a:lnTo>
                    <a:lnTo>
                      <a:pt x="146" y="83"/>
                    </a:lnTo>
                    <a:lnTo>
                      <a:pt x="156" y="71"/>
                    </a:lnTo>
                    <a:lnTo>
                      <a:pt x="156" y="63"/>
                    </a:lnTo>
                    <a:lnTo>
                      <a:pt x="160" y="54"/>
                    </a:lnTo>
                    <a:lnTo>
                      <a:pt x="160" y="43"/>
                    </a:lnTo>
                    <a:lnTo>
                      <a:pt x="156" y="32"/>
                    </a:lnTo>
                    <a:lnTo>
                      <a:pt x="151" y="23"/>
                    </a:lnTo>
                    <a:lnTo>
                      <a:pt x="146" y="17"/>
                    </a:lnTo>
                    <a:lnTo>
                      <a:pt x="133" y="9"/>
                    </a:lnTo>
                    <a:lnTo>
                      <a:pt x="119" y="6"/>
                    </a:lnTo>
                    <a:lnTo>
                      <a:pt x="96" y="3"/>
                    </a:lnTo>
                    <a:lnTo>
                      <a:pt x="78" y="3"/>
                    </a:lnTo>
                    <a:lnTo>
                      <a:pt x="55" y="0"/>
                    </a:lnTo>
                    <a:lnTo>
                      <a:pt x="41" y="0"/>
                    </a:lnTo>
                    <a:lnTo>
                      <a:pt x="32"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4" name="Freeform 27"/>
              <p:cNvSpPr>
                <a:spLocks/>
              </p:cNvSpPr>
              <p:nvPr>
                <p:custDataLst>
                  <p:tags r:id="rId156"/>
                </p:custDataLst>
              </p:nvPr>
            </p:nvSpPr>
            <p:spPr bwMode="gray">
              <a:xfrm>
                <a:off x="3963" y="2482"/>
                <a:ext cx="169" cy="90"/>
              </a:xfrm>
              <a:custGeom>
                <a:avLst/>
                <a:gdLst>
                  <a:gd name="T0" fmla="*/ 44 w 165"/>
                  <a:gd name="T1" fmla="*/ 3 h 100"/>
                  <a:gd name="T2" fmla="*/ 35 w 165"/>
                  <a:gd name="T3" fmla="*/ 5 h 100"/>
                  <a:gd name="T4" fmla="*/ 14 w 165"/>
                  <a:gd name="T5" fmla="*/ 5 h 100"/>
                  <a:gd name="T6" fmla="*/ 5 w 165"/>
                  <a:gd name="T7" fmla="*/ 8 h 100"/>
                  <a:gd name="T8" fmla="*/ 5 w 165"/>
                  <a:gd name="T9" fmla="*/ 11 h 100"/>
                  <a:gd name="T10" fmla="*/ 5 w 165"/>
                  <a:gd name="T11" fmla="*/ 13 h 100"/>
                  <a:gd name="T12" fmla="*/ 0 w 165"/>
                  <a:gd name="T13" fmla="*/ 14 h 100"/>
                  <a:gd name="T14" fmla="*/ 0 w 165"/>
                  <a:gd name="T15" fmla="*/ 16 h 100"/>
                  <a:gd name="T16" fmla="*/ 5 w 165"/>
                  <a:gd name="T17" fmla="*/ 19 h 100"/>
                  <a:gd name="T18" fmla="*/ 5 w 165"/>
                  <a:gd name="T19" fmla="*/ 21 h 100"/>
                  <a:gd name="T20" fmla="*/ 14 w 165"/>
                  <a:gd name="T21" fmla="*/ 23 h 100"/>
                  <a:gd name="T22" fmla="*/ 35 w 165"/>
                  <a:gd name="T23" fmla="*/ 26 h 100"/>
                  <a:gd name="T24" fmla="*/ 49 w 165"/>
                  <a:gd name="T25" fmla="*/ 27 h 100"/>
                  <a:gd name="T26" fmla="*/ 58 w 165"/>
                  <a:gd name="T27" fmla="*/ 29 h 100"/>
                  <a:gd name="T28" fmla="*/ 82 w 165"/>
                  <a:gd name="T29" fmla="*/ 29 h 100"/>
                  <a:gd name="T30" fmla="*/ 102 w 165"/>
                  <a:gd name="T31" fmla="*/ 29 h 100"/>
                  <a:gd name="T32" fmla="*/ 122 w 165"/>
                  <a:gd name="T33" fmla="*/ 29 h 100"/>
                  <a:gd name="T34" fmla="*/ 135 w 165"/>
                  <a:gd name="T35" fmla="*/ 29 h 100"/>
                  <a:gd name="T36" fmla="*/ 153 w 165"/>
                  <a:gd name="T37" fmla="*/ 29 h 100"/>
                  <a:gd name="T38" fmla="*/ 170 w 165"/>
                  <a:gd name="T39" fmla="*/ 27 h 100"/>
                  <a:gd name="T40" fmla="*/ 182 w 165"/>
                  <a:gd name="T41" fmla="*/ 26 h 100"/>
                  <a:gd name="T42" fmla="*/ 197 w 165"/>
                  <a:gd name="T43" fmla="*/ 23 h 100"/>
                  <a:gd name="T44" fmla="*/ 208 w 165"/>
                  <a:gd name="T45" fmla="*/ 21 h 100"/>
                  <a:gd name="T46" fmla="*/ 213 w 165"/>
                  <a:gd name="T47" fmla="*/ 18 h 100"/>
                  <a:gd name="T48" fmla="*/ 219 w 165"/>
                  <a:gd name="T49" fmla="*/ 15 h 100"/>
                  <a:gd name="T50" fmla="*/ 219 w 165"/>
                  <a:gd name="T51" fmla="*/ 13 h 100"/>
                  <a:gd name="T52" fmla="*/ 213 w 165"/>
                  <a:gd name="T53" fmla="*/ 11 h 100"/>
                  <a:gd name="T54" fmla="*/ 202 w 165"/>
                  <a:gd name="T55" fmla="*/ 7 h 100"/>
                  <a:gd name="T56" fmla="*/ 197 w 165"/>
                  <a:gd name="T57" fmla="*/ 5 h 100"/>
                  <a:gd name="T58" fmla="*/ 177 w 165"/>
                  <a:gd name="T59" fmla="*/ 5 h 100"/>
                  <a:gd name="T60" fmla="*/ 158 w 165"/>
                  <a:gd name="T61" fmla="*/ 5 h 100"/>
                  <a:gd name="T62" fmla="*/ 146 w 165"/>
                  <a:gd name="T63" fmla="*/ 3 h 100"/>
                  <a:gd name="T64" fmla="*/ 128 w 165"/>
                  <a:gd name="T65" fmla="*/ 3 h 100"/>
                  <a:gd name="T66" fmla="*/ 122 w 165"/>
                  <a:gd name="T67" fmla="*/ 3 h 100"/>
                  <a:gd name="T68" fmla="*/ 102 w 165"/>
                  <a:gd name="T69" fmla="*/ 3 h 100"/>
                  <a:gd name="T70" fmla="*/ 82 w 165"/>
                  <a:gd name="T71" fmla="*/ 0 h 100"/>
                  <a:gd name="T72" fmla="*/ 53 w 165"/>
                  <a:gd name="T73" fmla="*/ 3 h 100"/>
                  <a:gd name="T74" fmla="*/ 49 w 165"/>
                  <a:gd name="T75" fmla="*/ 3 h 100"/>
                  <a:gd name="T76" fmla="*/ 44 w 165"/>
                  <a:gd name="T77" fmla="*/ 3 h 100"/>
                  <a:gd name="T78" fmla="*/ 44 w 165"/>
                  <a:gd name="T79" fmla="*/ 3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100"/>
                  <a:gd name="T122" fmla="*/ 165 w 165"/>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100">
                    <a:moveTo>
                      <a:pt x="32" y="3"/>
                    </a:moveTo>
                    <a:lnTo>
                      <a:pt x="23" y="12"/>
                    </a:lnTo>
                    <a:lnTo>
                      <a:pt x="14" y="20"/>
                    </a:lnTo>
                    <a:lnTo>
                      <a:pt x="5" y="29"/>
                    </a:lnTo>
                    <a:lnTo>
                      <a:pt x="5" y="37"/>
                    </a:lnTo>
                    <a:lnTo>
                      <a:pt x="5" y="46"/>
                    </a:lnTo>
                    <a:lnTo>
                      <a:pt x="0" y="51"/>
                    </a:lnTo>
                    <a:lnTo>
                      <a:pt x="0" y="57"/>
                    </a:lnTo>
                    <a:lnTo>
                      <a:pt x="5" y="66"/>
                    </a:lnTo>
                    <a:lnTo>
                      <a:pt x="5" y="74"/>
                    </a:lnTo>
                    <a:lnTo>
                      <a:pt x="14" y="83"/>
                    </a:lnTo>
                    <a:lnTo>
                      <a:pt x="23" y="91"/>
                    </a:lnTo>
                    <a:lnTo>
                      <a:pt x="37" y="94"/>
                    </a:lnTo>
                    <a:lnTo>
                      <a:pt x="46" y="100"/>
                    </a:lnTo>
                    <a:lnTo>
                      <a:pt x="60" y="100"/>
                    </a:lnTo>
                    <a:lnTo>
                      <a:pt x="78" y="100"/>
                    </a:lnTo>
                    <a:lnTo>
                      <a:pt x="92" y="100"/>
                    </a:lnTo>
                    <a:lnTo>
                      <a:pt x="101" y="100"/>
                    </a:lnTo>
                    <a:lnTo>
                      <a:pt x="115" y="100"/>
                    </a:lnTo>
                    <a:lnTo>
                      <a:pt x="128" y="94"/>
                    </a:lnTo>
                    <a:lnTo>
                      <a:pt x="137" y="91"/>
                    </a:lnTo>
                    <a:lnTo>
                      <a:pt x="147" y="83"/>
                    </a:lnTo>
                    <a:lnTo>
                      <a:pt x="156" y="74"/>
                    </a:lnTo>
                    <a:lnTo>
                      <a:pt x="160" y="63"/>
                    </a:lnTo>
                    <a:lnTo>
                      <a:pt x="165" y="54"/>
                    </a:lnTo>
                    <a:lnTo>
                      <a:pt x="165" y="43"/>
                    </a:lnTo>
                    <a:lnTo>
                      <a:pt x="160" y="34"/>
                    </a:lnTo>
                    <a:lnTo>
                      <a:pt x="151" y="26"/>
                    </a:lnTo>
                    <a:lnTo>
                      <a:pt x="147" y="17"/>
                    </a:lnTo>
                    <a:lnTo>
                      <a:pt x="133" y="9"/>
                    </a:lnTo>
                    <a:lnTo>
                      <a:pt x="119" y="6"/>
                    </a:lnTo>
                    <a:lnTo>
                      <a:pt x="110" y="3"/>
                    </a:lnTo>
                    <a:lnTo>
                      <a:pt x="96" y="3"/>
                    </a:lnTo>
                    <a:lnTo>
                      <a:pt x="92" y="3"/>
                    </a:lnTo>
                    <a:lnTo>
                      <a:pt x="78" y="3"/>
                    </a:lnTo>
                    <a:lnTo>
                      <a:pt x="60" y="0"/>
                    </a:lnTo>
                    <a:lnTo>
                      <a:pt x="41" y="3"/>
                    </a:lnTo>
                    <a:lnTo>
                      <a:pt x="37" y="3"/>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5" name="Freeform 28"/>
              <p:cNvSpPr>
                <a:spLocks/>
              </p:cNvSpPr>
              <p:nvPr>
                <p:custDataLst>
                  <p:tags r:id="rId157"/>
                </p:custDataLst>
              </p:nvPr>
            </p:nvSpPr>
            <p:spPr bwMode="gray">
              <a:xfrm>
                <a:off x="4212" y="2453"/>
                <a:ext cx="168" cy="91"/>
              </a:xfrm>
              <a:custGeom>
                <a:avLst/>
                <a:gdLst>
                  <a:gd name="T0" fmla="*/ 48 w 164"/>
                  <a:gd name="T1" fmla="*/ 3 h 99"/>
                  <a:gd name="T2" fmla="*/ 34 w 164"/>
                  <a:gd name="T3" fmla="*/ 6 h 99"/>
                  <a:gd name="T4" fmla="*/ 18 w 164"/>
                  <a:gd name="T5" fmla="*/ 6 h 99"/>
                  <a:gd name="T6" fmla="*/ 9 w 164"/>
                  <a:gd name="T7" fmla="*/ 11 h 99"/>
                  <a:gd name="T8" fmla="*/ 9 w 164"/>
                  <a:gd name="T9" fmla="*/ 14 h 99"/>
                  <a:gd name="T10" fmla="*/ 4 w 164"/>
                  <a:gd name="T11" fmla="*/ 16 h 99"/>
                  <a:gd name="T12" fmla="*/ 0 w 164"/>
                  <a:gd name="T13" fmla="*/ 18 h 99"/>
                  <a:gd name="T14" fmla="*/ 0 w 164"/>
                  <a:gd name="T15" fmla="*/ 20 h 99"/>
                  <a:gd name="T16" fmla="*/ 4 w 164"/>
                  <a:gd name="T17" fmla="*/ 22 h 99"/>
                  <a:gd name="T18" fmla="*/ 9 w 164"/>
                  <a:gd name="T19" fmla="*/ 27 h 99"/>
                  <a:gd name="T20" fmla="*/ 18 w 164"/>
                  <a:gd name="T21" fmla="*/ 29 h 99"/>
                  <a:gd name="T22" fmla="*/ 34 w 164"/>
                  <a:gd name="T23" fmla="*/ 32 h 99"/>
                  <a:gd name="T24" fmla="*/ 48 w 164"/>
                  <a:gd name="T25" fmla="*/ 34 h 99"/>
                  <a:gd name="T26" fmla="*/ 62 w 164"/>
                  <a:gd name="T27" fmla="*/ 35 h 99"/>
                  <a:gd name="T28" fmla="*/ 88 w 164"/>
                  <a:gd name="T29" fmla="*/ 35 h 99"/>
                  <a:gd name="T30" fmla="*/ 101 w 164"/>
                  <a:gd name="T31" fmla="*/ 35 h 99"/>
                  <a:gd name="T32" fmla="*/ 121 w 164"/>
                  <a:gd name="T33" fmla="*/ 37 h 99"/>
                  <a:gd name="T34" fmla="*/ 141 w 164"/>
                  <a:gd name="T35" fmla="*/ 35 h 99"/>
                  <a:gd name="T36" fmla="*/ 164 w 164"/>
                  <a:gd name="T37" fmla="*/ 35 h 99"/>
                  <a:gd name="T38" fmla="*/ 170 w 164"/>
                  <a:gd name="T39" fmla="*/ 34 h 99"/>
                  <a:gd name="T40" fmla="*/ 188 w 164"/>
                  <a:gd name="T41" fmla="*/ 32 h 99"/>
                  <a:gd name="T42" fmla="*/ 201 w 164"/>
                  <a:gd name="T43" fmla="*/ 29 h 99"/>
                  <a:gd name="T44" fmla="*/ 212 w 164"/>
                  <a:gd name="T45" fmla="*/ 26 h 99"/>
                  <a:gd name="T46" fmla="*/ 218 w 164"/>
                  <a:gd name="T47" fmla="*/ 22 h 99"/>
                  <a:gd name="T48" fmla="*/ 218 w 164"/>
                  <a:gd name="T49" fmla="*/ 18 h 99"/>
                  <a:gd name="T50" fmla="*/ 218 w 164"/>
                  <a:gd name="T51" fmla="*/ 15 h 99"/>
                  <a:gd name="T52" fmla="*/ 212 w 164"/>
                  <a:gd name="T53" fmla="*/ 12 h 99"/>
                  <a:gd name="T54" fmla="*/ 207 w 164"/>
                  <a:gd name="T55" fmla="*/ 8 h 99"/>
                  <a:gd name="T56" fmla="*/ 201 w 164"/>
                  <a:gd name="T57" fmla="*/ 6 h 99"/>
                  <a:gd name="T58" fmla="*/ 182 w 164"/>
                  <a:gd name="T59" fmla="*/ 5 h 99"/>
                  <a:gd name="T60" fmla="*/ 164 w 164"/>
                  <a:gd name="T61" fmla="*/ 3 h 99"/>
                  <a:gd name="T62" fmla="*/ 145 w 164"/>
                  <a:gd name="T63" fmla="*/ 3 h 99"/>
                  <a:gd name="T64" fmla="*/ 134 w 164"/>
                  <a:gd name="T65" fmla="*/ 0 h 99"/>
                  <a:gd name="T66" fmla="*/ 121 w 164"/>
                  <a:gd name="T67" fmla="*/ 0 h 99"/>
                  <a:gd name="T68" fmla="*/ 107 w 164"/>
                  <a:gd name="T69" fmla="*/ 0 h 99"/>
                  <a:gd name="T70" fmla="*/ 88 w 164"/>
                  <a:gd name="T71" fmla="*/ 0 h 99"/>
                  <a:gd name="T72" fmla="*/ 57 w 164"/>
                  <a:gd name="T73" fmla="*/ 0 h 99"/>
                  <a:gd name="T74" fmla="*/ 48 w 164"/>
                  <a:gd name="T75" fmla="*/ 0 h 99"/>
                  <a:gd name="T76" fmla="*/ 48 w 164"/>
                  <a:gd name="T77" fmla="*/ 3 h 99"/>
                  <a:gd name="T78" fmla="*/ 48 w 164"/>
                  <a:gd name="T79" fmla="*/ 3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99"/>
                  <a:gd name="T122" fmla="*/ 164 w 164"/>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99">
                    <a:moveTo>
                      <a:pt x="36" y="3"/>
                    </a:moveTo>
                    <a:lnTo>
                      <a:pt x="22" y="11"/>
                    </a:lnTo>
                    <a:lnTo>
                      <a:pt x="18" y="17"/>
                    </a:lnTo>
                    <a:lnTo>
                      <a:pt x="9" y="28"/>
                    </a:lnTo>
                    <a:lnTo>
                      <a:pt x="9" y="37"/>
                    </a:lnTo>
                    <a:lnTo>
                      <a:pt x="4" y="45"/>
                    </a:lnTo>
                    <a:lnTo>
                      <a:pt x="0" y="51"/>
                    </a:lnTo>
                    <a:lnTo>
                      <a:pt x="0" y="57"/>
                    </a:lnTo>
                    <a:lnTo>
                      <a:pt x="4" y="62"/>
                    </a:lnTo>
                    <a:lnTo>
                      <a:pt x="9" y="74"/>
                    </a:lnTo>
                    <a:lnTo>
                      <a:pt x="18" y="80"/>
                    </a:lnTo>
                    <a:lnTo>
                      <a:pt x="22" y="88"/>
                    </a:lnTo>
                    <a:lnTo>
                      <a:pt x="36" y="94"/>
                    </a:lnTo>
                    <a:lnTo>
                      <a:pt x="50" y="97"/>
                    </a:lnTo>
                    <a:lnTo>
                      <a:pt x="64" y="97"/>
                    </a:lnTo>
                    <a:lnTo>
                      <a:pt x="77" y="97"/>
                    </a:lnTo>
                    <a:lnTo>
                      <a:pt x="91" y="99"/>
                    </a:lnTo>
                    <a:lnTo>
                      <a:pt x="105" y="97"/>
                    </a:lnTo>
                    <a:lnTo>
                      <a:pt x="123" y="97"/>
                    </a:lnTo>
                    <a:lnTo>
                      <a:pt x="128" y="94"/>
                    </a:lnTo>
                    <a:lnTo>
                      <a:pt x="141" y="88"/>
                    </a:lnTo>
                    <a:lnTo>
                      <a:pt x="150" y="80"/>
                    </a:lnTo>
                    <a:lnTo>
                      <a:pt x="159" y="71"/>
                    </a:lnTo>
                    <a:lnTo>
                      <a:pt x="164" y="60"/>
                    </a:lnTo>
                    <a:lnTo>
                      <a:pt x="164" y="51"/>
                    </a:lnTo>
                    <a:lnTo>
                      <a:pt x="164" y="40"/>
                    </a:lnTo>
                    <a:lnTo>
                      <a:pt x="159" y="31"/>
                    </a:lnTo>
                    <a:lnTo>
                      <a:pt x="155" y="23"/>
                    </a:lnTo>
                    <a:lnTo>
                      <a:pt x="150" y="17"/>
                    </a:lnTo>
                    <a:lnTo>
                      <a:pt x="137" y="5"/>
                    </a:lnTo>
                    <a:lnTo>
                      <a:pt x="123" y="3"/>
                    </a:lnTo>
                    <a:lnTo>
                      <a:pt x="109" y="3"/>
                    </a:lnTo>
                    <a:lnTo>
                      <a:pt x="100" y="0"/>
                    </a:lnTo>
                    <a:lnTo>
                      <a:pt x="91" y="0"/>
                    </a:lnTo>
                    <a:lnTo>
                      <a:pt x="82" y="0"/>
                    </a:lnTo>
                    <a:lnTo>
                      <a:pt x="64" y="0"/>
                    </a:lnTo>
                    <a:lnTo>
                      <a:pt x="45" y="0"/>
                    </a:lnTo>
                    <a:lnTo>
                      <a:pt x="36" y="0"/>
                    </a:lnTo>
                    <a:lnTo>
                      <a:pt x="36"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6" name="Freeform 29"/>
              <p:cNvSpPr>
                <a:spLocks/>
              </p:cNvSpPr>
              <p:nvPr>
                <p:custDataLst>
                  <p:tags r:id="rId158"/>
                </p:custDataLst>
              </p:nvPr>
            </p:nvSpPr>
            <p:spPr bwMode="gray">
              <a:xfrm>
                <a:off x="3668" y="2508"/>
                <a:ext cx="169" cy="87"/>
              </a:xfrm>
              <a:custGeom>
                <a:avLst/>
                <a:gdLst>
                  <a:gd name="T0" fmla="*/ 44 w 165"/>
                  <a:gd name="T1" fmla="*/ 0 h 96"/>
                  <a:gd name="T2" fmla="*/ 19 w 165"/>
                  <a:gd name="T3" fmla="*/ 5 h 96"/>
                  <a:gd name="T4" fmla="*/ 19 w 165"/>
                  <a:gd name="T5" fmla="*/ 6 h 96"/>
                  <a:gd name="T6" fmla="*/ 10 w 165"/>
                  <a:gd name="T7" fmla="*/ 9 h 96"/>
                  <a:gd name="T8" fmla="*/ 5 w 165"/>
                  <a:gd name="T9" fmla="*/ 12 h 96"/>
                  <a:gd name="T10" fmla="*/ 0 w 165"/>
                  <a:gd name="T11" fmla="*/ 13 h 96"/>
                  <a:gd name="T12" fmla="*/ 0 w 165"/>
                  <a:gd name="T13" fmla="*/ 15 h 96"/>
                  <a:gd name="T14" fmla="*/ 0 w 165"/>
                  <a:gd name="T15" fmla="*/ 18 h 96"/>
                  <a:gd name="T16" fmla="*/ 0 w 165"/>
                  <a:gd name="T17" fmla="*/ 19 h 96"/>
                  <a:gd name="T18" fmla="*/ 5 w 165"/>
                  <a:gd name="T19" fmla="*/ 22 h 96"/>
                  <a:gd name="T20" fmla="*/ 10 w 165"/>
                  <a:gd name="T21" fmla="*/ 25 h 96"/>
                  <a:gd name="T22" fmla="*/ 19 w 165"/>
                  <a:gd name="T23" fmla="*/ 26 h 96"/>
                  <a:gd name="T24" fmla="*/ 44 w 165"/>
                  <a:gd name="T25" fmla="*/ 29 h 96"/>
                  <a:gd name="T26" fmla="*/ 58 w 165"/>
                  <a:gd name="T27" fmla="*/ 29 h 96"/>
                  <a:gd name="T28" fmla="*/ 82 w 165"/>
                  <a:gd name="T29" fmla="*/ 30 h 96"/>
                  <a:gd name="T30" fmla="*/ 98 w 165"/>
                  <a:gd name="T31" fmla="*/ 30 h 96"/>
                  <a:gd name="T32" fmla="*/ 122 w 165"/>
                  <a:gd name="T33" fmla="*/ 30 h 96"/>
                  <a:gd name="T34" fmla="*/ 142 w 165"/>
                  <a:gd name="T35" fmla="*/ 30 h 96"/>
                  <a:gd name="T36" fmla="*/ 153 w 165"/>
                  <a:gd name="T37" fmla="*/ 29 h 96"/>
                  <a:gd name="T38" fmla="*/ 170 w 165"/>
                  <a:gd name="T39" fmla="*/ 28 h 96"/>
                  <a:gd name="T40" fmla="*/ 183 w 165"/>
                  <a:gd name="T41" fmla="*/ 27 h 96"/>
                  <a:gd name="T42" fmla="*/ 197 w 165"/>
                  <a:gd name="T43" fmla="*/ 24 h 96"/>
                  <a:gd name="T44" fmla="*/ 208 w 165"/>
                  <a:gd name="T45" fmla="*/ 22 h 96"/>
                  <a:gd name="T46" fmla="*/ 213 w 165"/>
                  <a:gd name="T47" fmla="*/ 19 h 96"/>
                  <a:gd name="T48" fmla="*/ 219 w 165"/>
                  <a:gd name="T49" fmla="*/ 15 h 96"/>
                  <a:gd name="T50" fmla="*/ 213 w 165"/>
                  <a:gd name="T51" fmla="*/ 13 h 96"/>
                  <a:gd name="T52" fmla="*/ 208 w 165"/>
                  <a:gd name="T53" fmla="*/ 9 h 96"/>
                  <a:gd name="T54" fmla="*/ 202 w 165"/>
                  <a:gd name="T55" fmla="*/ 6 h 96"/>
                  <a:gd name="T56" fmla="*/ 202 w 165"/>
                  <a:gd name="T57" fmla="*/ 5 h 96"/>
                  <a:gd name="T58" fmla="*/ 177 w 165"/>
                  <a:gd name="T59" fmla="*/ 5 h 96"/>
                  <a:gd name="T60" fmla="*/ 158 w 165"/>
                  <a:gd name="T61" fmla="*/ 2 h 96"/>
                  <a:gd name="T62" fmla="*/ 146 w 165"/>
                  <a:gd name="T63" fmla="*/ 0 h 96"/>
                  <a:gd name="T64" fmla="*/ 128 w 165"/>
                  <a:gd name="T65" fmla="*/ 0 h 96"/>
                  <a:gd name="T66" fmla="*/ 122 w 165"/>
                  <a:gd name="T67" fmla="*/ 0 h 96"/>
                  <a:gd name="T68" fmla="*/ 108 w 165"/>
                  <a:gd name="T69" fmla="*/ 0 h 96"/>
                  <a:gd name="T70" fmla="*/ 82 w 165"/>
                  <a:gd name="T71" fmla="*/ 0 h 96"/>
                  <a:gd name="T72" fmla="*/ 58 w 165"/>
                  <a:gd name="T73" fmla="*/ 0 h 96"/>
                  <a:gd name="T74" fmla="*/ 49 w 165"/>
                  <a:gd name="T75" fmla="*/ 0 h 96"/>
                  <a:gd name="T76" fmla="*/ 44 w 165"/>
                  <a:gd name="T77" fmla="*/ 0 h 96"/>
                  <a:gd name="T78" fmla="*/ 44 w 165"/>
                  <a:gd name="T79" fmla="*/ 0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96"/>
                  <a:gd name="T122" fmla="*/ 165 w 165"/>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96">
                    <a:moveTo>
                      <a:pt x="32" y="0"/>
                    </a:moveTo>
                    <a:lnTo>
                      <a:pt x="19" y="8"/>
                    </a:lnTo>
                    <a:lnTo>
                      <a:pt x="19" y="20"/>
                    </a:lnTo>
                    <a:lnTo>
                      <a:pt x="10" y="28"/>
                    </a:lnTo>
                    <a:lnTo>
                      <a:pt x="5" y="37"/>
                    </a:lnTo>
                    <a:lnTo>
                      <a:pt x="0" y="39"/>
                    </a:lnTo>
                    <a:lnTo>
                      <a:pt x="0" y="48"/>
                    </a:lnTo>
                    <a:lnTo>
                      <a:pt x="0" y="57"/>
                    </a:lnTo>
                    <a:lnTo>
                      <a:pt x="0" y="62"/>
                    </a:lnTo>
                    <a:lnTo>
                      <a:pt x="5" y="71"/>
                    </a:lnTo>
                    <a:lnTo>
                      <a:pt x="10" y="82"/>
                    </a:lnTo>
                    <a:lnTo>
                      <a:pt x="19" y="85"/>
                    </a:lnTo>
                    <a:lnTo>
                      <a:pt x="32" y="94"/>
                    </a:lnTo>
                    <a:lnTo>
                      <a:pt x="46" y="94"/>
                    </a:lnTo>
                    <a:lnTo>
                      <a:pt x="60" y="96"/>
                    </a:lnTo>
                    <a:lnTo>
                      <a:pt x="74" y="96"/>
                    </a:lnTo>
                    <a:lnTo>
                      <a:pt x="92" y="96"/>
                    </a:lnTo>
                    <a:lnTo>
                      <a:pt x="106" y="96"/>
                    </a:lnTo>
                    <a:lnTo>
                      <a:pt x="115" y="94"/>
                    </a:lnTo>
                    <a:lnTo>
                      <a:pt x="128" y="91"/>
                    </a:lnTo>
                    <a:lnTo>
                      <a:pt x="138" y="88"/>
                    </a:lnTo>
                    <a:lnTo>
                      <a:pt x="147" y="79"/>
                    </a:lnTo>
                    <a:lnTo>
                      <a:pt x="156" y="71"/>
                    </a:lnTo>
                    <a:lnTo>
                      <a:pt x="160" y="62"/>
                    </a:lnTo>
                    <a:lnTo>
                      <a:pt x="165" y="51"/>
                    </a:lnTo>
                    <a:lnTo>
                      <a:pt x="160" y="39"/>
                    </a:lnTo>
                    <a:lnTo>
                      <a:pt x="156" y="28"/>
                    </a:lnTo>
                    <a:lnTo>
                      <a:pt x="151" y="20"/>
                    </a:lnTo>
                    <a:lnTo>
                      <a:pt x="151" y="14"/>
                    </a:lnTo>
                    <a:lnTo>
                      <a:pt x="133" y="5"/>
                    </a:lnTo>
                    <a:lnTo>
                      <a:pt x="119" y="2"/>
                    </a:lnTo>
                    <a:lnTo>
                      <a:pt x="110" y="0"/>
                    </a:lnTo>
                    <a:lnTo>
                      <a:pt x="96" y="0"/>
                    </a:lnTo>
                    <a:lnTo>
                      <a:pt x="92" y="0"/>
                    </a:lnTo>
                    <a:lnTo>
                      <a:pt x="83" y="0"/>
                    </a:lnTo>
                    <a:lnTo>
                      <a:pt x="60" y="0"/>
                    </a:lnTo>
                    <a:lnTo>
                      <a:pt x="46" y="0"/>
                    </a:lnTo>
                    <a:lnTo>
                      <a:pt x="37" y="0"/>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7" name="Freeform 30"/>
              <p:cNvSpPr>
                <a:spLocks/>
              </p:cNvSpPr>
              <p:nvPr>
                <p:custDataLst>
                  <p:tags r:id="rId159"/>
                </p:custDataLst>
              </p:nvPr>
            </p:nvSpPr>
            <p:spPr bwMode="gray">
              <a:xfrm>
                <a:off x="2717" y="2050"/>
                <a:ext cx="197" cy="621"/>
              </a:xfrm>
              <a:custGeom>
                <a:avLst/>
                <a:gdLst>
                  <a:gd name="T0" fmla="*/ 92 w 192"/>
                  <a:gd name="T1" fmla="*/ 34 h 681"/>
                  <a:gd name="T2" fmla="*/ 66 w 192"/>
                  <a:gd name="T3" fmla="*/ 52 h 681"/>
                  <a:gd name="T4" fmla="*/ 48 w 192"/>
                  <a:gd name="T5" fmla="*/ 69 h 681"/>
                  <a:gd name="T6" fmla="*/ 35 w 192"/>
                  <a:gd name="T7" fmla="*/ 87 h 681"/>
                  <a:gd name="T8" fmla="*/ 13 w 192"/>
                  <a:gd name="T9" fmla="*/ 104 h 681"/>
                  <a:gd name="T10" fmla="*/ 9 w 192"/>
                  <a:gd name="T11" fmla="*/ 119 h 681"/>
                  <a:gd name="T12" fmla="*/ 4 w 192"/>
                  <a:gd name="T13" fmla="*/ 133 h 681"/>
                  <a:gd name="T14" fmla="*/ 0 w 192"/>
                  <a:gd name="T15" fmla="*/ 146 h 681"/>
                  <a:gd name="T16" fmla="*/ 0 w 192"/>
                  <a:gd name="T17" fmla="*/ 160 h 681"/>
                  <a:gd name="T18" fmla="*/ 0 w 192"/>
                  <a:gd name="T19" fmla="*/ 174 h 681"/>
                  <a:gd name="T20" fmla="*/ 0 w 192"/>
                  <a:gd name="T21" fmla="*/ 185 h 681"/>
                  <a:gd name="T22" fmla="*/ 0 w 192"/>
                  <a:gd name="T23" fmla="*/ 195 h 681"/>
                  <a:gd name="T24" fmla="*/ 0 w 192"/>
                  <a:gd name="T25" fmla="*/ 203 h 681"/>
                  <a:gd name="T26" fmla="*/ 0 w 192"/>
                  <a:gd name="T27" fmla="*/ 211 h 681"/>
                  <a:gd name="T28" fmla="*/ 4 w 192"/>
                  <a:gd name="T29" fmla="*/ 216 h 681"/>
                  <a:gd name="T30" fmla="*/ 13 w 192"/>
                  <a:gd name="T31" fmla="*/ 225 h 681"/>
                  <a:gd name="T32" fmla="*/ 18 w 192"/>
                  <a:gd name="T33" fmla="*/ 220 h 681"/>
                  <a:gd name="T34" fmla="*/ 35 w 192"/>
                  <a:gd name="T35" fmla="*/ 212 h 681"/>
                  <a:gd name="T36" fmla="*/ 35 w 192"/>
                  <a:gd name="T37" fmla="*/ 203 h 681"/>
                  <a:gd name="T38" fmla="*/ 35 w 192"/>
                  <a:gd name="T39" fmla="*/ 195 h 681"/>
                  <a:gd name="T40" fmla="*/ 39 w 192"/>
                  <a:gd name="T41" fmla="*/ 186 h 681"/>
                  <a:gd name="T42" fmla="*/ 39 w 192"/>
                  <a:gd name="T43" fmla="*/ 176 h 681"/>
                  <a:gd name="T44" fmla="*/ 48 w 192"/>
                  <a:gd name="T45" fmla="*/ 167 h 681"/>
                  <a:gd name="T46" fmla="*/ 48 w 192"/>
                  <a:gd name="T47" fmla="*/ 156 h 681"/>
                  <a:gd name="T48" fmla="*/ 53 w 192"/>
                  <a:gd name="T49" fmla="*/ 146 h 681"/>
                  <a:gd name="T50" fmla="*/ 57 w 192"/>
                  <a:gd name="T51" fmla="*/ 136 h 681"/>
                  <a:gd name="T52" fmla="*/ 66 w 192"/>
                  <a:gd name="T53" fmla="*/ 126 h 681"/>
                  <a:gd name="T54" fmla="*/ 83 w 192"/>
                  <a:gd name="T55" fmla="*/ 116 h 681"/>
                  <a:gd name="T56" fmla="*/ 88 w 192"/>
                  <a:gd name="T57" fmla="*/ 105 h 681"/>
                  <a:gd name="T58" fmla="*/ 92 w 192"/>
                  <a:gd name="T59" fmla="*/ 95 h 681"/>
                  <a:gd name="T60" fmla="*/ 103 w 192"/>
                  <a:gd name="T61" fmla="*/ 84 h 681"/>
                  <a:gd name="T62" fmla="*/ 111 w 192"/>
                  <a:gd name="T63" fmla="*/ 75 h 681"/>
                  <a:gd name="T64" fmla="*/ 118 w 192"/>
                  <a:gd name="T65" fmla="*/ 67 h 681"/>
                  <a:gd name="T66" fmla="*/ 124 w 192"/>
                  <a:gd name="T67" fmla="*/ 61 h 681"/>
                  <a:gd name="T68" fmla="*/ 132 w 192"/>
                  <a:gd name="T69" fmla="*/ 54 h 681"/>
                  <a:gd name="T70" fmla="*/ 136 w 192"/>
                  <a:gd name="T71" fmla="*/ 47 h 681"/>
                  <a:gd name="T72" fmla="*/ 148 w 192"/>
                  <a:gd name="T73" fmla="*/ 41 h 681"/>
                  <a:gd name="T74" fmla="*/ 160 w 192"/>
                  <a:gd name="T75" fmla="*/ 34 h 681"/>
                  <a:gd name="T76" fmla="*/ 193 w 192"/>
                  <a:gd name="T77" fmla="*/ 25 h 681"/>
                  <a:gd name="T78" fmla="*/ 222 w 192"/>
                  <a:gd name="T79" fmla="*/ 15 h 681"/>
                  <a:gd name="T80" fmla="*/ 248 w 192"/>
                  <a:gd name="T81" fmla="*/ 6 h 681"/>
                  <a:gd name="T82" fmla="*/ 261 w 192"/>
                  <a:gd name="T83" fmla="*/ 0 h 681"/>
                  <a:gd name="T84" fmla="*/ 222 w 192"/>
                  <a:gd name="T85" fmla="*/ 5 h 681"/>
                  <a:gd name="T86" fmla="*/ 143 w 192"/>
                  <a:gd name="T87" fmla="*/ 16 h 681"/>
                  <a:gd name="T88" fmla="*/ 111 w 192"/>
                  <a:gd name="T89" fmla="*/ 23 h 6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2"/>
                  <a:gd name="T136" fmla="*/ 0 h 681"/>
                  <a:gd name="T137" fmla="*/ 192 w 192"/>
                  <a:gd name="T138" fmla="*/ 681 h 6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2" h="681">
                    <a:moveTo>
                      <a:pt x="82" y="69"/>
                    </a:moveTo>
                    <a:lnTo>
                      <a:pt x="73" y="86"/>
                    </a:lnTo>
                    <a:lnTo>
                      <a:pt x="68" y="103"/>
                    </a:lnTo>
                    <a:lnTo>
                      <a:pt x="59" y="123"/>
                    </a:lnTo>
                    <a:lnTo>
                      <a:pt x="59" y="140"/>
                    </a:lnTo>
                    <a:lnTo>
                      <a:pt x="50" y="160"/>
                    </a:lnTo>
                    <a:lnTo>
                      <a:pt x="45" y="177"/>
                    </a:lnTo>
                    <a:lnTo>
                      <a:pt x="41" y="194"/>
                    </a:lnTo>
                    <a:lnTo>
                      <a:pt x="36" y="211"/>
                    </a:lnTo>
                    <a:lnTo>
                      <a:pt x="32" y="228"/>
                    </a:lnTo>
                    <a:lnTo>
                      <a:pt x="27" y="245"/>
                    </a:lnTo>
                    <a:lnTo>
                      <a:pt x="23" y="262"/>
                    </a:lnTo>
                    <a:lnTo>
                      <a:pt x="23" y="279"/>
                    </a:lnTo>
                    <a:lnTo>
                      <a:pt x="18" y="297"/>
                    </a:lnTo>
                    <a:lnTo>
                      <a:pt x="13" y="314"/>
                    </a:lnTo>
                    <a:lnTo>
                      <a:pt x="13" y="328"/>
                    </a:lnTo>
                    <a:lnTo>
                      <a:pt x="13" y="345"/>
                    </a:lnTo>
                    <a:lnTo>
                      <a:pt x="9" y="362"/>
                    </a:lnTo>
                    <a:lnTo>
                      <a:pt x="4" y="376"/>
                    </a:lnTo>
                    <a:lnTo>
                      <a:pt x="4" y="391"/>
                    </a:lnTo>
                    <a:lnTo>
                      <a:pt x="4" y="405"/>
                    </a:lnTo>
                    <a:lnTo>
                      <a:pt x="0" y="419"/>
                    </a:lnTo>
                    <a:lnTo>
                      <a:pt x="0" y="433"/>
                    </a:lnTo>
                    <a:lnTo>
                      <a:pt x="0" y="445"/>
                    </a:lnTo>
                    <a:lnTo>
                      <a:pt x="0" y="462"/>
                    </a:lnTo>
                    <a:lnTo>
                      <a:pt x="0" y="476"/>
                    </a:lnTo>
                    <a:lnTo>
                      <a:pt x="0" y="487"/>
                    </a:lnTo>
                    <a:lnTo>
                      <a:pt x="0" y="502"/>
                    </a:lnTo>
                    <a:lnTo>
                      <a:pt x="0" y="513"/>
                    </a:lnTo>
                    <a:lnTo>
                      <a:pt x="0" y="524"/>
                    </a:lnTo>
                    <a:lnTo>
                      <a:pt x="0" y="536"/>
                    </a:lnTo>
                    <a:lnTo>
                      <a:pt x="0" y="550"/>
                    </a:lnTo>
                    <a:lnTo>
                      <a:pt x="0" y="561"/>
                    </a:lnTo>
                    <a:lnTo>
                      <a:pt x="0" y="570"/>
                    </a:lnTo>
                    <a:lnTo>
                      <a:pt x="0" y="578"/>
                    </a:lnTo>
                    <a:lnTo>
                      <a:pt x="0" y="590"/>
                    </a:lnTo>
                    <a:lnTo>
                      <a:pt x="0" y="598"/>
                    </a:lnTo>
                    <a:lnTo>
                      <a:pt x="0" y="607"/>
                    </a:lnTo>
                    <a:lnTo>
                      <a:pt x="0" y="615"/>
                    </a:lnTo>
                    <a:lnTo>
                      <a:pt x="0" y="621"/>
                    </a:lnTo>
                    <a:lnTo>
                      <a:pt x="0" y="630"/>
                    </a:lnTo>
                    <a:lnTo>
                      <a:pt x="0" y="635"/>
                    </a:lnTo>
                    <a:lnTo>
                      <a:pt x="0" y="641"/>
                    </a:lnTo>
                    <a:lnTo>
                      <a:pt x="4" y="650"/>
                    </a:lnTo>
                    <a:lnTo>
                      <a:pt x="4" y="655"/>
                    </a:lnTo>
                    <a:lnTo>
                      <a:pt x="4" y="664"/>
                    </a:lnTo>
                    <a:lnTo>
                      <a:pt x="9" y="675"/>
                    </a:lnTo>
                    <a:lnTo>
                      <a:pt x="13" y="681"/>
                    </a:lnTo>
                    <a:lnTo>
                      <a:pt x="18" y="678"/>
                    </a:lnTo>
                    <a:lnTo>
                      <a:pt x="18" y="675"/>
                    </a:lnTo>
                    <a:lnTo>
                      <a:pt x="18" y="667"/>
                    </a:lnTo>
                    <a:lnTo>
                      <a:pt x="23" y="655"/>
                    </a:lnTo>
                    <a:lnTo>
                      <a:pt x="23" y="647"/>
                    </a:lnTo>
                    <a:lnTo>
                      <a:pt x="23" y="638"/>
                    </a:lnTo>
                    <a:lnTo>
                      <a:pt x="23" y="630"/>
                    </a:lnTo>
                    <a:lnTo>
                      <a:pt x="23" y="624"/>
                    </a:lnTo>
                    <a:lnTo>
                      <a:pt x="23" y="615"/>
                    </a:lnTo>
                    <a:lnTo>
                      <a:pt x="23" y="607"/>
                    </a:lnTo>
                    <a:lnTo>
                      <a:pt x="23" y="598"/>
                    </a:lnTo>
                    <a:lnTo>
                      <a:pt x="23" y="590"/>
                    </a:lnTo>
                    <a:lnTo>
                      <a:pt x="23" y="581"/>
                    </a:lnTo>
                    <a:lnTo>
                      <a:pt x="23" y="573"/>
                    </a:lnTo>
                    <a:lnTo>
                      <a:pt x="27" y="564"/>
                    </a:lnTo>
                    <a:lnTo>
                      <a:pt x="27" y="553"/>
                    </a:lnTo>
                    <a:lnTo>
                      <a:pt x="27" y="541"/>
                    </a:lnTo>
                    <a:lnTo>
                      <a:pt x="27" y="533"/>
                    </a:lnTo>
                    <a:lnTo>
                      <a:pt x="32" y="524"/>
                    </a:lnTo>
                    <a:lnTo>
                      <a:pt x="32" y="516"/>
                    </a:lnTo>
                    <a:lnTo>
                      <a:pt x="36" y="504"/>
                    </a:lnTo>
                    <a:lnTo>
                      <a:pt x="36" y="493"/>
                    </a:lnTo>
                    <a:lnTo>
                      <a:pt x="36" y="485"/>
                    </a:lnTo>
                    <a:lnTo>
                      <a:pt x="36" y="473"/>
                    </a:lnTo>
                    <a:lnTo>
                      <a:pt x="41" y="465"/>
                    </a:lnTo>
                    <a:lnTo>
                      <a:pt x="41" y="453"/>
                    </a:lnTo>
                    <a:lnTo>
                      <a:pt x="41" y="442"/>
                    </a:lnTo>
                    <a:lnTo>
                      <a:pt x="45" y="430"/>
                    </a:lnTo>
                    <a:lnTo>
                      <a:pt x="45" y="422"/>
                    </a:lnTo>
                    <a:lnTo>
                      <a:pt x="45" y="410"/>
                    </a:lnTo>
                    <a:lnTo>
                      <a:pt x="45" y="402"/>
                    </a:lnTo>
                    <a:lnTo>
                      <a:pt x="50" y="391"/>
                    </a:lnTo>
                    <a:lnTo>
                      <a:pt x="50" y="379"/>
                    </a:lnTo>
                    <a:lnTo>
                      <a:pt x="50" y="371"/>
                    </a:lnTo>
                    <a:lnTo>
                      <a:pt x="55" y="359"/>
                    </a:lnTo>
                    <a:lnTo>
                      <a:pt x="59" y="348"/>
                    </a:lnTo>
                    <a:lnTo>
                      <a:pt x="59" y="336"/>
                    </a:lnTo>
                    <a:lnTo>
                      <a:pt x="59" y="328"/>
                    </a:lnTo>
                    <a:lnTo>
                      <a:pt x="64" y="316"/>
                    </a:lnTo>
                    <a:lnTo>
                      <a:pt x="64" y="305"/>
                    </a:lnTo>
                    <a:lnTo>
                      <a:pt x="68" y="297"/>
                    </a:lnTo>
                    <a:lnTo>
                      <a:pt x="68" y="285"/>
                    </a:lnTo>
                    <a:lnTo>
                      <a:pt x="68" y="277"/>
                    </a:lnTo>
                    <a:lnTo>
                      <a:pt x="68" y="265"/>
                    </a:lnTo>
                    <a:lnTo>
                      <a:pt x="77" y="257"/>
                    </a:lnTo>
                    <a:lnTo>
                      <a:pt x="77" y="248"/>
                    </a:lnTo>
                    <a:lnTo>
                      <a:pt x="77" y="240"/>
                    </a:lnTo>
                    <a:lnTo>
                      <a:pt x="82" y="228"/>
                    </a:lnTo>
                    <a:lnTo>
                      <a:pt x="82" y="223"/>
                    </a:lnTo>
                    <a:lnTo>
                      <a:pt x="82" y="211"/>
                    </a:lnTo>
                    <a:lnTo>
                      <a:pt x="87" y="205"/>
                    </a:lnTo>
                    <a:lnTo>
                      <a:pt x="87" y="197"/>
                    </a:lnTo>
                    <a:lnTo>
                      <a:pt x="91" y="188"/>
                    </a:lnTo>
                    <a:lnTo>
                      <a:pt x="91" y="183"/>
                    </a:lnTo>
                    <a:lnTo>
                      <a:pt x="91" y="174"/>
                    </a:lnTo>
                    <a:lnTo>
                      <a:pt x="96" y="168"/>
                    </a:lnTo>
                    <a:lnTo>
                      <a:pt x="96" y="163"/>
                    </a:lnTo>
                    <a:lnTo>
                      <a:pt x="96" y="154"/>
                    </a:lnTo>
                    <a:lnTo>
                      <a:pt x="100" y="148"/>
                    </a:lnTo>
                    <a:lnTo>
                      <a:pt x="100" y="146"/>
                    </a:lnTo>
                    <a:lnTo>
                      <a:pt x="100" y="137"/>
                    </a:lnTo>
                    <a:lnTo>
                      <a:pt x="105" y="129"/>
                    </a:lnTo>
                    <a:lnTo>
                      <a:pt x="109" y="123"/>
                    </a:lnTo>
                    <a:lnTo>
                      <a:pt x="114" y="114"/>
                    </a:lnTo>
                    <a:lnTo>
                      <a:pt x="114" y="111"/>
                    </a:lnTo>
                    <a:lnTo>
                      <a:pt x="118" y="103"/>
                    </a:lnTo>
                    <a:lnTo>
                      <a:pt x="123" y="94"/>
                    </a:lnTo>
                    <a:lnTo>
                      <a:pt x="132" y="86"/>
                    </a:lnTo>
                    <a:lnTo>
                      <a:pt x="141" y="74"/>
                    </a:lnTo>
                    <a:lnTo>
                      <a:pt x="150" y="66"/>
                    </a:lnTo>
                    <a:lnTo>
                      <a:pt x="155" y="57"/>
                    </a:lnTo>
                    <a:lnTo>
                      <a:pt x="164" y="46"/>
                    </a:lnTo>
                    <a:lnTo>
                      <a:pt x="169" y="37"/>
                    </a:lnTo>
                    <a:lnTo>
                      <a:pt x="178" y="26"/>
                    </a:lnTo>
                    <a:lnTo>
                      <a:pt x="182" y="20"/>
                    </a:lnTo>
                    <a:lnTo>
                      <a:pt x="187" y="12"/>
                    </a:lnTo>
                    <a:lnTo>
                      <a:pt x="187" y="9"/>
                    </a:lnTo>
                    <a:lnTo>
                      <a:pt x="192" y="0"/>
                    </a:lnTo>
                    <a:lnTo>
                      <a:pt x="187" y="0"/>
                    </a:lnTo>
                    <a:lnTo>
                      <a:pt x="178" y="6"/>
                    </a:lnTo>
                    <a:lnTo>
                      <a:pt x="164" y="15"/>
                    </a:lnTo>
                    <a:lnTo>
                      <a:pt x="146" y="26"/>
                    </a:lnTo>
                    <a:lnTo>
                      <a:pt x="123" y="37"/>
                    </a:lnTo>
                    <a:lnTo>
                      <a:pt x="105" y="49"/>
                    </a:lnTo>
                    <a:lnTo>
                      <a:pt x="96" y="57"/>
                    </a:lnTo>
                    <a:lnTo>
                      <a:pt x="82" y="66"/>
                    </a:lnTo>
                    <a:lnTo>
                      <a:pt x="82" y="6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8" name="Freeform 31"/>
              <p:cNvSpPr>
                <a:spLocks/>
              </p:cNvSpPr>
              <p:nvPr>
                <p:custDataLst>
                  <p:tags r:id="rId160"/>
                </p:custDataLst>
              </p:nvPr>
            </p:nvSpPr>
            <p:spPr bwMode="gray">
              <a:xfrm>
                <a:off x="2656" y="2138"/>
                <a:ext cx="605" cy="46"/>
              </a:xfrm>
              <a:custGeom>
                <a:avLst/>
                <a:gdLst>
                  <a:gd name="T0" fmla="*/ 93 w 590"/>
                  <a:gd name="T1" fmla="*/ 5 h 51"/>
                  <a:gd name="T2" fmla="*/ 137 w 590"/>
                  <a:gd name="T3" fmla="*/ 5 h 51"/>
                  <a:gd name="T4" fmla="*/ 185 w 590"/>
                  <a:gd name="T5" fmla="*/ 5 h 51"/>
                  <a:gd name="T6" fmla="*/ 227 w 590"/>
                  <a:gd name="T7" fmla="*/ 3 h 51"/>
                  <a:gd name="T8" fmla="*/ 271 w 590"/>
                  <a:gd name="T9" fmla="*/ 0 h 51"/>
                  <a:gd name="T10" fmla="*/ 309 w 590"/>
                  <a:gd name="T11" fmla="*/ 0 h 51"/>
                  <a:gd name="T12" fmla="*/ 354 w 590"/>
                  <a:gd name="T13" fmla="*/ 0 h 51"/>
                  <a:gd name="T14" fmla="*/ 390 w 590"/>
                  <a:gd name="T15" fmla="*/ 0 h 51"/>
                  <a:gd name="T16" fmla="*/ 427 w 590"/>
                  <a:gd name="T17" fmla="*/ 3 h 51"/>
                  <a:gd name="T18" fmla="*/ 463 w 590"/>
                  <a:gd name="T19" fmla="*/ 3 h 51"/>
                  <a:gd name="T20" fmla="*/ 499 w 590"/>
                  <a:gd name="T21" fmla="*/ 5 h 51"/>
                  <a:gd name="T22" fmla="*/ 531 w 590"/>
                  <a:gd name="T23" fmla="*/ 5 h 51"/>
                  <a:gd name="T24" fmla="*/ 563 w 590"/>
                  <a:gd name="T25" fmla="*/ 5 h 51"/>
                  <a:gd name="T26" fmla="*/ 593 w 590"/>
                  <a:gd name="T27" fmla="*/ 5 h 51"/>
                  <a:gd name="T28" fmla="*/ 629 w 590"/>
                  <a:gd name="T29" fmla="*/ 5 h 51"/>
                  <a:gd name="T30" fmla="*/ 679 w 590"/>
                  <a:gd name="T31" fmla="*/ 8 h 51"/>
                  <a:gd name="T32" fmla="*/ 723 w 590"/>
                  <a:gd name="T33" fmla="*/ 9 h 51"/>
                  <a:gd name="T34" fmla="*/ 748 w 590"/>
                  <a:gd name="T35" fmla="*/ 11 h 51"/>
                  <a:gd name="T36" fmla="*/ 778 w 590"/>
                  <a:gd name="T37" fmla="*/ 13 h 51"/>
                  <a:gd name="T38" fmla="*/ 797 w 590"/>
                  <a:gd name="T39" fmla="*/ 14 h 51"/>
                  <a:gd name="T40" fmla="*/ 797 w 590"/>
                  <a:gd name="T41" fmla="*/ 14 h 51"/>
                  <a:gd name="T42" fmla="*/ 773 w 590"/>
                  <a:gd name="T43" fmla="*/ 14 h 51"/>
                  <a:gd name="T44" fmla="*/ 741 w 590"/>
                  <a:gd name="T45" fmla="*/ 13 h 51"/>
                  <a:gd name="T46" fmla="*/ 711 w 590"/>
                  <a:gd name="T47" fmla="*/ 12 h 51"/>
                  <a:gd name="T48" fmla="*/ 679 w 590"/>
                  <a:gd name="T49" fmla="*/ 11 h 51"/>
                  <a:gd name="T50" fmla="*/ 637 w 590"/>
                  <a:gd name="T51" fmla="*/ 11 h 51"/>
                  <a:gd name="T52" fmla="*/ 599 w 590"/>
                  <a:gd name="T53" fmla="*/ 10 h 51"/>
                  <a:gd name="T54" fmla="*/ 556 w 590"/>
                  <a:gd name="T55" fmla="*/ 10 h 51"/>
                  <a:gd name="T56" fmla="*/ 520 w 590"/>
                  <a:gd name="T57" fmla="*/ 9 h 51"/>
                  <a:gd name="T58" fmla="*/ 475 w 590"/>
                  <a:gd name="T59" fmla="*/ 8 h 51"/>
                  <a:gd name="T60" fmla="*/ 432 w 590"/>
                  <a:gd name="T61" fmla="*/ 8 h 51"/>
                  <a:gd name="T62" fmla="*/ 396 w 590"/>
                  <a:gd name="T63" fmla="*/ 8 h 51"/>
                  <a:gd name="T64" fmla="*/ 358 w 590"/>
                  <a:gd name="T65" fmla="*/ 8 h 51"/>
                  <a:gd name="T66" fmla="*/ 322 w 590"/>
                  <a:gd name="T67" fmla="*/ 8 h 51"/>
                  <a:gd name="T68" fmla="*/ 291 w 590"/>
                  <a:gd name="T69" fmla="*/ 8 h 51"/>
                  <a:gd name="T70" fmla="*/ 259 w 590"/>
                  <a:gd name="T71" fmla="*/ 8 h 51"/>
                  <a:gd name="T72" fmla="*/ 227 w 590"/>
                  <a:gd name="T73" fmla="*/ 9 h 51"/>
                  <a:gd name="T74" fmla="*/ 193 w 590"/>
                  <a:gd name="T75" fmla="*/ 10 h 51"/>
                  <a:gd name="T76" fmla="*/ 148 w 590"/>
                  <a:gd name="T77" fmla="*/ 11 h 51"/>
                  <a:gd name="T78" fmla="*/ 103 w 590"/>
                  <a:gd name="T79" fmla="*/ 11 h 51"/>
                  <a:gd name="T80" fmla="*/ 58 w 590"/>
                  <a:gd name="T81" fmla="*/ 12 h 51"/>
                  <a:gd name="T82" fmla="*/ 19 w 590"/>
                  <a:gd name="T83" fmla="*/ 13 h 51"/>
                  <a:gd name="T84" fmla="*/ 66 w 590"/>
                  <a:gd name="T85" fmla="*/ 5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0"/>
                  <a:gd name="T130" fmla="*/ 0 h 51"/>
                  <a:gd name="T131" fmla="*/ 590 w 590"/>
                  <a:gd name="T132" fmla="*/ 51 h 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0" h="51">
                    <a:moveTo>
                      <a:pt x="51" y="14"/>
                    </a:moveTo>
                    <a:lnTo>
                      <a:pt x="69" y="12"/>
                    </a:lnTo>
                    <a:lnTo>
                      <a:pt x="83" y="9"/>
                    </a:lnTo>
                    <a:lnTo>
                      <a:pt x="101" y="6"/>
                    </a:lnTo>
                    <a:lnTo>
                      <a:pt x="119" y="6"/>
                    </a:lnTo>
                    <a:lnTo>
                      <a:pt x="137" y="6"/>
                    </a:lnTo>
                    <a:lnTo>
                      <a:pt x="151" y="3"/>
                    </a:lnTo>
                    <a:lnTo>
                      <a:pt x="169" y="3"/>
                    </a:lnTo>
                    <a:lnTo>
                      <a:pt x="183" y="3"/>
                    </a:lnTo>
                    <a:lnTo>
                      <a:pt x="201" y="0"/>
                    </a:lnTo>
                    <a:lnTo>
                      <a:pt x="215" y="0"/>
                    </a:lnTo>
                    <a:lnTo>
                      <a:pt x="229" y="0"/>
                    </a:lnTo>
                    <a:lnTo>
                      <a:pt x="247" y="0"/>
                    </a:lnTo>
                    <a:lnTo>
                      <a:pt x="261" y="0"/>
                    </a:lnTo>
                    <a:lnTo>
                      <a:pt x="274" y="0"/>
                    </a:lnTo>
                    <a:lnTo>
                      <a:pt x="288" y="0"/>
                    </a:lnTo>
                    <a:lnTo>
                      <a:pt x="306" y="3"/>
                    </a:lnTo>
                    <a:lnTo>
                      <a:pt x="316" y="3"/>
                    </a:lnTo>
                    <a:lnTo>
                      <a:pt x="334" y="3"/>
                    </a:lnTo>
                    <a:lnTo>
                      <a:pt x="343" y="3"/>
                    </a:lnTo>
                    <a:lnTo>
                      <a:pt x="357" y="6"/>
                    </a:lnTo>
                    <a:lnTo>
                      <a:pt x="370" y="6"/>
                    </a:lnTo>
                    <a:lnTo>
                      <a:pt x="384" y="6"/>
                    </a:lnTo>
                    <a:lnTo>
                      <a:pt x="393" y="6"/>
                    </a:lnTo>
                    <a:lnTo>
                      <a:pt x="407" y="9"/>
                    </a:lnTo>
                    <a:lnTo>
                      <a:pt x="416" y="9"/>
                    </a:lnTo>
                    <a:lnTo>
                      <a:pt x="425" y="12"/>
                    </a:lnTo>
                    <a:lnTo>
                      <a:pt x="439" y="14"/>
                    </a:lnTo>
                    <a:lnTo>
                      <a:pt x="448" y="14"/>
                    </a:lnTo>
                    <a:lnTo>
                      <a:pt x="466" y="17"/>
                    </a:lnTo>
                    <a:lnTo>
                      <a:pt x="489" y="20"/>
                    </a:lnTo>
                    <a:lnTo>
                      <a:pt x="503" y="26"/>
                    </a:lnTo>
                    <a:lnTo>
                      <a:pt x="521" y="26"/>
                    </a:lnTo>
                    <a:lnTo>
                      <a:pt x="535" y="29"/>
                    </a:lnTo>
                    <a:lnTo>
                      <a:pt x="549" y="34"/>
                    </a:lnTo>
                    <a:lnTo>
                      <a:pt x="553" y="37"/>
                    </a:lnTo>
                    <a:lnTo>
                      <a:pt x="567" y="40"/>
                    </a:lnTo>
                    <a:lnTo>
                      <a:pt x="576" y="43"/>
                    </a:lnTo>
                    <a:lnTo>
                      <a:pt x="581" y="49"/>
                    </a:lnTo>
                    <a:lnTo>
                      <a:pt x="590" y="49"/>
                    </a:lnTo>
                    <a:lnTo>
                      <a:pt x="590" y="51"/>
                    </a:lnTo>
                    <a:lnTo>
                      <a:pt x="581" y="51"/>
                    </a:lnTo>
                    <a:lnTo>
                      <a:pt x="572" y="49"/>
                    </a:lnTo>
                    <a:lnTo>
                      <a:pt x="558" y="49"/>
                    </a:lnTo>
                    <a:lnTo>
                      <a:pt x="549" y="43"/>
                    </a:lnTo>
                    <a:lnTo>
                      <a:pt x="540" y="43"/>
                    </a:lnTo>
                    <a:lnTo>
                      <a:pt x="526" y="40"/>
                    </a:lnTo>
                    <a:lnTo>
                      <a:pt x="517" y="40"/>
                    </a:lnTo>
                    <a:lnTo>
                      <a:pt x="503" y="37"/>
                    </a:lnTo>
                    <a:lnTo>
                      <a:pt x="489" y="37"/>
                    </a:lnTo>
                    <a:lnTo>
                      <a:pt x="471" y="34"/>
                    </a:lnTo>
                    <a:lnTo>
                      <a:pt x="457" y="34"/>
                    </a:lnTo>
                    <a:lnTo>
                      <a:pt x="444" y="32"/>
                    </a:lnTo>
                    <a:lnTo>
                      <a:pt x="425" y="32"/>
                    </a:lnTo>
                    <a:lnTo>
                      <a:pt x="412" y="32"/>
                    </a:lnTo>
                    <a:lnTo>
                      <a:pt x="398" y="29"/>
                    </a:lnTo>
                    <a:lnTo>
                      <a:pt x="384" y="29"/>
                    </a:lnTo>
                    <a:lnTo>
                      <a:pt x="370" y="29"/>
                    </a:lnTo>
                    <a:lnTo>
                      <a:pt x="352" y="26"/>
                    </a:lnTo>
                    <a:lnTo>
                      <a:pt x="334" y="26"/>
                    </a:lnTo>
                    <a:lnTo>
                      <a:pt x="320" y="26"/>
                    </a:lnTo>
                    <a:lnTo>
                      <a:pt x="306" y="26"/>
                    </a:lnTo>
                    <a:lnTo>
                      <a:pt x="293" y="26"/>
                    </a:lnTo>
                    <a:lnTo>
                      <a:pt x="279" y="26"/>
                    </a:lnTo>
                    <a:lnTo>
                      <a:pt x="265" y="26"/>
                    </a:lnTo>
                    <a:lnTo>
                      <a:pt x="252" y="26"/>
                    </a:lnTo>
                    <a:lnTo>
                      <a:pt x="238" y="26"/>
                    </a:lnTo>
                    <a:lnTo>
                      <a:pt x="229" y="26"/>
                    </a:lnTo>
                    <a:lnTo>
                      <a:pt x="215" y="26"/>
                    </a:lnTo>
                    <a:lnTo>
                      <a:pt x="210" y="26"/>
                    </a:lnTo>
                    <a:lnTo>
                      <a:pt x="192" y="26"/>
                    </a:lnTo>
                    <a:lnTo>
                      <a:pt x="183" y="29"/>
                    </a:lnTo>
                    <a:lnTo>
                      <a:pt x="169" y="29"/>
                    </a:lnTo>
                    <a:lnTo>
                      <a:pt x="156" y="29"/>
                    </a:lnTo>
                    <a:lnTo>
                      <a:pt x="142" y="32"/>
                    </a:lnTo>
                    <a:lnTo>
                      <a:pt x="128" y="34"/>
                    </a:lnTo>
                    <a:lnTo>
                      <a:pt x="110" y="34"/>
                    </a:lnTo>
                    <a:lnTo>
                      <a:pt x="96" y="37"/>
                    </a:lnTo>
                    <a:lnTo>
                      <a:pt x="78" y="37"/>
                    </a:lnTo>
                    <a:lnTo>
                      <a:pt x="64" y="40"/>
                    </a:lnTo>
                    <a:lnTo>
                      <a:pt x="46" y="40"/>
                    </a:lnTo>
                    <a:lnTo>
                      <a:pt x="32" y="40"/>
                    </a:lnTo>
                    <a:lnTo>
                      <a:pt x="19" y="43"/>
                    </a:lnTo>
                    <a:lnTo>
                      <a:pt x="0" y="46"/>
                    </a:lnTo>
                    <a:lnTo>
                      <a:pt x="51"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39" name="Freeform 32"/>
              <p:cNvSpPr>
                <a:spLocks/>
              </p:cNvSpPr>
              <p:nvPr>
                <p:custDataLst>
                  <p:tags r:id="rId161"/>
                </p:custDataLst>
              </p:nvPr>
            </p:nvSpPr>
            <p:spPr bwMode="gray">
              <a:xfrm>
                <a:off x="2632" y="2239"/>
                <a:ext cx="643" cy="58"/>
              </a:xfrm>
              <a:custGeom>
                <a:avLst/>
                <a:gdLst>
                  <a:gd name="T0" fmla="*/ 67 w 627"/>
                  <a:gd name="T1" fmla="*/ 13 h 63"/>
                  <a:gd name="T2" fmla="*/ 98 w 627"/>
                  <a:gd name="T3" fmla="*/ 10 h 63"/>
                  <a:gd name="T4" fmla="*/ 137 w 627"/>
                  <a:gd name="T5" fmla="*/ 7 h 63"/>
                  <a:gd name="T6" fmla="*/ 172 w 627"/>
                  <a:gd name="T7" fmla="*/ 6 h 63"/>
                  <a:gd name="T8" fmla="*/ 210 w 627"/>
                  <a:gd name="T9" fmla="*/ 6 h 63"/>
                  <a:gd name="T10" fmla="*/ 248 w 627"/>
                  <a:gd name="T11" fmla="*/ 6 h 63"/>
                  <a:gd name="T12" fmla="*/ 291 w 627"/>
                  <a:gd name="T13" fmla="*/ 6 h 63"/>
                  <a:gd name="T14" fmla="*/ 329 w 627"/>
                  <a:gd name="T15" fmla="*/ 3 h 63"/>
                  <a:gd name="T16" fmla="*/ 365 w 627"/>
                  <a:gd name="T17" fmla="*/ 0 h 63"/>
                  <a:gd name="T18" fmla="*/ 409 w 627"/>
                  <a:gd name="T19" fmla="*/ 0 h 63"/>
                  <a:gd name="T20" fmla="*/ 446 w 627"/>
                  <a:gd name="T21" fmla="*/ 0 h 63"/>
                  <a:gd name="T22" fmla="*/ 483 w 627"/>
                  <a:gd name="T23" fmla="*/ 0 h 63"/>
                  <a:gd name="T24" fmla="*/ 520 w 627"/>
                  <a:gd name="T25" fmla="*/ 0 h 63"/>
                  <a:gd name="T26" fmla="*/ 550 w 627"/>
                  <a:gd name="T27" fmla="*/ 0 h 63"/>
                  <a:gd name="T28" fmla="*/ 581 w 627"/>
                  <a:gd name="T29" fmla="*/ 0 h 63"/>
                  <a:gd name="T30" fmla="*/ 625 w 627"/>
                  <a:gd name="T31" fmla="*/ 0 h 63"/>
                  <a:gd name="T32" fmla="*/ 650 w 627"/>
                  <a:gd name="T33" fmla="*/ 3 h 63"/>
                  <a:gd name="T34" fmla="*/ 681 w 627"/>
                  <a:gd name="T35" fmla="*/ 3 h 63"/>
                  <a:gd name="T36" fmla="*/ 724 w 627"/>
                  <a:gd name="T37" fmla="*/ 6 h 63"/>
                  <a:gd name="T38" fmla="*/ 767 w 627"/>
                  <a:gd name="T39" fmla="*/ 6 h 63"/>
                  <a:gd name="T40" fmla="*/ 806 w 627"/>
                  <a:gd name="T41" fmla="*/ 6 h 63"/>
                  <a:gd name="T42" fmla="*/ 835 w 627"/>
                  <a:gd name="T43" fmla="*/ 6 h 63"/>
                  <a:gd name="T44" fmla="*/ 841 w 627"/>
                  <a:gd name="T45" fmla="*/ 7 h 63"/>
                  <a:gd name="T46" fmla="*/ 830 w 627"/>
                  <a:gd name="T47" fmla="*/ 7 h 63"/>
                  <a:gd name="T48" fmla="*/ 798 w 627"/>
                  <a:gd name="T49" fmla="*/ 7 h 63"/>
                  <a:gd name="T50" fmla="*/ 767 w 627"/>
                  <a:gd name="T51" fmla="*/ 7 h 63"/>
                  <a:gd name="T52" fmla="*/ 724 w 627"/>
                  <a:gd name="T53" fmla="*/ 6 h 63"/>
                  <a:gd name="T54" fmla="*/ 675 w 627"/>
                  <a:gd name="T55" fmla="*/ 6 h 63"/>
                  <a:gd name="T56" fmla="*/ 633 w 627"/>
                  <a:gd name="T57" fmla="*/ 6 h 63"/>
                  <a:gd name="T58" fmla="*/ 581 w 627"/>
                  <a:gd name="T59" fmla="*/ 6 h 63"/>
                  <a:gd name="T60" fmla="*/ 532 w 627"/>
                  <a:gd name="T61" fmla="*/ 6 h 63"/>
                  <a:gd name="T62" fmla="*/ 495 w 627"/>
                  <a:gd name="T63" fmla="*/ 7 h 63"/>
                  <a:gd name="T64" fmla="*/ 464 w 627"/>
                  <a:gd name="T65" fmla="*/ 7 h 63"/>
                  <a:gd name="T66" fmla="*/ 432 w 627"/>
                  <a:gd name="T67" fmla="*/ 8 h 63"/>
                  <a:gd name="T68" fmla="*/ 396 w 627"/>
                  <a:gd name="T69" fmla="*/ 10 h 63"/>
                  <a:gd name="T70" fmla="*/ 365 w 627"/>
                  <a:gd name="T71" fmla="*/ 11 h 63"/>
                  <a:gd name="T72" fmla="*/ 322 w 627"/>
                  <a:gd name="T73" fmla="*/ 12 h 63"/>
                  <a:gd name="T74" fmla="*/ 286 w 627"/>
                  <a:gd name="T75" fmla="*/ 13 h 63"/>
                  <a:gd name="T76" fmla="*/ 248 w 627"/>
                  <a:gd name="T77" fmla="*/ 13 h 63"/>
                  <a:gd name="T78" fmla="*/ 215 w 627"/>
                  <a:gd name="T79" fmla="*/ 15 h 63"/>
                  <a:gd name="T80" fmla="*/ 179 w 627"/>
                  <a:gd name="T81" fmla="*/ 16 h 63"/>
                  <a:gd name="T82" fmla="*/ 148 w 627"/>
                  <a:gd name="T83" fmla="*/ 16 h 63"/>
                  <a:gd name="T84" fmla="*/ 125 w 627"/>
                  <a:gd name="T85" fmla="*/ 17 h 63"/>
                  <a:gd name="T86" fmla="*/ 88 w 627"/>
                  <a:gd name="T87" fmla="*/ 20 h 63"/>
                  <a:gd name="T88" fmla="*/ 40 w 627"/>
                  <a:gd name="T89" fmla="*/ 21 h 63"/>
                  <a:gd name="T90" fmla="*/ 49 w 627"/>
                  <a:gd name="T91" fmla="*/ 14 h 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7"/>
                  <a:gd name="T139" fmla="*/ 0 h 63"/>
                  <a:gd name="T140" fmla="*/ 627 w 627"/>
                  <a:gd name="T141" fmla="*/ 63 h 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7" h="63">
                    <a:moveTo>
                      <a:pt x="37" y="37"/>
                    </a:moveTo>
                    <a:lnTo>
                      <a:pt x="51" y="34"/>
                    </a:lnTo>
                    <a:lnTo>
                      <a:pt x="64" y="29"/>
                    </a:lnTo>
                    <a:lnTo>
                      <a:pt x="74" y="26"/>
                    </a:lnTo>
                    <a:lnTo>
                      <a:pt x="87" y="23"/>
                    </a:lnTo>
                    <a:lnTo>
                      <a:pt x="101" y="20"/>
                    </a:lnTo>
                    <a:lnTo>
                      <a:pt x="115" y="17"/>
                    </a:lnTo>
                    <a:lnTo>
                      <a:pt x="128" y="15"/>
                    </a:lnTo>
                    <a:lnTo>
                      <a:pt x="142" y="15"/>
                    </a:lnTo>
                    <a:lnTo>
                      <a:pt x="156" y="12"/>
                    </a:lnTo>
                    <a:lnTo>
                      <a:pt x="170" y="9"/>
                    </a:lnTo>
                    <a:lnTo>
                      <a:pt x="183" y="6"/>
                    </a:lnTo>
                    <a:lnTo>
                      <a:pt x="197" y="6"/>
                    </a:lnTo>
                    <a:lnTo>
                      <a:pt x="215" y="6"/>
                    </a:lnTo>
                    <a:lnTo>
                      <a:pt x="229" y="3"/>
                    </a:lnTo>
                    <a:lnTo>
                      <a:pt x="243" y="3"/>
                    </a:lnTo>
                    <a:lnTo>
                      <a:pt x="261" y="3"/>
                    </a:lnTo>
                    <a:lnTo>
                      <a:pt x="270" y="0"/>
                    </a:lnTo>
                    <a:lnTo>
                      <a:pt x="288" y="0"/>
                    </a:lnTo>
                    <a:lnTo>
                      <a:pt x="302" y="0"/>
                    </a:lnTo>
                    <a:lnTo>
                      <a:pt x="316" y="0"/>
                    </a:lnTo>
                    <a:lnTo>
                      <a:pt x="329" y="0"/>
                    </a:lnTo>
                    <a:lnTo>
                      <a:pt x="339" y="0"/>
                    </a:lnTo>
                    <a:lnTo>
                      <a:pt x="357" y="0"/>
                    </a:lnTo>
                    <a:lnTo>
                      <a:pt x="375" y="0"/>
                    </a:lnTo>
                    <a:lnTo>
                      <a:pt x="384" y="0"/>
                    </a:lnTo>
                    <a:lnTo>
                      <a:pt x="393" y="0"/>
                    </a:lnTo>
                    <a:lnTo>
                      <a:pt x="407" y="0"/>
                    </a:lnTo>
                    <a:lnTo>
                      <a:pt x="421" y="0"/>
                    </a:lnTo>
                    <a:lnTo>
                      <a:pt x="430" y="0"/>
                    </a:lnTo>
                    <a:lnTo>
                      <a:pt x="444" y="0"/>
                    </a:lnTo>
                    <a:lnTo>
                      <a:pt x="462" y="0"/>
                    </a:lnTo>
                    <a:lnTo>
                      <a:pt x="471" y="3"/>
                    </a:lnTo>
                    <a:lnTo>
                      <a:pt x="480" y="3"/>
                    </a:lnTo>
                    <a:lnTo>
                      <a:pt x="494" y="3"/>
                    </a:lnTo>
                    <a:lnTo>
                      <a:pt x="503" y="3"/>
                    </a:lnTo>
                    <a:lnTo>
                      <a:pt x="517" y="6"/>
                    </a:lnTo>
                    <a:lnTo>
                      <a:pt x="535" y="6"/>
                    </a:lnTo>
                    <a:lnTo>
                      <a:pt x="553" y="9"/>
                    </a:lnTo>
                    <a:lnTo>
                      <a:pt x="567" y="9"/>
                    </a:lnTo>
                    <a:lnTo>
                      <a:pt x="581" y="12"/>
                    </a:lnTo>
                    <a:lnTo>
                      <a:pt x="595" y="15"/>
                    </a:lnTo>
                    <a:lnTo>
                      <a:pt x="604" y="15"/>
                    </a:lnTo>
                    <a:lnTo>
                      <a:pt x="617" y="17"/>
                    </a:lnTo>
                    <a:lnTo>
                      <a:pt x="627" y="20"/>
                    </a:lnTo>
                    <a:lnTo>
                      <a:pt x="622" y="20"/>
                    </a:lnTo>
                    <a:lnTo>
                      <a:pt x="617" y="20"/>
                    </a:lnTo>
                    <a:lnTo>
                      <a:pt x="613" y="20"/>
                    </a:lnTo>
                    <a:lnTo>
                      <a:pt x="604" y="23"/>
                    </a:lnTo>
                    <a:lnTo>
                      <a:pt x="590" y="20"/>
                    </a:lnTo>
                    <a:lnTo>
                      <a:pt x="576" y="20"/>
                    </a:lnTo>
                    <a:lnTo>
                      <a:pt x="567" y="20"/>
                    </a:lnTo>
                    <a:lnTo>
                      <a:pt x="558" y="20"/>
                    </a:lnTo>
                    <a:lnTo>
                      <a:pt x="535" y="17"/>
                    </a:lnTo>
                    <a:lnTo>
                      <a:pt x="517" y="17"/>
                    </a:lnTo>
                    <a:lnTo>
                      <a:pt x="499" y="17"/>
                    </a:lnTo>
                    <a:lnTo>
                      <a:pt x="485" y="17"/>
                    </a:lnTo>
                    <a:lnTo>
                      <a:pt x="467" y="17"/>
                    </a:lnTo>
                    <a:lnTo>
                      <a:pt x="448" y="17"/>
                    </a:lnTo>
                    <a:lnTo>
                      <a:pt x="430" y="17"/>
                    </a:lnTo>
                    <a:lnTo>
                      <a:pt x="416" y="17"/>
                    </a:lnTo>
                    <a:lnTo>
                      <a:pt x="393" y="17"/>
                    </a:lnTo>
                    <a:lnTo>
                      <a:pt x="375" y="20"/>
                    </a:lnTo>
                    <a:lnTo>
                      <a:pt x="366" y="20"/>
                    </a:lnTo>
                    <a:lnTo>
                      <a:pt x="357" y="20"/>
                    </a:lnTo>
                    <a:lnTo>
                      <a:pt x="343" y="20"/>
                    </a:lnTo>
                    <a:lnTo>
                      <a:pt x="334" y="23"/>
                    </a:lnTo>
                    <a:lnTo>
                      <a:pt x="320" y="23"/>
                    </a:lnTo>
                    <a:lnTo>
                      <a:pt x="307" y="26"/>
                    </a:lnTo>
                    <a:lnTo>
                      <a:pt x="293" y="26"/>
                    </a:lnTo>
                    <a:lnTo>
                      <a:pt x="284" y="29"/>
                    </a:lnTo>
                    <a:lnTo>
                      <a:pt x="270" y="29"/>
                    </a:lnTo>
                    <a:lnTo>
                      <a:pt x="252" y="29"/>
                    </a:lnTo>
                    <a:lnTo>
                      <a:pt x="238" y="32"/>
                    </a:lnTo>
                    <a:lnTo>
                      <a:pt x="224" y="34"/>
                    </a:lnTo>
                    <a:lnTo>
                      <a:pt x="211" y="34"/>
                    </a:lnTo>
                    <a:lnTo>
                      <a:pt x="197" y="34"/>
                    </a:lnTo>
                    <a:lnTo>
                      <a:pt x="183" y="34"/>
                    </a:lnTo>
                    <a:lnTo>
                      <a:pt x="174" y="37"/>
                    </a:lnTo>
                    <a:lnTo>
                      <a:pt x="160" y="40"/>
                    </a:lnTo>
                    <a:lnTo>
                      <a:pt x="147" y="40"/>
                    </a:lnTo>
                    <a:lnTo>
                      <a:pt x="133" y="43"/>
                    </a:lnTo>
                    <a:lnTo>
                      <a:pt x="124" y="43"/>
                    </a:lnTo>
                    <a:lnTo>
                      <a:pt x="110" y="43"/>
                    </a:lnTo>
                    <a:lnTo>
                      <a:pt x="101" y="49"/>
                    </a:lnTo>
                    <a:lnTo>
                      <a:pt x="92" y="49"/>
                    </a:lnTo>
                    <a:lnTo>
                      <a:pt x="83" y="52"/>
                    </a:lnTo>
                    <a:lnTo>
                      <a:pt x="64" y="54"/>
                    </a:lnTo>
                    <a:lnTo>
                      <a:pt x="46" y="54"/>
                    </a:lnTo>
                    <a:lnTo>
                      <a:pt x="28" y="57"/>
                    </a:lnTo>
                    <a:lnTo>
                      <a:pt x="0" y="63"/>
                    </a:lnTo>
                    <a:lnTo>
                      <a:pt x="37"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0" name="Freeform 33"/>
              <p:cNvSpPr>
                <a:spLocks/>
              </p:cNvSpPr>
              <p:nvPr>
                <p:custDataLst>
                  <p:tags r:id="rId162"/>
                </p:custDataLst>
              </p:nvPr>
            </p:nvSpPr>
            <p:spPr bwMode="gray">
              <a:xfrm>
                <a:off x="2628" y="2323"/>
                <a:ext cx="614" cy="45"/>
              </a:xfrm>
              <a:custGeom>
                <a:avLst/>
                <a:gdLst>
                  <a:gd name="T0" fmla="*/ 141 w 599"/>
                  <a:gd name="T1" fmla="*/ 6 h 49"/>
                  <a:gd name="T2" fmla="*/ 172 w 599"/>
                  <a:gd name="T3" fmla="*/ 6 h 49"/>
                  <a:gd name="T4" fmla="*/ 208 w 599"/>
                  <a:gd name="T5" fmla="*/ 3 h 49"/>
                  <a:gd name="T6" fmla="*/ 240 w 599"/>
                  <a:gd name="T7" fmla="*/ 0 h 49"/>
                  <a:gd name="T8" fmla="*/ 270 w 599"/>
                  <a:gd name="T9" fmla="*/ 0 h 49"/>
                  <a:gd name="T10" fmla="*/ 306 w 599"/>
                  <a:gd name="T11" fmla="*/ 0 h 49"/>
                  <a:gd name="T12" fmla="*/ 344 w 599"/>
                  <a:gd name="T13" fmla="*/ 0 h 49"/>
                  <a:gd name="T14" fmla="*/ 369 w 599"/>
                  <a:gd name="T15" fmla="*/ 0 h 49"/>
                  <a:gd name="T16" fmla="*/ 406 w 599"/>
                  <a:gd name="T17" fmla="*/ 0 h 49"/>
                  <a:gd name="T18" fmla="*/ 436 w 599"/>
                  <a:gd name="T19" fmla="*/ 0 h 49"/>
                  <a:gd name="T20" fmla="*/ 467 w 599"/>
                  <a:gd name="T21" fmla="*/ 3 h 49"/>
                  <a:gd name="T22" fmla="*/ 497 w 599"/>
                  <a:gd name="T23" fmla="*/ 6 h 49"/>
                  <a:gd name="T24" fmla="*/ 534 w 599"/>
                  <a:gd name="T25" fmla="*/ 6 h 49"/>
                  <a:gd name="T26" fmla="*/ 559 w 599"/>
                  <a:gd name="T27" fmla="*/ 6 h 49"/>
                  <a:gd name="T28" fmla="*/ 584 w 599"/>
                  <a:gd name="T29" fmla="*/ 6 h 49"/>
                  <a:gd name="T30" fmla="*/ 607 w 599"/>
                  <a:gd name="T31" fmla="*/ 6 h 49"/>
                  <a:gd name="T32" fmla="*/ 651 w 599"/>
                  <a:gd name="T33" fmla="*/ 7 h 49"/>
                  <a:gd name="T34" fmla="*/ 695 w 599"/>
                  <a:gd name="T35" fmla="*/ 10 h 49"/>
                  <a:gd name="T36" fmla="*/ 732 w 599"/>
                  <a:gd name="T37" fmla="*/ 12 h 49"/>
                  <a:gd name="T38" fmla="*/ 763 w 599"/>
                  <a:gd name="T39" fmla="*/ 14 h 49"/>
                  <a:gd name="T40" fmla="*/ 793 w 599"/>
                  <a:gd name="T41" fmla="*/ 16 h 49"/>
                  <a:gd name="T42" fmla="*/ 806 w 599"/>
                  <a:gd name="T43" fmla="*/ 17 h 49"/>
                  <a:gd name="T44" fmla="*/ 781 w 599"/>
                  <a:gd name="T45" fmla="*/ 17 h 49"/>
                  <a:gd name="T46" fmla="*/ 732 w 599"/>
                  <a:gd name="T47" fmla="*/ 15 h 49"/>
                  <a:gd name="T48" fmla="*/ 682 w 599"/>
                  <a:gd name="T49" fmla="*/ 14 h 49"/>
                  <a:gd name="T50" fmla="*/ 628 w 599"/>
                  <a:gd name="T51" fmla="*/ 13 h 49"/>
                  <a:gd name="T52" fmla="*/ 584 w 599"/>
                  <a:gd name="T53" fmla="*/ 12 h 49"/>
                  <a:gd name="T54" fmla="*/ 559 w 599"/>
                  <a:gd name="T55" fmla="*/ 11 h 49"/>
                  <a:gd name="T56" fmla="*/ 529 w 599"/>
                  <a:gd name="T57" fmla="*/ 11 h 49"/>
                  <a:gd name="T58" fmla="*/ 497 w 599"/>
                  <a:gd name="T59" fmla="*/ 11 h 49"/>
                  <a:gd name="T60" fmla="*/ 461 w 599"/>
                  <a:gd name="T61" fmla="*/ 11 h 49"/>
                  <a:gd name="T62" fmla="*/ 436 w 599"/>
                  <a:gd name="T63" fmla="*/ 11 h 49"/>
                  <a:gd name="T64" fmla="*/ 400 w 599"/>
                  <a:gd name="T65" fmla="*/ 11 h 49"/>
                  <a:gd name="T66" fmla="*/ 369 w 599"/>
                  <a:gd name="T67" fmla="*/ 11 h 49"/>
                  <a:gd name="T68" fmla="*/ 344 w 599"/>
                  <a:gd name="T69" fmla="*/ 11 h 49"/>
                  <a:gd name="T70" fmla="*/ 306 w 599"/>
                  <a:gd name="T71" fmla="*/ 11 h 49"/>
                  <a:gd name="T72" fmla="*/ 270 w 599"/>
                  <a:gd name="T73" fmla="*/ 11 h 49"/>
                  <a:gd name="T74" fmla="*/ 240 w 599"/>
                  <a:gd name="T75" fmla="*/ 11 h 49"/>
                  <a:gd name="T76" fmla="*/ 208 w 599"/>
                  <a:gd name="T77" fmla="*/ 11 h 49"/>
                  <a:gd name="T78" fmla="*/ 172 w 599"/>
                  <a:gd name="T79" fmla="*/ 11 h 49"/>
                  <a:gd name="T80" fmla="*/ 141 w 599"/>
                  <a:gd name="T81" fmla="*/ 12 h 49"/>
                  <a:gd name="T82" fmla="*/ 116 w 599"/>
                  <a:gd name="T83" fmla="*/ 12 h 49"/>
                  <a:gd name="T84" fmla="*/ 88 w 599"/>
                  <a:gd name="T85" fmla="*/ 13 h 49"/>
                  <a:gd name="T86" fmla="*/ 53 w 599"/>
                  <a:gd name="T87" fmla="*/ 13 h 49"/>
                  <a:gd name="T88" fmla="*/ 18 w 599"/>
                  <a:gd name="T89" fmla="*/ 13 h 49"/>
                  <a:gd name="T90" fmla="*/ 0 w 599"/>
                  <a:gd name="T91" fmla="*/ 12 h 49"/>
                  <a:gd name="T92" fmla="*/ 35 w 599"/>
                  <a:gd name="T93" fmla="*/ 8 h 49"/>
                  <a:gd name="T94" fmla="*/ 74 w 599"/>
                  <a:gd name="T95" fmla="*/ 6 h 49"/>
                  <a:gd name="T96" fmla="*/ 103 w 599"/>
                  <a:gd name="T97" fmla="*/ 6 h 49"/>
                  <a:gd name="T98" fmla="*/ 116 w 599"/>
                  <a:gd name="T99" fmla="*/ 6 h 49"/>
                  <a:gd name="T100" fmla="*/ 122 w 599"/>
                  <a:gd name="T101" fmla="*/ 6 h 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9"/>
                  <a:gd name="T154" fmla="*/ 0 h 49"/>
                  <a:gd name="T155" fmla="*/ 599 w 599"/>
                  <a:gd name="T156" fmla="*/ 49 h 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9" h="49">
                    <a:moveTo>
                      <a:pt x="91" y="12"/>
                    </a:moveTo>
                    <a:lnTo>
                      <a:pt x="105" y="9"/>
                    </a:lnTo>
                    <a:lnTo>
                      <a:pt x="114" y="6"/>
                    </a:lnTo>
                    <a:lnTo>
                      <a:pt x="128" y="6"/>
                    </a:lnTo>
                    <a:lnTo>
                      <a:pt x="142" y="3"/>
                    </a:lnTo>
                    <a:lnTo>
                      <a:pt x="155" y="3"/>
                    </a:lnTo>
                    <a:lnTo>
                      <a:pt x="169" y="0"/>
                    </a:lnTo>
                    <a:lnTo>
                      <a:pt x="178" y="0"/>
                    </a:lnTo>
                    <a:lnTo>
                      <a:pt x="192" y="0"/>
                    </a:lnTo>
                    <a:lnTo>
                      <a:pt x="201" y="0"/>
                    </a:lnTo>
                    <a:lnTo>
                      <a:pt x="219" y="0"/>
                    </a:lnTo>
                    <a:lnTo>
                      <a:pt x="228" y="0"/>
                    </a:lnTo>
                    <a:lnTo>
                      <a:pt x="242" y="0"/>
                    </a:lnTo>
                    <a:lnTo>
                      <a:pt x="256" y="0"/>
                    </a:lnTo>
                    <a:lnTo>
                      <a:pt x="265" y="0"/>
                    </a:lnTo>
                    <a:lnTo>
                      <a:pt x="274" y="0"/>
                    </a:lnTo>
                    <a:lnTo>
                      <a:pt x="292" y="0"/>
                    </a:lnTo>
                    <a:lnTo>
                      <a:pt x="301" y="0"/>
                    </a:lnTo>
                    <a:lnTo>
                      <a:pt x="311" y="0"/>
                    </a:lnTo>
                    <a:lnTo>
                      <a:pt x="324" y="0"/>
                    </a:lnTo>
                    <a:lnTo>
                      <a:pt x="338" y="3"/>
                    </a:lnTo>
                    <a:lnTo>
                      <a:pt x="347" y="3"/>
                    </a:lnTo>
                    <a:lnTo>
                      <a:pt x="361" y="3"/>
                    </a:lnTo>
                    <a:lnTo>
                      <a:pt x="370" y="6"/>
                    </a:lnTo>
                    <a:lnTo>
                      <a:pt x="384" y="6"/>
                    </a:lnTo>
                    <a:lnTo>
                      <a:pt x="397" y="6"/>
                    </a:lnTo>
                    <a:lnTo>
                      <a:pt x="407" y="9"/>
                    </a:lnTo>
                    <a:lnTo>
                      <a:pt x="416" y="9"/>
                    </a:lnTo>
                    <a:lnTo>
                      <a:pt x="425" y="12"/>
                    </a:lnTo>
                    <a:lnTo>
                      <a:pt x="434" y="12"/>
                    </a:lnTo>
                    <a:lnTo>
                      <a:pt x="448" y="15"/>
                    </a:lnTo>
                    <a:lnTo>
                      <a:pt x="452" y="15"/>
                    </a:lnTo>
                    <a:lnTo>
                      <a:pt x="466" y="17"/>
                    </a:lnTo>
                    <a:lnTo>
                      <a:pt x="484" y="20"/>
                    </a:lnTo>
                    <a:lnTo>
                      <a:pt x="498" y="23"/>
                    </a:lnTo>
                    <a:lnTo>
                      <a:pt x="516" y="26"/>
                    </a:lnTo>
                    <a:lnTo>
                      <a:pt x="535" y="29"/>
                    </a:lnTo>
                    <a:lnTo>
                      <a:pt x="544" y="32"/>
                    </a:lnTo>
                    <a:lnTo>
                      <a:pt x="557" y="35"/>
                    </a:lnTo>
                    <a:lnTo>
                      <a:pt x="567" y="37"/>
                    </a:lnTo>
                    <a:lnTo>
                      <a:pt x="580" y="40"/>
                    </a:lnTo>
                    <a:lnTo>
                      <a:pt x="589" y="43"/>
                    </a:lnTo>
                    <a:lnTo>
                      <a:pt x="599" y="49"/>
                    </a:lnTo>
                    <a:lnTo>
                      <a:pt x="589" y="49"/>
                    </a:lnTo>
                    <a:lnTo>
                      <a:pt x="580" y="46"/>
                    </a:lnTo>
                    <a:lnTo>
                      <a:pt x="562" y="43"/>
                    </a:lnTo>
                    <a:lnTo>
                      <a:pt x="544" y="40"/>
                    </a:lnTo>
                    <a:lnTo>
                      <a:pt x="530" y="37"/>
                    </a:lnTo>
                    <a:lnTo>
                      <a:pt x="507" y="37"/>
                    </a:lnTo>
                    <a:lnTo>
                      <a:pt x="489" y="35"/>
                    </a:lnTo>
                    <a:lnTo>
                      <a:pt x="466" y="35"/>
                    </a:lnTo>
                    <a:lnTo>
                      <a:pt x="448" y="35"/>
                    </a:lnTo>
                    <a:lnTo>
                      <a:pt x="434" y="32"/>
                    </a:lnTo>
                    <a:lnTo>
                      <a:pt x="425" y="32"/>
                    </a:lnTo>
                    <a:lnTo>
                      <a:pt x="416" y="29"/>
                    </a:lnTo>
                    <a:lnTo>
                      <a:pt x="402" y="29"/>
                    </a:lnTo>
                    <a:lnTo>
                      <a:pt x="393" y="29"/>
                    </a:lnTo>
                    <a:lnTo>
                      <a:pt x="379" y="29"/>
                    </a:lnTo>
                    <a:lnTo>
                      <a:pt x="370" y="29"/>
                    </a:lnTo>
                    <a:lnTo>
                      <a:pt x="361" y="29"/>
                    </a:lnTo>
                    <a:lnTo>
                      <a:pt x="343" y="29"/>
                    </a:lnTo>
                    <a:lnTo>
                      <a:pt x="333" y="29"/>
                    </a:lnTo>
                    <a:lnTo>
                      <a:pt x="324" y="29"/>
                    </a:lnTo>
                    <a:lnTo>
                      <a:pt x="311" y="29"/>
                    </a:lnTo>
                    <a:lnTo>
                      <a:pt x="297" y="29"/>
                    </a:lnTo>
                    <a:lnTo>
                      <a:pt x="288" y="29"/>
                    </a:lnTo>
                    <a:lnTo>
                      <a:pt x="274" y="29"/>
                    </a:lnTo>
                    <a:lnTo>
                      <a:pt x="265" y="29"/>
                    </a:lnTo>
                    <a:lnTo>
                      <a:pt x="256" y="29"/>
                    </a:lnTo>
                    <a:lnTo>
                      <a:pt x="242" y="29"/>
                    </a:lnTo>
                    <a:lnTo>
                      <a:pt x="228" y="29"/>
                    </a:lnTo>
                    <a:lnTo>
                      <a:pt x="219" y="29"/>
                    </a:lnTo>
                    <a:lnTo>
                      <a:pt x="201" y="29"/>
                    </a:lnTo>
                    <a:lnTo>
                      <a:pt x="187" y="29"/>
                    </a:lnTo>
                    <a:lnTo>
                      <a:pt x="178" y="29"/>
                    </a:lnTo>
                    <a:lnTo>
                      <a:pt x="169" y="29"/>
                    </a:lnTo>
                    <a:lnTo>
                      <a:pt x="155" y="29"/>
                    </a:lnTo>
                    <a:lnTo>
                      <a:pt x="137" y="29"/>
                    </a:lnTo>
                    <a:lnTo>
                      <a:pt x="128" y="29"/>
                    </a:lnTo>
                    <a:lnTo>
                      <a:pt x="119" y="32"/>
                    </a:lnTo>
                    <a:lnTo>
                      <a:pt x="105" y="32"/>
                    </a:lnTo>
                    <a:lnTo>
                      <a:pt x="91" y="32"/>
                    </a:lnTo>
                    <a:lnTo>
                      <a:pt x="87" y="32"/>
                    </a:lnTo>
                    <a:lnTo>
                      <a:pt x="73" y="35"/>
                    </a:lnTo>
                    <a:lnTo>
                      <a:pt x="64" y="35"/>
                    </a:lnTo>
                    <a:lnTo>
                      <a:pt x="55" y="35"/>
                    </a:lnTo>
                    <a:lnTo>
                      <a:pt x="41" y="35"/>
                    </a:lnTo>
                    <a:lnTo>
                      <a:pt x="36" y="35"/>
                    </a:lnTo>
                    <a:lnTo>
                      <a:pt x="18" y="35"/>
                    </a:lnTo>
                    <a:lnTo>
                      <a:pt x="14" y="35"/>
                    </a:lnTo>
                    <a:lnTo>
                      <a:pt x="0" y="32"/>
                    </a:lnTo>
                    <a:lnTo>
                      <a:pt x="9" y="29"/>
                    </a:lnTo>
                    <a:lnTo>
                      <a:pt x="23" y="23"/>
                    </a:lnTo>
                    <a:lnTo>
                      <a:pt x="36" y="20"/>
                    </a:lnTo>
                    <a:lnTo>
                      <a:pt x="55" y="17"/>
                    </a:lnTo>
                    <a:lnTo>
                      <a:pt x="68" y="15"/>
                    </a:lnTo>
                    <a:lnTo>
                      <a:pt x="78" y="15"/>
                    </a:lnTo>
                    <a:lnTo>
                      <a:pt x="87" y="12"/>
                    </a:lnTo>
                    <a:lnTo>
                      <a:pt x="91" y="12"/>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1" name="Freeform 34"/>
              <p:cNvSpPr>
                <a:spLocks/>
              </p:cNvSpPr>
              <p:nvPr>
                <p:custDataLst>
                  <p:tags r:id="rId163"/>
                </p:custDataLst>
              </p:nvPr>
            </p:nvSpPr>
            <p:spPr bwMode="gray">
              <a:xfrm>
                <a:off x="1260" y="2190"/>
                <a:ext cx="993" cy="80"/>
              </a:xfrm>
              <a:custGeom>
                <a:avLst/>
                <a:gdLst>
                  <a:gd name="T0" fmla="*/ 53 w 969"/>
                  <a:gd name="T1" fmla="*/ 3 h 88"/>
                  <a:gd name="T2" fmla="*/ 97 w 969"/>
                  <a:gd name="T3" fmla="*/ 5 h 88"/>
                  <a:gd name="T4" fmla="*/ 159 w 969"/>
                  <a:gd name="T5" fmla="*/ 5 h 88"/>
                  <a:gd name="T6" fmla="*/ 220 w 969"/>
                  <a:gd name="T7" fmla="*/ 5 h 88"/>
                  <a:gd name="T8" fmla="*/ 257 w 969"/>
                  <a:gd name="T9" fmla="*/ 6 h 88"/>
                  <a:gd name="T10" fmla="*/ 301 w 969"/>
                  <a:gd name="T11" fmla="*/ 6 h 88"/>
                  <a:gd name="T12" fmla="*/ 343 w 969"/>
                  <a:gd name="T13" fmla="*/ 7 h 88"/>
                  <a:gd name="T14" fmla="*/ 385 w 969"/>
                  <a:gd name="T15" fmla="*/ 9 h 88"/>
                  <a:gd name="T16" fmla="*/ 436 w 969"/>
                  <a:gd name="T17" fmla="*/ 11 h 88"/>
                  <a:gd name="T18" fmla="*/ 480 w 969"/>
                  <a:gd name="T19" fmla="*/ 11 h 88"/>
                  <a:gd name="T20" fmla="*/ 522 w 969"/>
                  <a:gd name="T21" fmla="*/ 11 h 88"/>
                  <a:gd name="T22" fmla="*/ 564 w 969"/>
                  <a:gd name="T23" fmla="*/ 12 h 88"/>
                  <a:gd name="T24" fmla="*/ 620 w 969"/>
                  <a:gd name="T25" fmla="*/ 13 h 88"/>
                  <a:gd name="T26" fmla="*/ 663 w 969"/>
                  <a:gd name="T27" fmla="*/ 14 h 88"/>
                  <a:gd name="T28" fmla="*/ 705 w 969"/>
                  <a:gd name="T29" fmla="*/ 15 h 88"/>
                  <a:gd name="T30" fmla="*/ 754 w 969"/>
                  <a:gd name="T31" fmla="*/ 15 h 88"/>
                  <a:gd name="T32" fmla="*/ 834 w 969"/>
                  <a:gd name="T33" fmla="*/ 16 h 88"/>
                  <a:gd name="T34" fmla="*/ 897 w 969"/>
                  <a:gd name="T35" fmla="*/ 16 h 88"/>
                  <a:gd name="T36" fmla="*/ 956 w 969"/>
                  <a:gd name="T37" fmla="*/ 16 h 88"/>
                  <a:gd name="T38" fmla="*/ 1018 w 969"/>
                  <a:gd name="T39" fmla="*/ 16 h 88"/>
                  <a:gd name="T40" fmla="*/ 1079 w 969"/>
                  <a:gd name="T41" fmla="*/ 17 h 88"/>
                  <a:gd name="T42" fmla="*/ 1134 w 969"/>
                  <a:gd name="T43" fmla="*/ 17 h 88"/>
                  <a:gd name="T44" fmla="*/ 1177 w 969"/>
                  <a:gd name="T45" fmla="*/ 18 h 88"/>
                  <a:gd name="T46" fmla="*/ 1240 w 969"/>
                  <a:gd name="T47" fmla="*/ 19 h 88"/>
                  <a:gd name="T48" fmla="*/ 1281 w 969"/>
                  <a:gd name="T49" fmla="*/ 20 h 88"/>
                  <a:gd name="T50" fmla="*/ 1299 w 969"/>
                  <a:gd name="T51" fmla="*/ 28 h 88"/>
                  <a:gd name="T52" fmla="*/ 1257 w 969"/>
                  <a:gd name="T53" fmla="*/ 28 h 88"/>
                  <a:gd name="T54" fmla="*/ 1207 w 969"/>
                  <a:gd name="T55" fmla="*/ 26 h 88"/>
                  <a:gd name="T56" fmla="*/ 1158 w 969"/>
                  <a:gd name="T57" fmla="*/ 26 h 88"/>
                  <a:gd name="T58" fmla="*/ 1103 w 969"/>
                  <a:gd name="T59" fmla="*/ 26 h 88"/>
                  <a:gd name="T60" fmla="*/ 1029 w 969"/>
                  <a:gd name="T61" fmla="*/ 25 h 88"/>
                  <a:gd name="T62" fmla="*/ 968 w 969"/>
                  <a:gd name="T63" fmla="*/ 25 h 88"/>
                  <a:gd name="T64" fmla="*/ 901 w 969"/>
                  <a:gd name="T65" fmla="*/ 25 h 88"/>
                  <a:gd name="T66" fmla="*/ 840 w 969"/>
                  <a:gd name="T67" fmla="*/ 25 h 88"/>
                  <a:gd name="T68" fmla="*/ 773 w 969"/>
                  <a:gd name="T69" fmla="*/ 23 h 88"/>
                  <a:gd name="T70" fmla="*/ 718 w 969"/>
                  <a:gd name="T71" fmla="*/ 23 h 88"/>
                  <a:gd name="T72" fmla="*/ 651 w 969"/>
                  <a:gd name="T73" fmla="*/ 22 h 88"/>
                  <a:gd name="T74" fmla="*/ 612 w 969"/>
                  <a:gd name="T75" fmla="*/ 21 h 88"/>
                  <a:gd name="T76" fmla="*/ 564 w 969"/>
                  <a:gd name="T77" fmla="*/ 20 h 88"/>
                  <a:gd name="T78" fmla="*/ 522 w 969"/>
                  <a:gd name="T79" fmla="*/ 19 h 88"/>
                  <a:gd name="T80" fmla="*/ 472 w 969"/>
                  <a:gd name="T81" fmla="*/ 18 h 88"/>
                  <a:gd name="T82" fmla="*/ 429 w 969"/>
                  <a:gd name="T83" fmla="*/ 17 h 88"/>
                  <a:gd name="T84" fmla="*/ 374 w 969"/>
                  <a:gd name="T85" fmla="*/ 16 h 88"/>
                  <a:gd name="T86" fmla="*/ 331 w 969"/>
                  <a:gd name="T87" fmla="*/ 15 h 88"/>
                  <a:gd name="T88" fmla="*/ 282 w 969"/>
                  <a:gd name="T89" fmla="*/ 15 h 88"/>
                  <a:gd name="T90" fmla="*/ 241 w 969"/>
                  <a:gd name="T91" fmla="*/ 14 h 88"/>
                  <a:gd name="T92" fmla="*/ 198 w 969"/>
                  <a:gd name="T93" fmla="*/ 12 h 88"/>
                  <a:gd name="T94" fmla="*/ 129 w 969"/>
                  <a:gd name="T95" fmla="*/ 11 h 88"/>
                  <a:gd name="T96" fmla="*/ 65 w 969"/>
                  <a:gd name="T97" fmla="*/ 10 h 88"/>
                  <a:gd name="T98" fmla="*/ 19 w 969"/>
                  <a:gd name="T99" fmla="*/ 9 h 88"/>
                  <a:gd name="T100" fmla="*/ 44 w 969"/>
                  <a:gd name="T101" fmla="*/ 0 h 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9"/>
                  <a:gd name="T154" fmla="*/ 0 h 88"/>
                  <a:gd name="T155" fmla="*/ 969 w 969"/>
                  <a:gd name="T156" fmla="*/ 88 h 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9" h="88">
                    <a:moveTo>
                      <a:pt x="32" y="0"/>
                    </a:moveTo>
                    <a:lnTo>
                      <a:pt x="37" y="0"/>
                    </a:lnTo>
                    <a:lnTo>
                      <a:pt x="41" y="3"/>
                    </a:lnTo>
                    <a:lnTo>
                      <a:pt x="51" y="3"/>
                    </a:lnTo>
                    <a:lnTo>
                      <a:pt x="60" y="6"/>
                    </a:lnTo>
                    <a:lnTo>
                      <a:pt x="73" y="6"/>
                    </a:lnTo>
                    <a:lnTo>
                      <a:pt x="87" y="9"/>
                    </a:lnTo>
                    <a:lnTo>
                      <a:pt x="101" y="9"/>
                    </a:lnTo>
                    <a:lnTo>
                      <a:pt x="119" y="12"/>
                    </a:lnTo>
                    <a:lnTo>
                      <a:pt x="133" y="12"/>
                    </a:lnTo>
                    <a:lnTo>
                      <a:pt x="151" y="14"/>
                    </a:lnTo>
                    <a:lnTo>
                      <a:pt x="165" y="14"/>
                    </a:lnTo>
                    <a:lnTo>
                      <a:pt x="169" y="17"/>
                    </a:lnTo>
                    <a:lnTo>
                      <a:pt x="183" y="17"/>
                    </a:lnTo>
                    <a:lnTo>
                      <a:pt x="192" y="20"/>
                    </a:lnTo>
                    <a:lnTo>
                      <a:pt x="201" y="20"/>
                    </a:lnTo>
                    <a:lnTo>
                      <a:pt x="211" y="20"/>
                    </a:lnTo>
                    <a:lnTo>
                      <a:pt x="224" y="20"/>
                    </a:lnTo>
                    <a:lnTo>
                      <a:pt x="233" y="23"/>
                    </a:lnTo>
                    <a:lnTo>
                      <a:pt x="243" y="23"/>
                    </a:lnTo>
                    <a:lnTo>
                      <a:pt x="256" y="23"/>
                    </a:lnTo>
                    <a:lnTo>
                      <a:pt x="270" y="23"/>
                    </a:lnTo>
                    <a:lnTo>
                      <a:pt x="279" y="26"/>
                    </a:lnTo>
                    <a:lnTo>
                      <a:pt x="288" y="26"/>
                    </a:lnTo>
                    <a:lnTo>
                      <a:pt x="302" y="29"/>
                    </a:lnTo>
                    <a:lnTo>
                      <a:pt x="316" y="29"/>
                    </a:lnTo>
                    <a:lnTo>
                      <a:pt x="325" y="32"/>
                    </a:lnTo>
                    <a:lnTo>
                      <a:pt x="334" y="32"/>
                    </a:lnTo>
                    <a:lnTo>
                      <a:pt x="348" y="32"/>
                    </a:lnTo>
                    <a:lnTo>
                      <a:pt x="357" y="34"/>
                    </a:lnTo>
                    <a:lnTo>
                      <a:pt x="371" y="34"/>
                    </a:lnTo>
                    <a:lnTo>
                      <a:pt x="380" y="34"/>
                    </a:lnTo>
                    <a:lnTo>
                      <a:pt x="389" y="34"/>
                    </a:lnTo>
                    <a:lnTo>
                      <a:pt x="403" y="34"/>
                    </a:lnTo>
                    <a:lnTo>
                      <a:pt x="416" y="37"/>
                    </a:lnTo>
                    <a:lnTo>
                      <a:pt x="421" y="37"/>
                    </a:lnTo>
                    <a:lnTo>
                      <a:pt x="439" y="40"/>
                    </a:lnTo>
                    <a:lnTo>
                      <a:pt x="448" y="40"/>
                    </a:lnTo>
                    <a:lnTo>
                      <a:pt x="462" y="40"/>
                    </a:lnTo>
                    <a:lnTo>
                      <a:pt x="471" y="40"/>
                    </a:lnTo>
                    <a:lnTo>
                      <a:pt x="480" y="43"/>
                    </a:lnTo>
                    <a:lnTo>
                      <a:pt x="494" y="43"/>
                    </a:lnTo>
                    <a:lnTo>
                      <a:pt x="503" y="43"/>
                    </a:lnTo>
                    <a:lnTo>
                      <a:pt x="512" y="43"/>
                    </a:lnTo>
                    <a:lnTo>
                      <a:pt x="526" y="46"/>
                    </a:lnTo>
                    <a:lnTo>
                      <a:pt x="535" y="46"/>
                    </a:lnTo>
                    <a:lnTo>
                      <a:pt x="544" y="46"/>
                    </a:lnTo>
                    <a:lnTo>
                      <a:pt x="562" y="46"/>
                    </a:lnTo>
                    <a:lnTo>
                      <a:pt x="585" y="46"/>
                    </a:lnTo>
                    <a:lnTo>
                      <a:pt x="599" y="49"/>
                    </a:lnTo>
                    <a:lnTo>
                      <a:pt x="622" y="51"/>
                    </a:lnTo>
                    <a:lnTo>
                      <a:pt x="636" y="51"/>
                    </a:lnTo>
                    <a:lnTo>
                      <a:pt x="654" y="51"/>
                    </a:lnTo>
                    <a:lnTo>
                      <a:pt x="668" y="51"/>
                    </a:lnTo>
                    <a:lnTo>
                      <a:pt x="681" y="51"/>
                    </a:lnTo>
                    <a:lnTo>
                      <a:pt x="700" y="51"/>
                    </a:lnTo>
                    <a:lnTo>
                      <a:pt x="713" y="51"/>
                    </a:lnTo>
                    <a:lnTo>
                      <a:pt x="732" y="51"/>
                    </a:lnTo>
                    <a:lnTo>
                      <a:pt x="750" y="51"/>
                    </a:lnTo>
                    <a:lnTo>
                      <a:pt x="759" y="51"/>
                    </a:lnTo>
                    <a:lnTo>
                      <a:pt x="777" y="51"/>
                    </a:lnTo>
                    <a:lnTo>
                      <a:pt x="786" y="54"/>
                    </a:lnTo>
                    <a:lnTo>
                      <a:pt x="805" y="54"/>
                    </a:lnTo>
                    <a:lnTo>
                      <a:pt x="818" y="54"/>
                    </a:lnTo>
                    <a:lnTo>
                      <a:pt x="832" y="54"/>
                    </a:lnTo>
                    <a:lnTo>
                      <a:pt x="846" y="54"/>
                    </a:lnTo>
                    <a:lnTo>
                      <a:pt x="860" y="57"/>
                    </a:lnTo>
                    <a:lnTo>
                      <a:pt x="869" y="57"/>
                    </a:lnTo>
                    <a:lnTo>
                      <a:pt x="878" y="57"/>
                    </a:lnTo>
                    <a:lnTo>
                      <a:pt x="892" y="57"/>
                    </a:lnTo>
                    <a:lnTo>
                      <a:pt x="901" y="60"/>
                    </a:lnTo>
                    <a:lnTo>
                      <a:pt x="924" y="60"/>
                    </a:lnTo>
                    <a:lnTo>
                      <a:pt x="937" y="60"/>
                    </a:lnTo>
                    <a:lnTo>
                      <a:pt x="951" y="60"/>
                    </a:lnTo>
                    <a:lnTo>
                      <a:pt x="956" y="63"/>
                    </a:lnTo>
                    <a:lnTo>
                      <a:pt x="965" y="63"/>
                    </a:lnTo>
                    <a:lnTo>
                      <a:pt x="969" y="63"/>
                    </a:lnTo>
                    <a:lnTo>
                      <a:pt x="969" y="88"/>
                    </a:lnTo>
                    <a:lnTo>
                      <a:pt x="965" y="86"/>
                    </a:lnTo>
                    <a:lnTo>
                      <a:pt x="951" y="86"/>
                    </a:lnTo>
                    <a:lnTo>
                      <a:pt x="937" y="86"/>
                    </a:lnTo>
                    <a:lnTo>
                      <a:pt x="924" y="86"/>
                    </a:lnTo>
                    <a:lnTo>
                      <a:pt x="914" y="83"/>
                    </a:lnTo>
                    <a:lnTo>
                      <a:pt x="901" y="83"/>
                    </a:lnTo>
                    <a:lnTo>
                      <a:pt x="887" y="83"/>
                    </a:lnTo>
                    <a:lnTo>
                      <a:pt x="878" y="83"/>
                    </a:lnTo>
                    <a:lnTo>
                      <a:pt x="864" y="83"/>
                    </a:lnTo>
                    <a:lnTo>
                      <a:pt x="846" y="83"/>
                    </a:lnTo>
                    <a:lnTo>
                      <a:pt x="837" y="83"/>
                    </a:lnTo>
                    <a:lnTo>
                      <a:pt x="823" y="83"/>
                    </a:lnTo>
                    <a:lnTo>
                      <a:pt x="805" y="83"/>
                    </a:lnTo>
                    <a:lnTo>
                      <a:pt x="786" y="83"/>
                    </a:lnTo>
                    <a:lnTo>
                      <a:pt x="768" y="80"/>
                    </a:lnTo>
                    <a:lnTo>
                      <a:pt x="754" y="80"/>
                    </a:lnTo>
                    <a:lnTo>
                      <a:pt x="736" y="80"/>
                    </a:lnTo>
                    <a:lnTo>
                      <a:pt x="722" y="80"/>
                    </a:lnTo>
                    <a:lnTo>
                      <a:pt x="704" y="80"/>
                    </a:lnTo>
                    <a:lnTo>
                      <a:pt x="690" y="80"/>
                    </a:lnTo>
                    <a:lnTo>
                      <a:pt x="672" y="77"/>
                    </a:lnTo>
                    <a:lnTo>
                      <a:pt x="658" y="77"/>
                    </a:lnTo>
                    <a:lnTo>
                      <a:pt x="640" y="77"/>
                    </a:lnTo>
                    <a:lnTo>
                      <a:pt x="626" y="77"/>
                    </a:lnTo>
                    <a:lnTo>
                      <a:pt x="608" y="74"/>
                    </a:lnTo>
                    <a:lnTo>
                      <a:pt x="590" y="74"/>
                    </a:lnTo>
                    <a:lnTo>
                      <a:pt x="576" y="74"/>
                    </a:lnTo>
                    <a:lnTo>
                      <a:pt x="567" y="74"/>
                    </a:lnTo>
                    <a:lnTo>
                      <a:pt x="549" y="71"/>
                    </a:lnTo>
                    <a:lnTo>
                      <a:pt x="535" y="71"/>
                    </a:lnTo>
                    <a:lnTo>
                      <a:pt x="517" y="69"/>
                    </a:lnTo>
                    <a:lnTo>
                      <a:pt x="499" y="69"/>
                    </a:lnTo>
                    <a:lnTo>
                      <a:pt x="485" y="69"/>
                    </a:lnTo>
                    <a:lnTo>
                      <a:pt x="476" y="69"/>
                    </a:lnTo>
                    <a:lnTo>
                      <a:pt x="467" y="66"/>
                    </a:lnTo>
                    <a:lnTo>
                      <a:pt x="457" y="66"/>
                    </a:lnTo>
                    <a:lnTo>
                      <a:pt x="444" y="66"/>
                    </a:lnTo>
                    <a:lnTo>
                      <a:pt x="435" y="63"/>
                    </a:lnTo>
                    <a:lnTo>
                      <a:pt x="421" y="63"/>
                    </a:lnTo>
                    <a:lnTo>
                      <a:pt x="412" y="63"/>
                    </a:lnTo>
                    <a:lnTo>
                      <a:pt x="403" y="60"/>
                    </a:lnTo>
                    <a:lnTo>
                      <a:pt x="389" y="60"/>
                    </a:lnTo>
                    <a:lnTo>
                      <a:pt x="380" y="57"/>
                    </a:lnTo>
                    <a:lnTo>
                      <a:pt x="366" y="57"/>
                    </a:lnTo>
                    <a:lnTo>
                      <a:pt x="352" y="57"/>
                    </a:lnTo>
                    <a:lnTo>
                      <a:pt x="343" y="54"/>
                    </a:lnTo>
                    <a:lnTo>
                      <a:pt x="334" y="54"/>
                    </a:lnTo>
                    <a:lnTo>
                      <a:pt x="320" y="54"/>
                    </a:lnTo>
                    <a:lnTo>
                      <a:pt x="307" y="51"/>
                    </a:lnTo>
                    <a:lnTo>
                      <a:pt x="297" y="51"/>
                    </a:lnTo>
                    <a:lnTo>
                      <a:pt x="279" y="51"/>
                    </a:lnTo>
                    <a:lnTo>
                      <a:pt x="270" y="51"/>
                    </a:lnTo>
                    <a:lnTo>
                      <a:pt x="261" y="49"/>
                    </a:lnTo>
                    <a:lnTo>
                      <a:pt x="247" y="46"/>
                    </a:lnTo>
                    <a:lnTo>
                      <a:pt x="238" y="46"/>
                    </a:lnTo>
                    <a:lnTo>
                      <a:pt x="224" y="46"/>
                    </a:lnTo>
                    <a:lnTo>
                      <a:pt x="211" y="46"/>
                    </a:lnTo>
                    <a:lnTo>
                      <a:pt x="201" y="43"/>
                    </a:lnTo>
                    <a:lnTo>
                      <a:pt x="188" y="43"/>
                    </a:lnTo>
                    <a:lnTo>
                      <a:pt x="179" y="43"/>
                    </a:lnTo>
                    <a:lnTo>
                      <a:pt x="165" y="40"/>
                    </a:lnTo>
                    <a:lnTo>
                      <a:pt x="156" y="40"/>
                    </a:lnTo>
                    <a:lnTo>
                      <a:pt x="147" y="37"/>
                    </a:lnTo>
                    <a:lnTo>
                      <a:pt x="137" y="37"/>
                    </a:lnTo>
                    <a:lnTo>
                      <a:pt x="115" y="34"/>
                    </a:lnTo>
                    <a:lnTo>
                      <a:pt x="96" y="34"/>
                    </a:lnTo>
                    <a:lnTo>
                      <a:pt x="78" y="32"/>
                    </a:lnTo>
                    <a:lnTo>
                      <a:pt x="69" y="32"/>
                    </a:lnTo>
                    <a:lnTo>
                      <a:pt x="51" y="29"/>
                    </a:lnTo>
                    <a:lnTo>
                      <a:pt x="41" y="26"/>
                    </a:lnTo>
                    <a:lnTo>
                      <a:pt x="23" y="26"/>
                    </a:lnTo>
                    <a:lnTo>
                      <a:pt x="19" y="26"/>
                    </a:lnTo>
                    <a:lnTo>
                      <a:pt x="5" y="23"/>
                    </a:lnTo>
                    <a:lnTo>
                      <a:pt x="0" y="23"/>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2" name="Freeform 35"/>
              <p:cNvSpPr>
                <a:spLocks/>
              </p:cNvSpPr>
              <p:nvPr>
                <p:custDataLst>
                  <p:tags r:id="rId164"/>
                </p:custDataLst>
              </p:nvPr>
            </p:nvSpPr>
            <p:spPr bwMode="gray">
              <a:xfrm>
                <a:off x="3720" y="2221"/>
                <a:ext cx="623" cy="63"/>
              </a:xfrm>
              <a:custGeom>
                <a:avLst/>
                <a:gdLst>
                  <a:gd name="T0" fmla="*/ 13 w 608"/>
                  <a:gd name="T1" fmla="*/ 13 h 69"/>
                  <a:gd name="T2" fmla="*/ 53 w 608"/>
                  <a:gd name="T3" fmla="*/ 13 h 69"/>
                  <a:gd name="T4" fmla="*/ 92 w 608"/>
                  <a:gd name="T5" fmla="*/ 13 h 69"/>
                  <a:gd name="T6" fmla="*/ 135 w 608"/>
                  <a:gd name="T7" fmla="*/ 13 h 69"/>
                  <a:gd name="T8" fmla="*/ 171 w 608"/>
                  <a:gd name="T9" fmla="*/ 12 h 69"/>
                  <a:gd name="T10" fmla="*/ 208 w 608"/>
                  <a:gd name="T11" fmla="*/ 12 h 69"/>
                  <a:gd name="T12" fmla="*/ 244 w 608"/>
                  <a:gd name="T13" fmla="*/ 12 h 69"/>
                  <a:gd name="T14" fmla="*/ 281 w 608"/>
                  <a:gd name="T15" fmla="*/ 12 h 69"/>
                  <a:gd name="T16" fmla="*/ 317 w 608"/>
                  <a:gd name="T17" fmla="*/ 11 h 69"/>
                  <a:gd name="T18" fmla="*/ 348 w 608"/>
                  <a:gd name="T19" fmla="*/ 10 h 69"/>
                  <a:gd name="T20" fmla="*/ 391 w 608"/>
                  <a:gd name="T21" fmla="*/ 10 h 69"/>
                  <a:gd name="T22" fmla="*/ 422 w 608"/>
                  <a:gd name="T23" fmla="*/ 9 h 69"/>
                  <a:gd name="T24" fmla="*/ 453 w 608"/>
                  <a:gd name="T25" fmla="*/ 9 h 69"/>
                  <a:gd name="T26" fmla="*/ 484 w 608"/>
                  <a:gd name="T27" fmla="*/ 8 h 69"/>
                  <a:gd name="T28" fmla="*/ 521 w 608"/>
                  <a:gd name="T29" fmla="*/ 6 h 69"/>
                  <a:gd name="T30" fmla="*/ 550 w 608"/>
                  <a:gd name="T31" fmla="*/ 6 h 69"/>
                  <a:gd name="T32" fmla="*/ 593 w 608"/>
                  <a:gd name="T33" fmla="*/ 5 h 69"/>
                  <a:gd name="T34" fmla="*/ 642 w 608"/>
                  <a:gd name="T35" fmla="*/ 5 h 69"/>
                  <a:gd name="T36" fmla="*/ 691 w 608"/>
                  <a:gd name="T37" fmla="*/ 5 h 69"/>
                  <a:gd name="T38" fmla="*/ 729 w 608"/>
                  <a:gd name="T39" fmla="*/ 5 h 69"/>
                  <a:gd name="T40" fmla="*/ 758 w 608"/>
                  <a:gd name="T41" fmla="*/ 3 h 69"/>
                  <a:gd name="T42" fmla="*/ 784 w 608"/>
                  <a:gd name="T43" fmla="*/ 0 h 69"/>
                  <a:gd name="T44" fmla="*/ 808 w 608"/>
                  <a:gd name="T45" fmla="*/ 0 h 69"/>
                  <a:gd name="T46" fmla="*/ 815 w 608"/>
                  <a:gd name="T47" fmla="*/ 10 h 69"/>
                  <a:gd name="T48" fmla="*/ 800 w 608"/>
                  <a:gd name="T49" fmla="*/ 10 h 69"/>
                  <a:gd name="T50" fmla="*/ 777 w 608"/>
                  <a:gd name="T51" fmla="*/ 11 h 69"/>
                  <a:gd name="T52" fmla="*/ 753 w 608"/>
                  <a:gd name="T53" fmla="*/ 12 h 69"/>
                  <a:gd name="T54" fmla="*/ 715 w 608"/>
                  <a:gd name="T55" fmla="*/ 12 h 69"/>
                  <a:gd name="T56" fmla="*/ 687 w 608"/>
                  <a:gd name="T57" fmla="*/ 13 h 69"/>
                  <a:gd name="T58" fmla="*/ 642 w 608"/>
                  <a:gd name="T59" fmla="*/ 13 h 69"/>
                  <a:gd name="T60" fmla="*/ 599 w 608"/>
                  <a:gd name="T61" fmla="*/ 14 h 69"/>
                  <a:gd name="T62" fmla="*/ 557 w 608"/>
                  <a:gd name="T63" fmla="*/ 15 h 69"/>
                  <a:gd name="T64" fmla="*/ 513 w 608"/>
                  <a:gd name="T65" fmla="*/ 15 h 69"/>
                  <a:gd name="T66" fmla="*/ 472 w 608"/>
                  <a:gd name="T67" fmla="*/ 16 h 69"/>
                  <a:gd name="T68" fmla="*/ 428 w 608"/>
                  <a:gd name="T69" fmla="*/ 18 h 69"/>
                  <a:gd name="T70" fmla="*/ 391 w 608"/>
                  <a:gd name="T71" fmla="*/ 18 h 69"/>
                  <a:gd name="T72" fmla="*/ 348 w 608"/>
                  <a:gd name="T73" fmla="*/ 18 h 69"/>
                  <a:gd name="T74" fmla="*/ 324 w 608"/>
                  <a:gd name="T75" fmla="*/ 19 h 69"/>
                  <a:gd name="T76" fmla="*/ 301 w 608"/>
                  <a:gd name="T77" fmla="*/ 20 h 69"/>
                  <a:gd name="T78" fmla="*/ 251 w 608"/>
                  <a:gd name="T79" fmla="*/ 22 h 69"/>
                  <a:gd name="T80" fmla="*/ 196 w 608"/>
                  <a:gd name="T81" fmla="*/ 22 h 69"/>
                  <a:gd name="T82" fmla="*/ 146 w 608"/>
                  <a:gd name="T83" fmla="*/ 22 h 69"/>
                  <a:gd name="T84" fmla="*/ 101 w 608"/>
                  <a:gd name="T85" fmla="*/ 24 h 69"/>
                  <a:gd name="T86" fmla="*/ 57 w 608"/>
                  <a:gd name="T87" fmla="*/ 24 h 69"/>
                  <a:gd name="T88" fmla="*/ 35 w 608"/>
                  <a:gd name="T89" fmla="*/ 24 h 69"/>
                  <a:gd name="T90" fmla="*/ 0 w 608"/>
                  <a:gd name="T91" fmla="*/ 24 h 69"/>
                  <a:gd name="T92" fmla="*/ 0 w 608"/>
                  <a:gd name="T93" fmla="*/ 14 h 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8"/>
                  <a:gd name="T142" fmla="*/ 0 h 69"/>
                  <a:gd name="T143" fmla="*/ 608 w 608"/>
                  <a:gd name="T144" fmla="*/ 69 h 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8" h="69">
                    <a:moveTo>
                      <a:pt x="0" y="40"/>
                    </a:moveTo>
                    <a:lnTo>
                      <a:pt x="13" y="37"/>
                    </a:lnTo>
                    <a:lnTo>
                      <a:pt x="27" y="37"/>
                    </a:lnTo>
                    <a:lnTo>
                      <a:pt x="41" y="37"/>
                    </a:lnTo>
                    <a:lnTo>
                      <a:pt x="59" y="37"/>
                    </a:lnTo>
                    <a:lnTo>
                      <a:pt x="68" y="37"/>
                    </a:lnTo>
                    <a:lnTo>
                      <a:pt x="87" y="37"/>
                    </a:lnTo>
                    <a:lnTo>
                      <a:pt x="100" y="37"/>
                    </a:lnTo>
                    <a:lnTo>
                      <a:pt x="119" y="37"/>
                    </a:lnTo>
                    <a:lnTo>
                      <a:pt x="128" y="35"/>
                    </a:lnTo>
                    <a:lnTo>
                      <a:pt x="141" y="35"/>
                    </a:lnTo>
                    <a:lnTo>
                      <a:pt x="155" y="35"/>
                    </a:lnTo>
                    <a:lnTo>
                      <a:pt x="169" y="35"/>
                    </a:lnTo>
                    <a:lnTo>
                      <a:pt x="182" y="35"/>
                    </a:lnTo>
                    <a:lnTo>
                      <a:pt x="201" y="35"/>
                    </a:lnTo>
                    <a:lnTo>
                      <a:pt x="210" y="35"/>
                    </a:lnTo>
                    <a:lnTo>
                      <a:pt x="224" y="35"/>
                    </a:lnTo>
                    <a:lnTo>
                      <a:pt x="237" y="32"/>
                    </a:lnTo>
                    <a:lnTo>
                      <a:pt x="251" y="32"/>
                    </a:lnTo>
                    <a:lnTo>
                      <a:pt x="260" y="29"/>
                    </a:lnTo>
                    <a:lnTo>
                      <a:pt x="278" y="29"/>
                    </a:lnTo>
                    <a:lnTo>
                      <a:pt x="292" y="29"/>
                    </a:lnTo>
                    <a:lnTo>
                      <a:pt x="301" y="26"/>
                    </a:lnTo>
                    <a:lnTo>
                      <a:pt x="315" y="26"/>
                    </a:lnTo>
                    <a:lnTo>
                      <a:pt x="329" y="26"/>
                    </a:lnTo>
                    <a:lnTo>
                      <a:pt x="338" y="26"/>
                    </a:lnTo>
                    <a:lnTo>
                      <a:pt x="352" y="23"/>
                    </a:lnTo>
                    <a:lnTo>
                      <a:pt x="361" y="23"/>
                    </a:lnTo>
                    <a:lnTo>
                      <a:pt x="374" y="23"/>
                    </a:lnTo>
                    <a:lnTo>
                      <a:pt x="388" y="20"/>
                    </a:lnTo>
                    <a:lnTo>
                      <a:pt x="397" y="20"/>
                    </a:lnTo>
                    <a:lnTo>
                      <a:pt x="411" y="20"/>
                    </a:lnTo>
                    <a:lnTo>
                      <a:pt x="425" y="20"/>
                    </a:lnTo>
                    <a:lnTo>
                      <a:pt x="443" y="17"/>
                    </a:lnTo>
                    <a:lnTo>
                      <a:pt x="461" y="17"/>
                    </a:lnTo>
                    <a:lnTo>
                      <a:pt x="480" y="12"/>
                    </a:lnTo>
                    <a:lnTo>
                      <a:pt x="498" y="12"/>
                    </a:lnTo>
                    <a:lnTo>
                      <a:pt x="516" y="12"/>
                    </a:lnTo>
                    <a:lnTo>
                      <a:pt x="530" y="9"/>
                    </a:lnTo>
                    <a:lnTo>
                      <a:pt x="544" y="6"/>
                    </a:lnTo>
                    <a:lnTo>
                      <a:pt x="557" y="6"/>
                    </a:lnTo>
                    <a:lnTo>
                      <a:pt x="566" y="3"/>
                    </a:lnTo>
                    <a:lnTo>
                      <a:pt x="580" y="0"/>
                    </a:lnTo>
                    <a:lnTo>
                      <a:pt x="585" y="0"/>
                    </a:lnTo>
                    <a:lnTo>
                      <a:pt x="594" y="0"/>
                    </a:lnTo>
                    <a:lnTo>
                      <a:pt x="603" y="0"/>
                    </a:lnTo>
                    <a:lnTo>
                      <a:pt x="608" y="0"/>
                    </a:lnTo>
                    <a:lnTo>
                      <a:pt x="608" y="29"/>
                    </a:lnTo>
                    <a:lnTo>
                      <a:pt x="603" y="29"/>
                    </a:lnTo>
                    <a:lnTo>
                      <a:pt x="598" y="29"/>
                    </a:lnTo>
                    <a:lnTo>
                      <a:pt x="585" y="29"/>
                    </a:lnTo>
                    <a:lnTo>
                      <a:pt x="580" y="32"/>
                    </a:lnTo>
                    <a:lnTo>
                      <a:pt x="571" y="32"/>
                    </a:lnTo>
                    <a:lnTo>
                      <a:pt x="562" y="35"/>
                    </a:lnTo>
                    <a:lnTo>
                      <a:pt x="548" y="35"/>
                    </a:lnTo>
                    <a:lnTo>
                      <a:pt x="534" y="35"/>
                    </a:lnTo>
                    <a:lnTo>
                      <a:pt x="525" y="35"/>
                    </a:lnTo>
                    <a:lnTo>
                      <a:pt x="512" y="37"/>
                    </a:lnTo>
                    <a:lnTo>
                      <a:pt x="498" y="37"/>
                    </a:lnTo>
                    <a:lnTo>
                      <a:pt x="480" y="37"/>
                    </a:lnTo>
                    <a:lnTo>
                      <a:pt x="466" y="40"/>
                    </a:lnTo>
                    <a:lnTo>
                      <a:pt x="448" y="40"/>
                    </a:lnTo>
                    <a:lnTo>
                      <a:pt x="434" y="40"/>
                    </a:lnTo>
                    <a:lnTo>
                      <a:pt x="416" y="43"/>
                    </a:lnTo>
                    <a:lnTo>
                      <a:pt x="402" y="43"/>
                    </a:lnTo>
                    <a:lnTo>
                      <a:pt x="384" y="46"/>
                    </a:lnTo>
                    <a:lnTo>
                      <a:pt x="370" y="49"/>
                    </a:lnTo>
                    <a:lnTo>
                      <a:pt x="352" y="49"/>
                    </a:lnTo>
                    <a:lnTo>
                      <a:pt x="333" y="49"/>
                    </a:lnTo>
                    <a:lnTo>
                      <a:pt x="320" y="54"/>
                    </a:lnTo>
                    <a:lnTo>
                      <a:pt x="301" y="54"/>
                    </a:lnTo>
                    <a:lnTo>
                      <a:pt x="292" y="54"/>
                    </a:lnTo>
                    <a:lnTo>
                      <a:pt x="278" y="54"/>
                    </a:lnTo>
                    <a:lnTo>
                      <a:pt x="260" y="54"/>
                    </a:lnTo>
                    <a:lnTo>
                      <a:pt x="251" y="57"/>
                    </a:lnTo>
                    <a:lnTo>
                      <a:pt x="242" y="57"/>
                    </a:lnTo>
                    <a:lnTo>
                      <a:pt x="228" y="60"/>
                    </a:lnTo>
                    <a:lnTo>
                      <a:pt x="224" y="60"/>
                    </a:lnTo>
                    <a:lnTo>
                      <a:pt x="201" y="60"/>
                    </a:lnTo>
                    <a:lnTo>
                      <a:pt x="187" y="63"/>
                    </a:lnTo>
                    <a:lnTo>
                      <a:pt x="164" y="63"/>
                    </a:lnTo>
                    <a:lnTo>
                      <a:pt x="146" y="63"/>
                    </a:lnTo>
                    <a:lnTo>
                      <a:pt x="128" y="63"/>
                    </a:lnTo>
                    <a:lnTo>
                      <a:pt x="109" y="63"/>
                    </a:lnTo>
                    <a:lnTo>
                      <a:pt x="91" y="66"/>
                    </a:lnTo>
                    <a:lnTo>
                      <a:pt x="77" y="69"/>
                    </a:lnTo>
                    <a:lnTo>
                      <a:pt x="59" y="69"/>
                    </a:lnTo>
                    <a:lnTo>
                      <a:pt x="45" y="69"/>
                    </a:lnTo>
                    <a:lnTo>
                      <a:pt x="32" y="69"/>
                    </a:lnTo>
                    <a:lnTo>
                      <a:pt x="23" y="69"/>
                    </a:lnTo>
                    <a:lnTo>
                      <a:pt x="0" y="69"/>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3" name="Freeform 36"/>
              <p:cNvSpPr>
                <a:spLocks/>
              </p:cNvSpPr>
              <p:nvPr>
                <p:custDataLst>
                  <p:tags r:id="rId165"/>
                </p:custDataLst>
              </p:nvPr>
            </p:nvSpPr>
            <p:spPr bwMode="gray">
              <a:xfrm>
                <a:off x="2328" y="1914"/>
                <a:ext cx="193" cy="794"/>
              </a:xfrm>
              <a:custGeom>
                <a:avLst/>
                <a:gdLst>
                  <a:gd name="T0" fmla="*/ 0 w 188"/>
                  <a:gd name="T1" fmla="*/ 291 h 869"/>
                  <a:gd name="T2" fmla="*/ 31 w 188"/>
                  <a:gd name="T3" fmla="*/ 293 h 869"/>
                  <a:gd name="T4" fmla="*/ 49 w 188"/>
                  <a:gd name="T5" fmla="*/ 294 h 869"/>
                  <a:gd name="T6" fmla="*/ 88 w 188"/>
                  <a:gd name="T7" fmla="*/ 294 h 869"/>
                  <a:gd name="T8" fmla="*/ 113 w 188"/>
                  <a:gd name="T9" fmla="*/ 294 h 869"/>
                  <a:gd name="T10" fmla="*/ 144 w 188"/>
                  <a:gd name="T11" fmla="*/ 294 h 869"/>
                  <a:gd name="T12" fmla="*/ 175 w 188"/>
                  <a:gd name="T13" fmla="*/ 291 h 869"/>
                  <a:gd name="T14" fmla="*/ 175 w 188"/>
                  <a:gd name="T15" fmla="*/ 287 h 869"/>
                  <a:gd name="T16" fmla="*/ 175 w 188"/>
                  <a:gd name="T17" fmla="*/ 285 h 869"/>
                  <a:gd name="T18" fmla="*/ 183 w 188"/>
                  <a:gd name="T19" fmla="*/ 278 h 869"/>
                  <a:gd name="T20" fmla="*/ 183 w 188"/>
                  <a:gd name="T21" fmla="*/ 272 h 869"/>
                  <a:gd name="T22" fmla="*/ 183 w 188"/>
                  <a:gd name="T23" fmla="*/ 266 h 869"/>
                  <a:gd name="T24" fmla="*/ 188 w 188"/>
                  <a:gd name="T25" fmla="*/ 257 h 869"/>
                  <a:gd name="T26" fmla="*/ 188 w 188"/>
                  <a:gd name="T27" fmla="*/ 249 h 869"/>
                  <a:gd name="T28" fmla="*/ 188 w 188"/>
                  <a:gd name="T29" fmla="*/ 239 h 869"/>
                  <a:gd name="T30" fmla="*/ 195 w 188"/>
                  <a:gd name="T31" fmla="*/ 229 h 869"/>
                  <a:gd name="T32" fmla="*/ 195 w 188"/>
                  <a:gd name="T33" fmla="*/ 219 h 869"/>
                  <a:gd name="T34" fmla="*/ 201 w 188"/>
                  <a:gd name="T35" fmla="*/ 208 h 869"/>
                  <a:gd name="T36" fmla="*/ 201 w 188"/>
                  <a:gd name="T37" fmla="*/ 198 h 869"/>
                  <a:gd name="T38" fmla="*/ 201 w 188"/>
                  <a:gd name="T39" fmla="*/ 187 h 869"/>
                  <a:gd name="T40" fmla="*/ 201 w 188"/>
                  <a:gd name="T41" fmla="*/ 175 h 869"/>
                  <a:gd name="T42" fmla="*/ 213 w 188"/>
                  <a:gd name="T43" fmla="*/ 164 h 869"/>
                  <a:gd name="T44" fmla="*/ 213 w 188"/>
                  <a:gd name="T45" fmla="*/ 151 h 869"/>
                  <a:gd name="T46" fmla="*/ 219 w 188"/>
                  <a:gd name="T47" fmla="*/ 138 h 869"/>
                  <a:gd name="T48" fmla="*/ 219 w 188"/>
                  <a:gd name="T49" fmla="*/ 127 h 869"/>
                  <a:gd name="T50" fmla="*/ 219 w 188"/>
                  <a:gd name="T51" fmla="*/ 117 h 869"/>
                  <a:gd name="T52" fmla="*/ 226 w 188"/>
                  <a:gd name="T53" fmla="*/ 105 h 869"/>
                  <a:gd name="T54" fmla="*/ 226 w 188"/>
                  <a:gd name="T55" fmla="*/ 95 h 869"/>
                  <a:gd name="T56" fmla="*/ 232 w 188"/>
                  <a:gd name="T57" fmla="*/ 84 h 869"/>
                  <a:gd name="T58" fmla="*/ 232 w 188"/>
                  <a:gd name="T59" fmla="*/ 75 h 869"/>
                  <a:gd name="T60" fmla="*/ 232 w 188"/>
                  <a:gd name="T61" fmla="*/ 65 h 869"/>
                  <a:gd name="T62" fmla="*/ 239 w 188"/>
                  <a:gd name="T63" fmla="*/ 58 h 869"/>
                  <a:gd name="T64" fmla="*/ 239 w 188"/>
                  <a:gd name="T65" fmla="*/ 49 h 869"/>
                  <a:gd name="T66" fmla="*/ 245 w 188"/>
                  <a:gd name="T67" fmla="*/ 44 h 869"/>
                  <a:gd name="T68" fmla="*/ 250 w 188"/>
                  <a:gd name="T69" fmla="*/ 38 h 869"/>
                  <a:gd name="T70" fmla="*/ 250 w 188"/>
                  <a:gd name="T71" fmla="*/ 35 h 869"/>
                  <a:gd name="T72" fmla="*/ 257 w 188"/>
                  <a:gd name="T73" fmla="*/ 31 h 869"/>
                  <a:gd name="T74" fmla="*/ 257 w 188"/>
                  <a:gd name="T75" fmla="*/ 24 h 869"/>
                  <a:gd name="T76" fmla="*/ 239 w 188"/>
                  <a:gd name="T77" fmla="*/ 18 h 869"/>
                  <a:gd name="T78" fmla="*/ 206 w 188"/>
                  <a:gd name="T79" fmla="*/ 14 h 869"/>
                  <a:gd name="T80" fmla="*/ 175 w 188"/>
                  <a:gd name="T81" fmla="*/ 10 h 869"/>
                  <a:gd name="T82" fmla="*/ 138 w 188"/>
                  <a:gd name="T83" fmla="*/ 5 h 869"/>
                  <a:gd name="T84" fmla="*/ 106 w 188"/>
                  <a:gd name="T85" fmla="*/ 5 h 869"/>
                  <a:gd name="T86" fmla="*/ 77 w 188"/>
                  <a:gd name="T87" fmla="*/ 0 h 86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8"/>
                  <a:gd name="T133" fmla="*/ 0 h 869"/>
                  <a:gd name="T134" fmla="*/ 188 w 188"/>
                  <a:gd name="T135" fmla="*/ 869 h 86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8" h="869">
                    <a:moveTo>
                      <a:pt x="55" y="0"/>
                    </a:moveTo>
                    <a:lnTo>
                      <a:pt x="0" y="860"/>
                    </a:lnTo>
                    <a:lnTo>
                      <a:pt x="9" y="860"/>
                    </a:lnTo>
                    <a:lnTo>
                      <a:pt x="19" y="863"/>
                    </a:lnTo>
                    <a:lnTo>
                      <a:pt x="28" y="863"/>
                    </a:lnTo>
                    <a:lnTo>
                      <a:pt x="37" y="866"/>
                    </a:lnTo>
                    <a:lnTo>
                      <a:pt x="51" y="866"/>
                    </a:lnTo>
                    <a:lnTo>
                      <a:pt x="64" y="869"/>
                    </a:lnTo>
                    <a:lnTo>
                      <a:pt x="69" y="869"/>
                    </a:lnTo>
                    <a:lnTo>
                      <a:pt x="83" y="869"/>
                    </a:lnTo>
                    <a:lnTo>
                      <a:pt x="92" y="869"/>
                    </a:lnTo>
                    <a:lnTo>
                      <a:pt x="105" y="869"/>
                    </a:lnTo>
                    <a:lnTo>
                      <a:pt x="119" y="866"/>
                    </a:lnTo>
                    <a:lnTo>
                      <a:pt x="128" y="860"/>
                    </a:lnTo>
                    <a:lnTo>
                      <a:pt x="128" y="857"/>
                    </a:lnTo>
                    <a:lnTo>
                      <a:pt x="128" y="849"/>
                    </a:lnTo>
                    <a:lnTo>
                      <a:pt x="128" y="843"/>
                    </a:lnTo>
                    <a:lnTo>
                      <a:pt x="128" y="838"/>
                    </a:lnTo>
                    <a:lnTo>
                      <a:pt x="128" y="829"/>
                    </a:lnTo>
                    <a:lnTo>
                      <a:pt x="133" y="823"/>
                    </a:lnTo>
                    <a:lnTo>
                      <a:pt x="133" y="812"/>
                    </a:lnTo>
                    <a:lnTo>
                      <a:pt x="133" y="803"/>
                    </a:lnTo>
                    <a:lnTo>
                      <a:pt x="133" y="795"/>
                    </a:lnTo>
                    <a:lnTo>
                      <a:pt x="133" y="786"/>
                    </a:lnTo>
                    <a:lnTo>
                      <a:pt x="133" y="775"/>
                    </a:lnTo>
                    <a:lnTo>
                      <a:pt x="137" y="761"/>
                    </a:lnTo>
                    <a:lnTo>
                      <a:pt x="137" y="749"/>
                    </a:lnTo>
                    <a:lnTo>
                      <a:pt x="137" y="738"/>
                    </a:lnTo>
                    <a:lnTo>
                      <a:pt x="137" y="724"/>
                    </a:lnTo>
                    <a:lnTo>
                      <a:pt x="137" y="709"/>
                    </a:lnTo>
                    <a:lnTo>
                      <a:pt x="137" y="695"/>
                    </a:lnTo>
                    <a:lnTo>
                      <a:pt x="142" y="678"/>
                    </a:lnTo>
                    <a:lnTo>
                      <a:pt x="142" y="664"/>
                    </a:lnTo>
                    <a:lnTo>
                      <a:pt x="142" y="650"/>
                    </a:lnTo>
                    <a:lnTo>
                      <a:pt x="142" y="635"/>
                    </a:lnTo>
                    <a:lnTo>
                      <a:pt x="147" y="618"/>
                    </a:lnTo>
                    <a:lnTo>
                      <a:pt x="147" y="601"/>
                    </a:lnTo>
                    <a:lnTo>
                      <a:pt x="147" y="584"/>
                    </a:lnTo>
                    <a:lnTo>
                      <a:pt x="147" y="567"/>
                    </a:lnTo>
                    <a:lnTo>
                      <a:pt x="147" y="550"/>
                    </a:lnTo>
                    <a:lnTo>
                      <a:pt x="147" y="533"/>
                    </a:lnTo>
                    <a:lnTo>
                      <a:pt x="147" y="519"/>
                    </a:lnTo>
                    <a:lnTo>
                      <a:pt x="151" y="499"/>
                    </a:lnTo>
                    <a:lnTo>
                      <a:pt x="156" y="482"/>
                    </a:lnTo>
                    <a:lnTo>
                      <a:pt x="156" y="464"/>
                    </a:lnTo>
                    <a:lnTo>
                      <a:pt x="156" y="447"/>
                    </a:lnTo>
                    <a:lnTo>
                      <a:pt x="156" y="430"/>
                    </a:lnTo>
                    <a:lnTo>
                      <a:pt x="160" y="410"/>
                    </a:lnTo>
                    <a:lnTo>
                      <a:pt x="160" y="396"/>
                    </a:lnTo>
                    <a:lnTo>
                      <a:pt x="160" y="376"/>
                    </a:lnTo>
                    <a:lnTo>
                      <a:pt x="160" y="362"/>
                    </a:lnTo>
                    <a:lnTo>
                      <a:pt x="160" y="345"/>
                    </a:lnTo>
                    <a:lnTo>
                      <a:pt x="160" y="328"/>
                    </a:lnTo>
                    <a:lnTo>
                      <a:pt x="165" y="311"/>
                    </a:lnTo>
                    <a:lnTo>
                      <a:pt x="165" y="294"/>
                    </a:lnTo>
                    <a:lnTo>
                      <a:pt x="165" y="282"/>
                    </a:lnTo>
                    <a:lnTo>
                      <a:pt x="165" y="265"/>
                    </a:lnTo>
                    <a:lnTo>
                      <a:pt x="169" y="251"/>
                    </a:lnTo>
                    <a:lnTo>
                      <a:pt x="169" y="237"/>
                    </a:lnTo>
                    <a:lnTo>
                      <a:pt x="169" y="222"/>
                    </a:lnTo>
                    <a:lnTo>
                      <a:pt x="169" y="208"/>
                    </a:lnTo>
                    <a:lnTo>
                      <a:pt x="169" y="194"/>
                    </a:lnTo>
                    <a:lnTo>
                      <a:pt x="174" y="183"/>
                    </a:lnTo>
                    <a:lnTo>
                      <a:pt x="174" y="171"/>
                    </a:lnTo>
                    <a:lnTo>
                      <a:pt x="174" y="160"/>
                    </a:lnTo>
                    <a:lnTo>
                      <a:pt x="174" y="148"/>
                    </a:lnTo>
                    <a:lnTo>
                      <a:pt x="179" y="140"/>
                    </a:lnTo>
                    <a:lnTo>
                      <a:pt x="179" y="131"/>
                    </a:lnTo>
                    <a:lnTo>
                      <a:pt x="179" y="123"/>
                    </a:lnTo>
                    <a:lnTo>
                      <a:pt x="183" y="114"/>
                    </a:lnTo>
                    <a:lnTo>
                      <a:pt x="183" y="106"/>
                    </a:lnTo>
                    <a:lnTo>
                      <a:pt x="183" y="103"/>
                    </a:lnTo>
                    <a:lnTo>
                      <a:pt x="183" y="91"/>
                    </a:lnTo>
                    <a:lnTo>
                      <a:pt x="188" y="89"/>
                    </a:lnTo>
                    <a:lnTo>
                      <a:pt x="188" y="77"/>
                    </a:lnTo>
                    <a:lnTo>
                      <a:pt x="188" y="69"/>
                    </a:lnTo>
                    <a:lnTo>
                      <a:pt x="179" y="60"/>
                    </a:lnTo>
                    <a:lnTo>
                      <a:pt x="174" y="54"/>
                    </a:lnTo>
                    <a:lnTo>
                      <a:pt x="160" y="46"/>
                    </a:lnTo>
                    <a:lnTo>
                      <a:pt x="151" y="40"/>
                    </a:lnTo>
                    <a:lnTo>
                      <a:pt x="137" y="35"/>
                    </a:lnTo>
                    <a:lnTo>
                      <a:pt x="128" y="29"/>
                    </a:lnTo>
                    <a:lnTo>
                      <a:pt x="115" y="20"/>
                    </a:lnTo>
                    <a:lnTo>
                      <a:pt x="101" y="15"/>
                    </a:lnTo>
                    <a:lnTo>
                      <a:pt x="87" y="12"/>
                    </a:lnTo>
                    <a:lnTo>
                      <a:pt x="78" y="9"/>
                    </a:lnTo>
                    <a:lnTo>
                      <a:pt x="60" y="3"/>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4" name="Freeform 37"/>
              <p:cNvSpPr>
                <a:spLocks/>
              </p:cNvSpPr>
              <p:nvPr>
                <p:custDataLst>
                  <p:tags r:id="rId166"/>
                </p:custDataLst>
              </p:nvPr>
            </p:nvSpPr>
            <p:spPr bwMode="gray">
              <a:xfrm>
                <a:off x="3443" y="1961"/>
                <a:ext cx="188" cy="716"/>
              </a:xfrm>
              <a:custGeom>
                <a:avLst/>
                <a:gdLst>
                  <a:gd name="T0" fmla="*/ 190 w 183"/>
                  <a:gd name="T1" fmla="*/ 5 h 783"/>
                  <a:gd name="T2" fmla="*/ 196 w 183"/>
                  <a:gd name="T3" fmla="*/ 14 h 783"/>
                  <a:gd name="T4" fmla="*/ 208 w 183"/>
                  <a:gd name="T5" fmla="*/ 24 h 783"/>
                  <a:gd name="T6" fmla="*/ 208 w 183"/>
                  <a:gd name="T7" fmla="*/ 37 h 783"/>
                  <a:gd name="T8" fmla="*/ 221 w 183"/>
                  <a:gd name="T9" fmla="*/ 51 h 783"/>
                  <a:gd name="T10" fmla="*/ 229 w 183"/>
                  <a:gd name="T11" fmla="*/ 65 h 783"/>
                  <a:gd name="T12" fmla="*/ 234 w 183"/>
                  <a:gd name="T13" fmla="*/ 83 h 783"/>
                  <a:gd name="T14" fmla="*/ 234 w 183"/>
                  <a:gd name="T15" fmla="*/ 100 h 783"/>
                  <a:gd name="T16" fmla="*/ 240 w 183"/>
                  <a:gd name="T17" fmla="*/ 116 h 783"/>
                  <a:gd name="T18" fmla="*/ 246 w 183"/>
                  <a:gd name="T19" fmla="*/ 134 h 783"/>
                  <a:gd name="T20" fmla="*/ 253 w 183"/>
                  <a:gd name="T21" fmla="*/ 152 h 783"/>
                  <a:gd name="T22" fmla="*/ 253 w 183"/>
                  <a:gd name="T23" fmla="*/ 167 h 783"/>
                  <a:gd name="T24" fmla="*/ 253 w 183"/>
                  <a:gd name="T25" fmla="*/ 183 h 783"/>
                  <a:gd name="T26" fmla="*/ 253 w 183"/>
                  <a:gd name="T27" fmla="*/ 199 h 783"/>
                  <a:gd name="T28" fmla="*/ 253 w 183"/>
                  <a:gd name="T29" fmla="*/ 214 h 783"/>
                  <a:gd name="T30" fmla="*/ 253 w 183"/>
                  <a:gd name="T31" fmla="*/ 229 h 783"/>
                  <a:gd name="T32" fmla="*/ 253 w 183"/>
                  <a:gd name="T33" fmla="*/ 240 h 783"/>
                  <a:gd name="T34" fmla="*/ 253 w 183"/>
                  <a:gd name="T35" fmla="*/ 250 h 783"/>
                  <a:gd name="T36" fmla="*/ 253 w 183"/>
                  <a:gd name="T37" fmla="*/ 257 h 783"/>
                  <a:gd name="T38" fmla="*/ 246 w 183"/>
                  <a:gd name="T39" fmla="*/ 264 h 783"/>
                  <a:gd name="T40" fmla="*/ 240 w 183"/>
                  <a:gd name="T41" fmla="*/ 268 h 783"/>
                  <a:gd name="T42" fmla="*/ 177 w 183"/>
                  <a:gd name="T43" fmla="*/ 265 h 783"/>
                  <a:gd name="T44" fmla="*/ 107 w 183"/>
                  <a:gd name="T45" fmla="*/ 265 h 783"/>
                  <a:gd name="T46" fmla="*/ 88 w 183"/>
                  <a:gd name="T47" fmla="*/ 265 h 783"/>
                  <a:gd name="T48" fmla="*/ 88 w 183"/>
                  <a:gd name="T49" fmla="*/ 258 h 783"/>
                  <a:gd name="T50" fmla="*/ 88 w 183"/>
                  <a:gd name="T51" fmla="*/ 250 h 783"/>
                  <a:gd name="T52" fmla="*/ 88 w 183"/>
                  <a:gd name="T53" fmla="*/ 242 h 783"/>
                  <a:gd name="T54" fmla="*/ 83 w 183"/>
                  <a:gd name="T55" fmla="*/ 233 h 783"/>
                  <a:gd name="T56" fmla="*/ 83 w 183"/>
                  <a:gd name="T57" fmla="*/ 220 h 783"/>
                  <a:gd name="T58" fmla="*/ 83 w 183"/>
                  <a:gd name="T59" fmla="*/ 209 h 783"/>
                  <a:gd name="T60" fmla="*/ 79 w 183"/>
                  <a:gd name="T61" fmla="*/ 196 h 783"/>
                  <a:gd name="T62" fmla="*/ 69 w 183"/>
                  <a:gd name="T63" fmla="*/ 181 h 783"/>
                  <a:gd name="T64" fmla="*/ 69 w 183"/>
                  <a:gd name="T65" fmla="*/ 167 h 783"/>
                  <a:gd name="T66" fmla="*/ 69 w 183"/>
                  <a:gd name="T67" fmla="*/ 153 h 783"/>
                  <a:gd name="T68" fmla="*/ 61 w 183"/>
                  <a:gd name="T69" fmla="*/ 139 h 783"/>
                  <a:gd name="T70" fmla="*/ 61 w 183"/>
                  <a:gd name="T71" fmla="*/ 126 h 783"/>
                  <a:gd name="T72" fmla="*/ 61 w 183"/>
                  <a:gd name="T73" fmla="*/ 112 h 783"/>
                  <a:gd name="T74" fmla="*/ 61 w 183"/>
                  <a:gd name="T75" fmla="*/ 100 h 783"/>
                  <a:gd name="T76" fmla="*/ 61 w 183"/>
                  <a:gd name="T77" fmla="*/ 87 h 783"/>
                  <a:gd name="T78" fmla="*/ 61 w 183"/>
                  <a:gd name="T79" fmla="*/ 78 h 783"/>
                  <a:gd name="T80" fmla="*/ 61 w 183"/>
                  <a:gd name="T81" fmla="*/ 68 h 783"/>
                  <a:gd name="T82" fmla="*/ 61 w 183"/>
                  <a:gd name="T83" fmla="*/ 59 h 783"/>
                  <a:gd name="T84" fmla="*/ 61 w 183"/>
                  <a:gd name="T85" fmla="*/ 53 h 783"/>
                  <a:gd name="T86" fmla="*/ 53 w 183"/>
                  <a:gd name="T87" fmla="*/ 45 h 783"/>
                  <a:gd name="T88" fmla="*/ 49 w 183"/>
                  <a:gd name="T89" fmla="*/ 34 h 783"/>
                  <a:gd name="T90" fmla="*/ 39 w 183"/>
                  <a:gd name="T91" fmla="*/ 24 h 783"/>
                  <a:gd name="T92" fmla="*/ 14 w 183"/>
                  <a:gd name="T93" fmla="*/ 16 h 783"/>
                  <a:gd name="T94" fmla="*/ 0 w 183"/>
                  <a:gd name="T95" fmla="*/ 11 h 783"/>
                  <a:gd name="T96" fmla="*/ 185 w 183"/>
                  <a:gd name="T97" fmla="*/ 0 h 7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
                  <a:gd name="T148" fmla="*/ 0 h 783"/>
                  <a:gd name="T149" fmla="*/ 183 w 183"/>
                  <a:gd name="T150" fmla="*/ 783 h 7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 h="783">
                    <a:moveTo>
                      <a:pt x="133" y="0"/>
                    </a:moveTo>
                    <a:lnTo>
                      <a:pt x="133" y="5"/>
                    </a:lnTo>
                    <a:lnTo>
                      <a:pt x="137" y="11"/>
                    </a:lnTo>
                    <a:lnTo>
                      <a:pt x="137" y="20"/>
                    </a:lnTo>
                    <a:lnTo>
                      <a:pt x="142" y="28"/>
                    </a:lnTo>
                    <a:lnTo>
                      <a:pt x="142" y="39"/>
                    </a:lnTo>
                    <a:lnTo>
                      <a:pt x="146" y="48"/>
                    </a:lnTo>
                    <a:lnTo>
                      <a:pt x="146" y="59"/>
                    </a:lnTo>
                    <a:lnTo>
                      <a:pt x="151" y="71"/>
                    </a:lnTo>
                    <a:lnTo>
                      <a:pt x="151" y="82"/>
                    </a:lnTo>
                    <a:lnTo>
                      <a:pt x="151" y="94"/>
                    </a:lnTo>
                    <a:lnTo>
                      <a:pt x="151" y="108"/>
                    </a:lnTo>
                    <a:lnTo>
                      <a:pt x="155" y="122"/>
                    </a:lnTo>
                    <a:lnTo>
                      <a:pt x="155" y="136"/>
                    </a:lnTo>
                    <a:lnTo>
                      <a:pt x="160" y="151"/>
                    </a:lnTo>
                    <a:lnTo>
                      <a:pt x="160" y="165"/>
                    </a:lnTo>
                    <a:lnTo>
                      <a:pt x="165" y="179"/>
                    </a:lnTo>
                    <a:lnTo>
                      <a:pt x="165" y="193"/>
                    </a:lnTo>
                    <a:lnTo>
                      <a:pt x="165" y="207"/>
                    </a:lnTo>
                    <a:lnTo>
                      <a:pt x="169" y="225"/>
                    </a:lnTo>
                    <a:lnTo>
                      <a:pt x="169" y="242"/>
                    </a:lnTo>
                    <a:lnTo>
                      <a:pt x="169" y="256"/>
                    </a:lnTo>
                    <a:lnTo>
                      <a:pt x="169" y="273"/>
                    </a:lnTo>
                    <a:lnTo>
                      <a:pt x="169" y="290"/>
                    </a:lnTo>
                    <a:lnTo>
                      <a:pt x="174" y="307"/>
                    </a:lnTo>
                    <a:lnTo>
                      <a:pt x="174" y="324"/>
                    </a:lnTo>
                    <a:lnTo>
                      <a:pt x="174" y="338"/>
                    </a:lnTo>
                    <a:lnTo>
                      <a:pt x="174" y="356"/>
                    </a:lnTo>
                    <a:lnTo>
                      <a:pt x="178" y="373"/>
                    </a:lnTo>
                    <a:lnTo>
                      <a:pt x="178" y="390"/>
                    </a:lnTo>
                    <a:lnTo>
                      <a:pt x="178" y="407"/>
                    </a:lnTo>
                    <a:lnTo>
                      <a:pt x="183" y="424"/>
                    </a:lnTo>
                    <a:lnTo>
                      <a:pt x="183" y="444"/>
                    </a:lnTo>
                    <a:lnTo>
                      <a:pt x="183" y="458"/>
                    </a:lnTo>
                    <a:lnTo>
                      <a:pt x="183" y="475"/>
                    </a:lnTo>
                    <a:lnTo>
                      <a:pt x="183" y="489"/>
                    </a:lnTo>
                    <a:lnTo>
                      <a:pt x="183" y="509"/>
                    </a:lnTo>
                    <a:lnTo>
                      <a:pt x="183" y="521"/>
                    </a:lnTo>
                    <a:lnTo>
                      <a:pt x="183" y="538"/>
                    </a:lnTo>
                    <a:lnTo>
                      <a:pt x="183" y="555"/>
                    </a:lnTo>
                    <a:lnTo>
                      <a:pt x="183" y="569"/>
                    </a:lnTo>
                    <a:lnTo>
                      <a:pt x="183" y="583"/>
                    </a:lnTo>
                    <a:lnTo>
                      <a:pt x="183" y="598"/>
                    </a:lnTo>
                    <a:lnTo>
                      <a:pt x="183" y="612"/>
                    </a:lnTo>
                    <a:lnTo>
                      <a:pt x="183" y="626"/>
                    </a:lnTo>
                    <a:lnTo>
                      <a:pt x="183" y="637"/>
                    </a:lnTo>
                    <a:lnTo>
                      <a:pt x="183" y="655"/>
                    </a:lnTo>
                    <a:lnTo>
                      <a:pt x="183" y="666"/>
                    </a:lnTo>
                    <a:lnTo>
                      <a:pt x="183" y="680"/>
                    </a:lnTo>
                    <a:lnTo>
                      <a:pt x="183" y="689"/>
                    </a:lnTo>
                    <a:lnTo>
                      <a:pt x="183" y="700"/>
                    </a:lnTo>
                    <a:lnTo>
                      <a:pt x="183" y="709"/>
                    </a:lnTo>
                    <a:lnTo>
                      <a:pt x="183" y="720"/>
                    </a:lnTo>
                    <a:lnTo>
                      <a:pt x="183" y="729"/>
                    </a:lnTo>
                    <a:lnTo>
                      <a:pt x="183" y="737"/>
                    </a:lnTo>
                    <a:lnTo>
                      <a:pt x="183" y="746"/>
                    </a:lnTo>
                    <a:lnTo>
                      <a:pt x="183" y="751"/>
                    </a:lnTo>
                    <a:lnTo>
                      <a:pt x="178" y="760"/>
                    </a:lnTo>
                    <a:lnTo>
                      <a:pt x="178" y="766"/>
                    </a:lnTo>
                    <a:lnTo>
                      <a:pt x="178" y="771"/>
                    </a:lnTo>
                    <a:lnTo>
                      <a:pt x="178" y="774"/>
                    </a:lnTo>
                    <a:lnTo>
                      <a:pt x="174" y="780"/>
                    </a:lnTo>
                    <a:lnTo>
                      <a:pt x="174" y="783"/>
                    </a:lnTo>
                    <a:lnTo>
                      <a:pt x="165" y="780"/>
                    </a:lnTo>
                    <a:lnTo>
                      <a:pt x="151" y="780"/>
                    </a:lnTo>
                    <a:lnTo>
                      <a:pt x="128" y="780"/>
                    </a:lnTo>
                    <a:lnTo>
                      <a:pt x="110" y="780"/>
                    </a:lnTo>
                    <a:lnTo>
                      <a:pt x="96" y="777"/>
                    </a:lnTo>
                    <a:lnTo>
                      <a:pt x="78" y="777"/>
                    </a:lnTo>
                    <a:lnTo>
                      <a:pt x="69" y="777"/>
                    </a:lnTo>
                    <a:lnTo>
                      <a:pt x="64" y="777"/>
                    </a:lnTo>
                    <a:lnTo>
                      <a:pt x="64" y="771"/>
                    </a:lnTo>
                    <a:lnTo>
                      <a:pt x="64" y="763"/>
                    </a:lnTo>
                    <a:lnTo>
                      <a:pt x="64" y="754"/>
                    </a:lnTo>
                    <a:lnTo>
                      <a:pt x="64" y="749"/>
                    </a:lnTo>
                    <a:lnTo>
                      <a:pt x="64" y="740"/>
                    </a:lnTo>
                    <a:lnTo>
                      <a:pt x="64" y="734"/>
                    </a:lnTo>
                    <a:lnTo>
                      <a:pt x="64" y="726"/>
                    </a:lnTo>
                    <a:lnTo>
                      <a:pt x="64" y="714"/>
                    </a:lnTo>
                    <a:lnTo>
                      <a:pt x="64" y="709"/>
                    </a:lnTo>
                    <a:lnTo>
                      <a:pt x="64" y="700"/>
                    </a:lnTo>
                    <a:lnTo>
                      <a:pt x="64" y="692"/>
                    </a:lnTo>
                    <a:lnTo>
                      <a:pt x="59" y="680"/>
                    </a:lnTo>
                    <a:lnTo>
                      <a:pt x="59" y="669"/>
                    </a:lnTo>
                    <a:lnTo>
                      <a:pt x="59" y="657"/>
                    </a:lnTo>
                    <a:lnTo>
                      <a:pt x="59" y="646"/>
                    </a:lnTo>
                    <a:lnTo>
                      <a:pt x="59" y="632"/>
                    </a:lnTo>
                    <a:lnTo>
                      <a:pt x="59" y="620"/>
                    </a:lnTo>
                    <a:lnTo>
                      <a:pt x="59" y="609"/>
                    </a:lnTo>
                    <a:lnTo>
                      <a:pt x="59" y="598"/>
                    </a:lnTo>
                    <a:lnTo>
                      <a:pt x="55" y="583"/>
                    </a:lnTo>
                    <a:lnTo>
                      <a:pt x="55" y="572"/>
                    </a:lnTo>
                    <a:lnTo>
                      <a:pt x="50" y="558"/>
                    </a:lnTo>
                    <a:lnTo>
                      <a:pt x="50" y="543"/>
                    </a:lnTo>
                    <a:lnTo>
                      <a:pt x="50" y="529"/>
                    </a:lnTo>
                    <a:lnTo>
                      <a:pt x="50" y="521"/>
                    </a:lnTo>
                    <a:lnTo>
                      <a:pt x="50" y="506"/>
                    </a:lnTo>
                    <a:lnTo>
                      <a:pt x="50" y="492"/>
                    </a:lnTo>
                    <a:lnTo>
                      <a:pt x="50" y="478"/>
                    </a:lnTo>
                    <a:lnTo>
                      <a:pt x="50" y="464"/>
                    </a:lnTo>
                    <a:lnTo>
                      <a:pt x="50" y="450"/>
                    </a:lnTo>
                    <a:lnTo>
                      <a:pt x="50" y="435"/>
                    </a:lnTo>
                    <a:lnTo>
                      <a:pt x="46" y="421"/>
                    </a:lnTo>
                    <a:lnTo>
                      <a:pt x="46" y="407"/>
                    </a:lnTo>
                    <a:lnTo>
                      <a:pt x="46" y="393"/>
                    </a:lnTo>
                    <a:lnTo>
                      <a:pt x="46" y="381"/>
                    </a:lnTo>
                    <a:lnTo>
                      <a:pt x="46" y="367"/>
                    </a:lnTo>
                    <a:lnTo>
                      <a:pt x="46" y="353"/>
                    </a:lnTo>
                    <a:lnTo>
                      <a:pt x="46" y="338"/>
                    </a:lnTo>
                    <a:lnTo>
                      <a:pt x="46" y="327"/>
                    </a:lnTo>
                    <a:lnTo>
                      <a:pt x="46" y="313"/>
                    </a:lnTo>
                    <a:lnTo>
                      <a:pt x="46" y="301"/>
                    </a:lnTo>
                    <a:lnTo>
                      <a:pt x="46" y="290"/>
                    </a:lnTo>
                    <a:lnTo>
                      <a:pt x="46" y="279"/>
                    </a:lnTo>
                    <a:lnTo>
                      <a:pt x="46" y="267"/>
                    </a:lnTo>
                    <a:lnTo>
                      <a:pt x="46" y="256"/>
                    </a:lnTo>
                    <a:lnTo>
                      <a:pt x="46" y="244"/>
                    </a:lnTo>
                    <a:lnTo>
                      <a:pt x="46" y="233"/>
                    </a:lnTo>
                    <a:lnTo>
                      <a:pt x="46" y="225"/>
                    </a:lnTo>
                    <a:lnTo>
                      <a:pt x="46" y="213"/>
                    </a:lnTo>
                    <a:lnTo>
                      <a:pt x="46" y="207"/>
                    </a:lnTo>
                    <a:lnTo>
                      <a:pt x="46" y="199"/>
                    </a:lnTo>
                    <a:lnTo>
                      <a:pt x="46" y="188"/>
                    </a:lnTo>
                    <a:lnTo>
                      <a:pt x="46" y="182"/>
                    </a:lnTo>
                    <a:lnTo>
                      <a:pt x="46" y="176"/>
                    </a:lnTo>
                    <a:lnTo>
                      <a:pt x="46" y="170"/>
                    </a:lnTo>
                    <a:lnTo>
                      <a:pt x="46" y="159"/>
                    </a:lnTo>
                    <a:lnTo>
                      <a:pt x="46" y="153"/>
                    </a:lnTo>
                    <a:lnTo>
                      <a:pt x="41" y="145"/>
                    </a:lnTo>
                    <a:lnTo>
                      <a:pt x="41" y="136"/>
                    </a:lnTo>
                    <a:lnTo>
                      <a:pt x="41" y="131"/>
                    </a:lnTo>
                    <a:lnTo>
                      <a:pt x="41" y="125"/>
                    </a:lnTo>
                    <a:lnTo>
                      <a:pt x="41" y="113"/>
                    </a:lnTo>
                    <a:lnTo>
                      <a:pt x="37" y="102"/>
                    </a:lnTo>
                    <a:lnTo>
                      <a:pt x="32" y="91"/>
                    </a:lnTo>
                    <a:lnTo>
                      <a:pt x="27" y="79"/>
                    </a:lnTo>
                    <a:lnTo>
                      <a:pt x="27" y="71"/>
                    </a:lnTo>
                    <a:lnTo>
                      <a:pt x="23" y="62"/>
                    </a:lnTo>
                    <a:lnTo>
                      <a:pt x="18" y="54"/>
                    </a:lnTo>
                    <a:lnTo>
                      <a:pt x="14" y="48"/>
                    </a:lnTo>
                    <a:lnTo>
                      <a:pt x="9" y="39"/>
                    </a:lnTo>
                    <a:lnTo>
                      <a:pt x="5" y="37"/>
                    </a:lnTo>
                    <a:lnTo>
                      <a:pt x="0" y="31"/>
                    </a:lnTo>
                    <a:lnTo>
                      <a:pt x="0" y="28"/>
                    </a:lnTo>
                    <a:lnTo>
                      <a:pt x="13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5" name="Freeform 38"/>
              <p:cNvSpPr>
                <a:spLocks/>
              </p:cNvSpPr>
              <p:nvPr>
                <p:custDataLst>
                  <p:tags r:id="rId167"/>
                </p:custDataLst>
              </p:nvPr>
            </p:nvSpPr>
            <p:spPr bwMode="gray">
              <a:xfrm>
                <a:off x="1495" y="2448"/>
                <a:ext cx="168" cy="93"/>
              </a:xfrm>
              <a:custGeom>
                <a:avLst/>
                <a:gdLst>
                  <a:gd name="T0" fmla="*/ 44 w 164"/>
                  <a:gd name="T1" fmla="*/ 3 h 103"/>
                  <a:gd name="T2" fmla="*/ 35 w 164"/>
                  <a:gd name="T3" fmla="*/ 5 h 103"/>
                  <a:gd name="T4" fmla="*/ 14 w 164"/>
                  <a:gd name="T5" fmla="*/ 7 h 103"/>
                  <a:gd name="T6" fmla="*/ 9 w 164"/>
                  <a:gd name="T7" fmla="*/ 10 h 103"/>
                  <a:gd name="T8" fmla="*/ 4 w 164"/>
                  <a:gd name="T9" fmla="*/ 12 h 103"/>
                  <a:gd name="T10" fmla="*/ 0 w 164"/>
                  <a:gd name="T11" fmla="*/ 14 h 103"/>
                  <a:gd name="T12" fmla="*/ 0 w 164"/>
                  <a:gd name="T13" fmla="*/ 15 h 103"/>
                  <a:gd name="T14" fmla="*/ 0 w 164"/>
                  <a:gd name="T15" fmla="*/ 17 h 103"/>
                  <a:gd name="T16" fmla="*/ 4 w 164"/>
                  <a:gd name="T17" fmla="*/ 20 h 103"/>
                  <a:gd name="T18" fmla="*/ 4 w 164"/>
                  <a:gd name="T19" fmla="*/ 22 h 103"/>
                  <a:gd name="T20" fmla="*/ 14 w 164"/>
                  <a:gd name="T21" fmla="*/ 25 h 103"/>
                  <a:gd name="T22" fmla="*/ 35 w 164"/>
                  <a:gd name="T23" fmla="*/ 27 h 103"/>
                  <a:gd name="T24" fmla="*/ 44 w 164"/>
                  <a:gd name="T25" fmla="*/ 28 h 103"/>
                  <a:gd name="T26" fmla="*/ 58 w 164"/>
                  <a:gd name="T27" fmla="*/ 30 h 103"/>
                  <a:gd name="T28" fmla="*/ 80 w 164"/>
                  <a:gd name="T29" fmla="*/ 30 h 103"/>
                  <a:gd name="T30" fmla="*/ 97 w 164"/>
                  <a:gd name="T31" fmla="*/ 30 h 103"/>
                  <a:gd name="T32" fmla="*/ 121 w 164"/>
                  <a:gd name="T33" fmla="*/ 31 h 103"/>
                  <a:gd name="T34" fmla="*/ 141 w 164"/>
                  <a:gd name="T35" fmla="*/ 30 h 103"/>
                  <a:gd name="T36" fmla="*/ 152 w 164"/>
                  <a:gd name="T37" fmla="*/ 30 h 103"/>
                  <a:gd name="T38" fmla="*/ 164 w 164"/>
                  <a:gd name="T39" fmla="*/ 28 h 103"/>
                  <a:gd name="T40" fmla="*/ 182 w 164"/>
                  <a:gd name="T41" fmla="*/ 28 h 103"/>
                  <a:gd name="T42" fmla="*/ 202 w 164"/>
                  <a:gd name="T43" fmla="*/ 25 h 103"/>
                  <a:gd name="T44" fmla="*/ 207 w 164"/>
                  <a:gd name="T45" fmla="*/ 22 h 103"/>
                  <a:gd name="T46" fmla="*/ 213 w 164"/>
                  <a:gd name="T47" fmla="*/ 20 h 103"/>
                  <a:gd name="T48" fmla="*/ 218 w 164"/>
                  <a:gd name="T49" fmla="*/ 17 h 103"/>
                  <a:gd name="T50" fmla="*/ 213 w 164"/>
                  <a:gd name="T51" fmla="*/ 14 h 103"/>
                  <a:gd name="T52" fmla="*/ 213 w 164"/>
                  <a:gd name="T53" fmla="*/ 11 h 103"/>
                  <a:gd name="T54" fmla="*/ 207 w 164"/>
                  <a:gd name="T55" fmla="*/ 8 h 103"/>
                  <a:gd name="T56" fmla="*/ 202 w 164"/>
                  <a:gd name="T57" fmla="*/ 5 h 103"/>
                  <a:gd name="T58" fmla="*/ 182 w 164"/>
                  <a:gd name="T59" fmla="*/ 5 h 103"/>
                  <a:gd name="T60" fmla="*/ 158 w 164"/>
                  <a:gd name="T61" fmla="*/ 5 h 103"/>
                  <a:gd name="T62" fmla="*/ 146 w 164"/>
                  <a:gd name="T63" fmla="*/ 5 h 103"/>
                  <a:gd name="T64" fmla="*/ 134 w 164"/>
                  <a:gd name="T65" fmla="*/ 3 h 103"/>
                  <a:gd name="T66" fmla="*/ 121 w 164"/>
                  <a:gd name="T67" fmla="*/ 3 h 103"/>
                  <a:gd name="T68" fmla="*/ 107 w 164"/>
                  <a:gd name="T69" fmla="*/ 3 h 103"/>
                  <a:gd name="T70" fmla="*/ 80 w 164"/>
                  <a:gd name="T71" fmla="*/ 0 h 103"/>
                  <a:gd name="T72" fmla="*/ 58 w 164"/>
                  <a:gd name="T73" fmla="*/ 0 h 103"/>
                  <a:gd name="T74" fmla="*/ 48 w 164"/>
                  <a:gd name="T75" fmla="*/ 0 h 103"/>
                  <a:gd name="T76" fmla="*/ 44 w 164"/>
                  <a:gd name="T77" fmla="*/ 3 h 103"/>
                  <a:gd name="T78" fmla="*/ 44 w 164"/>
                  <a:gd name="T79" fmla="*/ 3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103"/>
                  <a:gd name="T122" fmla="*/ 164 w 164"/>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103">
                    <a:moveTo>
                      <a:pt x="32" y="3"/>
                    </a:moveTo>
                    <a:lnTo>
                      <a:pt x="23" y="11"/>
                    </a:lnTo>
                    <a:lnTo>
                      <a:pt x="14" y="23"/>
                    </a:lnTo>
                    <a:lnTo>
                      <a:pt x="9" y="31"/>
                    </a:lnTo>
                    <a:lnTo>
                      <a:pt x="4" y="40"/>
                    </a:lnTo>
                    <a:lnTo>
                      <a:pt x="0" y="46"/>
                    </a:lnTo>
                    <a:lnTo>
                      <a:pt x="0" y="51"/>
                    </a:lnTo>
                    <a:lnTo>
                      <a:pt x="0" y="57"/>
                    </a:lnTo>
                    <a:lnTo>
                      <a:pt x="4" y="66"/>
                    </a:lnTo>
                    <a:lnTo>
                      <a:pt x="4" y="74"/>
                    </a:lnTo>
                    <a:lnTo>
                      <a:pt x="14" y="86"/>
                    </a:lnTo>
                    <a:lnTo>
                      <a:pt x="23" y="91"/>
                    </a:lnTo>
                    <a:lnTo>
                      <a:pt x="32" y="97"/>
                    </a:lnTo>
                    <a:lnTo>
                      <a:pt x="46" y="100"/>
                    </a:lnTo>
                    <a:lnTo>
                      <a:pt x="59" y="100"/>
                    </a:lnTo>
                    <a:lnTo>
                      <a:pt x="73" y="100"/>
                    </a:lnTo>
                    <a:lnTo>
                      <a:pt x="91" y="103"/>
                    </a:lnTo>
                    <a:lnTo>
                      <a:pt x="105" y="100"/>
                    </a:lnTo>
                    <a:lnTo>
                      <a:pt x="114" y="100"/>
                    </a:lnTo>
                    <a:lnTo>
                      <a:pt x="123" y="94"/>
                    </a:lnTo>
                    <a:lnTo>
                      <a:pt x="137" y="94"/>
                    </a:lnTo>
                    <a:lnTo>
                      <a:pt x="151" y="86"/>
                    </a:lnTo>
                    <a:lnTo>
                      <a:pt x="155" y="74"/>
                    </a:lnTo>
                    <a:lnTo>
                      <a:pt x="160" y="66"/>
                    </a:lnTo>
                    <a:lnTo>
                      <a:pt x="164" y="57"/>
                    </a:lnTo>
                    <a:lnTo>
                      <a:pt x="160" y="46"/>
                    </a:lnTo>
                    <a:lnTo>
                      <a:pt x="160" y="34"/>
                    </a:lnTo>
                    <a:lnTo>
                      <a:pt x="155" y="26"/>
                    </a:lnTo>
                    <a:lnTo>
                      <a:pt x="151" y="20"/>
                    </a:lnTo>
                    <a:lnTo>
                      <a:pt x="137" y="9"/>
                    </a:lnTo>
                    <a:lnTo>
                      <a:pt x="119" y="9"/>
                    </a:lnTo>
                    <a:lnTo>
                      <a:pt x="110" y="6"/>
                    </a:lnTo>
                    <a:lnTo>
                      <a:pt x="100" y="3"/>
                    </a:lnTo>
                    <a:lnTo>
                      <a:pt x="91" y="3"/>
                    </a:lnTo>
                    <a:lnTo>
                      <a:pt x="82" y="3"/>
                    </a:lnTo>
                    <a:lnTo>
                      <a:pt x="59" y="0"/>
                    </a:lnTo>
                    <a:lnTo>
                      <a:pt x="46" y="0"/>
                    </a:lnTo>
                    <a:lnTo>
                      <a:pt x="36"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6" name="Freeform 39"/>
              <p:cNvSpPr>
                <a:spLocks/>
              </p:cNvSpPr>
              <p:nvPr>
                <p:custDataLst>
                  <p:tags r:id="rId168"/>
                </p:custDataLst>
              </p:nvPr>
            </p:nvSpPr>
            <p:spPr bwMode="gray">
              <a:xfrm>
                <a:off x="1382" y="1589"/>
                <a:ext cx="1064" cy="63"/>
              </a:xfrm>
              <a:custGeom>
                <a:avLst/>
                <a:gdLst>
                  <a:gd name="T0" fmla="*/ 116 w 1038"/>
                  <a:gd name="T1" fmla="*/ 5 h 69"/>
                  <a:gd name="T2" fmla="*/ 192 w 1038"/>
                  <a:gd name="T3" fmla="*/ 5 h 69"/>
                  <a:gd name="T4" fmla="*/ 270 w 1038"/>
                  <a:gd name="T5" fmla="*/ 5 h 69"/>
                  <a:gd name="T6" fmla="*/ 352 w 1038"/>
                  <a:gd name="T7" fmla="*/ 5 h 69"/>
                  <a:gd name="T8" fmla="*/ 437 w 1038"/>
                  <a:gd name="T9" fmla="*/ 8 h 69"/>
                  <a:gd name="T10" fmla="*/ 523 w 1038"/>
                  <a:gd name="T11" fmla="*/ 9 h 69"/>
                  <a:gd name="T12" fmla="*/ 611 w 1038"/>
                  <a:gd name="T13" fmla="*/ 10 h 69"/>
                  <a:gd name="T14" fmla="*/ 696 w 1038"/>
                  <a:gd name="T15" fmla="*/ 12 h 69"/>
                  <a:gd name="T16" fmla="*/ 782 w 1038"/>
                  <a:gd name="T17" fmla="*/ 12 h 69"/>
                  <a:gd name="T18" fmla="*/ 862 w 1038"/>
                  <a:gd name="T19" fmla="*/ 13 h 69"/>
                  <a:gd name="T20" fmla="*/ 947 w 1038"/>
                  <a:gd name="T21" fmla="*/ 15 h 69"/>
                  <a:gd name="T22" fmla="*/ 1014 w 1038"/>
                  <a:gd name="T23" fmla="*/ 15 h 69"/>
                  <a:gd name="T24" fmla="*/ 1088 w 1038"/>
                  <a:gd name="T25" fmla="*/ 15 h 69"/>
                  <a:gd name="T26" fmla="*/ 1157 w 1038"/>
                  <a:gd name="T27" fmla="*/ 15 h 69"/>
                  <a:gd name="T28" fmla="*/ 1218 w 1038"/>
                  <a:gd name="T29" fmla="*/ 16 h 69"/>
                  <a:gd name="T30" fmla="*/ 1267 w 1038"/>
                  <a:gd name="T31" fmla="*/ 16 h 69"/>
                  <a:gd name="T32" fmla="*/ 1310 w 1038"/>
                  <a:gd name="T33" fmla="*/ 16 h 69"/>
                  <a:gd name="T34" fmla="*/ 1359 w 1038"/>
                  <a:gd name="T35" fmla="*/ 16 h 69"/>
                  <a:gd name="T36" fmla="*/ 1396 w 1038"/>
                  <a:gd name="T37" fmla="*/ 18 h 69"/>
                  <a:gd name="T38" fmla="*/ 1383 w 1038"/>
                  <a:gd name="T39" fmla="*/ 18 h 69"/>
                  <a:gd name="T40" fmla="*/ 1335 w 1038"/>
                  <a:gd name="T41" fmla="*/ 18 h 69"/>
                  <a:gd name="T42" fmla="*/ 1280 w 1038"/>
                  <a:gd name="T43" fmla="*/ 19 h 69"/>
                  <a:gd name="T44" fmla="*/ 1199 w 1038"/>
                  <a:gd name="T45" fmla="*/ 20 h 69"/>
                  <a:gd name="T46" fmla="*/ 1143 w 1038"/>
                  <a:gd name="T47" fmla="*/ 20 h 69"/>
                  <a:gd name="T48" fmla="*/ 1101 w 1038"/>
                  <a:gd name="T49" fmla="*/ 20 h 69"/>
                  <a:gd name="T50" fmla="*/ 1053 w 1038"/>
                  <a:gd name="T51" fmla="*/ 22 h 69"/>
                  <a:gd name="T52" fmla="*/ 1004 w 1038"/>
                  <a:gd name="T53" fmla="*/ 22 h 69"/>
                  <a:gd name="T54" fmla="*/ 955 w 1038"/>
                  <a:gd name="T55" fmla="*/ 22 h 69"/>
                  <a:gd name="T56" fmla="*/ 897 w 1038"/>
                  <a:gd name="T57" fmla="*/ 24 h 69"/>
                  <a:gd name="T58" fmla="*/ 849 w 1038"/>
                  <a:gd name="T59" fmla="*/ 24 h 69"/>
                  <a:gd name="T60" fmla="*/ 800 w 1038"/>
                  <a:gd name="T61" fmla="*/ 24 h 69"/>
                  <a:gd name="T62" fmla="*/ 756 w 1038"/>
                  <a:gd name="T63" fmla="*/ 24 h 69"/>
                  <a:gd name="T64" fmla="*/ 708 w 1038"/>
                  <a:gd name="T65" fmla="*/ 24 h 69"/>
                  <a:gd name="T66" fmla="*/ 659 w 1038"/>
                  <a:gd name="T67" fmla="*/ 24 h 69"/>
                  <a:gd name="T68" fmla="*/ 615 w 1038"/>
                  <a:gd name="T69" fmla="*/ 22 h 69"/>
                  <a:gd name="T70" fmla="*/ 547 w 1038"/>
                  <a:gd name="T71" fmla="*/ 22 h 69"/>
                  <a:gd name="T72" fmla="*/ 504 w 1038"/>
                  <a:gd name="T73" fmla="*/ 20 h 69"/>
                  <a:gd name="T74" fmla="*/ 437 w 1038"/>
                  <a:gd name="T75" fmla="*/ 20 h 69"/>
                  <a:gd name="T76" fmla="*/ 363 w 1038"/>
                  <a:gd name="T77" fmla="*/ 18 h 69"/>
                  <a:gd name="T78" fmla="*/ 290 w 1038"/>
                  <a:gd name="T79" fmla="*/ 16 h 69"/>
                  <a:gd name="T80" fmla="*/ 221 w 1038"/>
                  <a:gd name="T81" fmla="*/ 15 h 69"/>
                  <a:gd name="T82" fmla="*/ 166 w 1038"/>
                  <a:gd name="T83" fmla="*/ 15 h 69"/>
                  <a:gd name="T84" fmla="*/ 109 w 1038"/>
                  <a:gd name="T85" fmla="*/ 13 h 69"/>
                  <a:gd name="T86" fmla="*/ 64 w 1038"/>
                  <a:gd name="T87" fmla="*/ 12 h 69"/>
                  <a:gd name="T88" fmla="*/ 18 w 1038"/>
                  <a:gd name="T89" fmla="*/ 11 h 69"/>
                  <a:gd name="T90" fmla="*/ 74 w 1038"/>
                  <a:gd name="T91" fmla="*/ 0 h 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8"/>
                  <a:gd name="T139" fmla="*/ 0 h 69"/>
                  <a:gd name="T140" fmla="*/ 1038 w 1038"/>
                  <a:gd name="T141" fmla="*/ 69 h 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8" h="69">
                    <a:moveTo>
                      <a:pt x="55" y="0"/>
                    </a:moveTo>
                    <a:lnTo>
                      <a:pt x="69" y="3"/>
                    </a:lnTo>
                    <a:lnTo>
                      <a:pt x="87" y="6"/>
                    </a:lnTo>
                    <a:lnTo>
                      <a:pt x="105" y="6"/>
                    </a:lnTo>
                    <a:lnTo>
                      <a:pt x="124" y="9"/>
                    </a:lnTo>
                    <a:lnTo>
                      <a:pt x="142" y="9"/>
                    </a:lnTo>
                    <a:lnTo>
                      <a:pt x="160" y="12"/>
                    </a:lnTo>
                    <a:lnTo>
                      <a:pt x="178" y="15"/>
                    </a:lnTo>
                    <a:lnTo>
                      <a:pt x="201" y="15"/>
                    </a:lnTo>
                    <a:lnTo>
                      <a:pt x="220" y="15"/>
                    </a:lnTo>
                    <a:lnTo>
                      <a:pt x="242" y="17"/>
                    </a:lnTo>
                    <a:lnTo>
                      <a:pt x="261" y="17"/>
                    </a:lnTo>
                    <a:lnTo>
                      <a:pt x="284" y="20"/>
                    </a:lnTo>
                    <a:lnTo>
                      <a:pt x="302" y="20"/>
                    </a:lnTo>
                    <a:lnTo>
                      <a:pt x="325" y="23"/>
                    </a:lnTo>
                    <a:lnTo>
                      <a:pt x="348" y="23"/>
                    </a:lnTo>
                    <a:lnTo>
                      <a:pt x="370" y="26"/>
                    </a:lnTo>
                    <a:lnTo>
                      <a:pt x="389" y="26"/>
                    </a:lnTo>
                    <a:lnTo>
                      <a:pt x="407" y="26"/>
                    </a:lnTo>
                    <a:lnTo>
                      <a:pt x="430" y="26"/>
                    </a:lnTo>
                    <a:lnTo>
                      <a:pt x="453" y="29"/>
                    </a:lnTo>
                    <a:lnTo>
                      <a:pt x="471" y="32"/>
                    </a:lnTo>
                    <a:lnTo>
                      <a:pt x="494" y="32"/>
                    </a:lnTo>
                    <a:lnTo>
                      <a:pt x="517" y="35"/>
                    </a:lnTo>
                    <a:lnTo>
                      <a:pt x="539" y="35"/>
                    </a:lnTo>
                    <a:lnTo>
                      <a:pt x="558" y="35"/>
                    </a:lnTo>
                    <a:lnTo>
                      <a:pt x="581" y="35"/>
                    </a:lnTo>
                    <a:lnTo>
                      <a:pt x="599" y="37"/>
                    </a:lnTo>
                    <a:lnTo>
                      <a:pt x="622" y="37"/>
                    </a:lnTo>
                    <a:lnTo>
                      <a:pt x="640" y="37"/>
                    </a:lnTo>
                    <a:lnTo>
                      <a:pt x="658" y="37"/>
                    </a:lnTo>
                    <a:lnTo>
                      <a:pt x="681" y="40"/>
                    </a:lnTo>
                    <a:lnTo>
                      <a:pt x="704" y="43"/>
                    </a:lnTo>
                    <a:lnTo>
                      <a:pt x="718" y="43"/>
                    </a:lnTo>
                    <a:lnTo>
                      <a:pt x="736" y="43"/>
                    </a:lnTo>
                    <a:lnTo>
                      <a:pt x="754" y="43"/>
                    </a:lnTo>
                    <a:lnTo>
                      <a:pt x="773" y="43"/>
                    </a:lnTo>
                    <a:lnTo>
                      <a:pt x="791" y="43"/>
                    </a:lnTo>
                    <a:lnTo>
                      <a:pt x="809" y="43"/>
                    </a:lnTo>
                    <a:lnTo>
                      <a:pt x="827" y="43"/>
                    </a:lnTo>
                    <a:lnTo>
                      <a:pt x="846" y="46"/>
                    </a:lnTo>
                    <a:lnTo>
                      <a:pt x="859" y="46"/>
                    </a:lnTo>
                    <a:lnTo>
                      <a:pt x="873" y="46"/>
                    </a:lnTo>
                    <a:lnTo>
                      <a:pt x="887" y="46"/>
                    </a:lnTo>
                    <a:lnTo>
                      <a:pt x="905" y="49"/>
                    </a:lnTo>
                    <a:lnTo>
                      <a:pt x="914" y="49"/>
                    </a:lnTo>
                    <a:lnTo>
                      <a:pt x="928" y="49"/>
                    </a:lnTo>
                    <a:lnTo>
                      <a:pt x="942" y="49"/>
                    </a:lnTo>
                    <a:lnTo>
                      <a:pt x="955" y="49"/>
                    </a:lnTo>
                    <a:lnTo>
                      <a:pt x="964" y="49"/>
                    </a:lnTo>
                    <a:lnTo>
                      <a:pt x="974" y="49"/>
                    </a:lnTo>
                    <a:lnTo>
                      <a:pt x="987" y="49"/>
                    </a:lnTo>
                    <a:lnTo>
                      <a:pt x="992" y="49"/>
                    </a:lnTo>
                    <a:lnTo>
                      <a:pt x="1010" y="49"/>
                    </a:lnTo>
                    <a:lnTo>
                      <a:pt x="1028" y="52"/>
                    </a:lnTo>
                    <a:lnTo>
                      <a:pt x="1033" y="52"/>
                    </a:lnTo>
                    <a:lnTo>
                      <a:pt x="1038" y="54"/>
                    </a:lnTo>
                    <a:lnTo>
                      <a:pt x="1033" y="54"/>
                    </a:lnTo>
                    <a:lnTo>
                      <a:pt x="1028" y="54"/>
                    </a:lnTo>
                    <a:lnTo>
                      <a:pt x="1015" y="54"/>
                    </a:lnTo>
                    <a:lnTo>
                      <a:pt x="1006" y="54"/>
                    </a:lnTo>
                    <a:lnTo>
                      <a:pt x="992" y="54"/>
                    </a:lnTo>
                    <a:lnTo>
                      <a:pt x="978" y="54"/>
                    </a:lnTo>
                    <a:lnTo>
                      <a:pt x="964" y="57"/>
                    </a:lnTo>
                    <a:lnTo>
                      <a:pt x="951" y="57"/>
                    </a:lnTo>
                    <a:lnTo>
                      <a:pt x="932" y="57"/>
                    </a:lnTo>
                    <a:lnTo>
                      <a:pt x="914" y="60"/>
                    </a:lnTo>
                    <a:lnTo>
                      <a:pt x="891" y="60"/>
                    </a:lnTo>
                    <a:lnTo>
                      <a:pt x="873" y="60"/>
                    </a:lnTo>
                    <a:lnTo>
                      <a:pt x="864" y="60"/>
                    </a:lnTo>
                    <a:lnTo>
                      <a:pt x="850" y="60"/>
                    </a:lnTo>
                    <a:lnTo>
                      <a:pt x="837" y="60"/>
                    </a:lnTo>
                    <a:lnTo>
                      <a:pt x="827" y="60"/>
                    </a:lnTo>
                    <a:lnTo>
                      <a:pt x="818" y="60"/>
                    </a:lnTo>
                    <a:lnTo>
                      <a:pt x="805" y="63"/>
                    </a:lnTo>
                    <a:lnTo>
                      <a:pt x="795" y="63"/>
                    </a:lnTo>
                    <a:lnTo>
                      <a:pt x="782" y="66"/>
                    </a:lnTo>
                    <a:lnTo>
                      <a:pt x="773" y="66"/>
                    </a:lnTo>
                    <a:lnTo>
                      <a:pt x="759" y="66"/>
                    </a:lnTo>
                    <a:lnTo>
                      <a:pt x="745" y="66"/>
                    </a:lnTo>
                    <a:lnTo>
                      <a:pt x="736" y="66"/>
                    </a:lnTo>
                    <a:lnTo>
                      <a:pt x="722" y="66"/>
                    </a:lnTo>
                    <a:lnTo>
                      <a:pt x="709" y="66"/>
                    </a:lnTo>
                    <a:lnTo>
                      <a:pt x="695" y="66"/>
                    </a:lnTo>
                    <a:lnTo>
                      <a:pt x="686" y="69"/>
                    </a:lnTo>
                    <a:lnTo>
                      <a:pt x="667" y="69"/>
                    </a:lnTo>
                    <a:lnTo>
                      <a:pt x="658" y="69"/>
                    </a:lnTo>
                    <a:lnTo>
                      <a:pt x="649" y="69"/>
                    </a:lnTo>
                    <a:lnTo>
                      <a:pt x="631" y="69"/>
                    </a:lnTo>
                    <a:lnTo>
                      <a:pt x="622" y="69"/>
                    </a:lnTo>
                    <a:lnTo>
                      <a:pt x="613" y="69"/>
                    </a:lnTo>
                    <a:lnTo>
                      <a:pt x="594" y="69"/>
                    </a:lnTo>
                    <a:lnTo>
                      <a:pt x="585" y="69"/>
                    </a:lnTo>
                    <a:lnTo>
                      <a:pt x="571" y="69"/>
                    </a:lnTo>
                    <a:lnTo>
                      <a:pt x="562" y="69"/>
                    </a:lnTo>
                    <a:lnTo>
                      <a:pt x="544" y="69"/>
                    </a:lnTo>
                    <a:lnTo>
                      <a:pt x="535" y="69"/>
                    </a:lnTo>
                    <a:lnTo>
                      <a:pt x="526" y="69"/>
                    </a:lnTo>
                    <a:lnTo>
                      <a:pt x="512" y="69"/>
                    </a:lnTo>
                    <a:lnTo>
                      <a:pt x="503" y="69"/>
                    </a:lnTo>
                    <a:lnTo>
                      <a:pt x="489" y="69"/>
                    </a:lnTo>
                    <a:lnTo>
                      <a:pt x="480" y="66"/>
                    </a:lnTo>
                    <a:lnTo>
                      <a:pt x="471" y="66"/>
                    </a:lnTo>
                    <a:lnTo>
                      <a:pt x="457" y="66"/>
                    </a:lnTo>
                    <a:lnTo>
                      <a:pt x="443" y="66"/>
                    </a:lnTo>
                    <a:lnTo>
                      <a:pt x="425" y="66"/>
                    </a:lnTo>
                    <a:lnTo>
                      <a:pt x="407" y="66"/>
                    </a:lnTo>
                    <a:lnTo>
                      <a:pt x="393" y="63"/>
                    </a:lnTo>
                    <a:lnTo>
                      <a:pt x="384" y="60"/>
                    </a:lnTo>
                    <a:lnTo>
                      <a:pt x="375" y="60"/>
                    </a:lnTo>
                    <a:lnTo>
                      <a:pt x="366" y="60"/>
                    </a:lnTo>
                    <a:lnTo>
                      <a:pt x="343" y="60"/>
                    </a:lnTo>
                    <a:lnTo>
                      <a:pt x="325" y="60"/>
                    </a:lnTo>
                    <a:lnTo>
                      <a:pt x="302" y="57"/>
                    </a:lnTo>
                    <a:lnTo>
                      <a:pt x="288" y="57"/>
                    </a:lnTo>
                    <a:lnTo>
                      <a:pt x="270" y="54"/>
                    </a:lnTo>
                    <a:lnTo>
                      <a:pt x="252" y="54"/>
                    </a:lnTo>
                    <a:lnTo>
                      <a:pt x="233" y="52"/>
                    </a:lnTo>
                    <a:lnTo>
                      <a:pt x="215" y="49"/>
                    </a:lnTo>
                    <a:lnTo>
                      <a:pt x="197" y="49"/>
                    </a:lnTo>
                    <a:lnTo>
                      <a:pt x="183" y="49"/>
                    </a:lnTo>
                    <a:lnTo>
                      <a:pt x="165" y="46"/>
                    </a:lnTo>
                    <a:lnTo>
                      <a:pt x="151" y="46"/>
                    </a:lnTo>
                    <a:lnTo>
                      <a:pt x="137" y="43"/>
                    </a:lnTo>
                    <a:lnTo>
                      <a:pt x="124" y="43"/>
                    </a:lnTo>
                    <a:lnTo>
                      <a:pt x="110" y="40"/>
                    </a:lnTo>
                    <a:lnTo>
                      <a:pt x="96" y="37"/>
                    </a:lnTo>
                    <a:lnTo>
                      <a:pt x="82" y="37"/>
                    </a:lnTo>
                    <a:lnTo>
                      <a:pt x="73" y="37"/>
                    </a:lnTo>
                    <a:lnTo>
                      <a:pt x="64" y="35"/>
                    </a:lnTo>
                    <a:lnTo>
                      <a:pt x="50" y="35"/>
                    </a:lnTo>
                    <a:lnTo>
                      <a:pt x="41" y="35"/>
                    </a:lnTo>
                    <a:lnTo>
                      <a:pt x="37" y="35"/>
                    </a:lnTo>
                    <a:lnTo>
                      <a:pt x="18" y="32"/>
                    </a:lnTo>
                    <a:lnTo>
                      <a:pt x="14" y="29"/>
                    </a:lnTo>
                    <a:lnTo>
                      <a:pt x="0" y="29"/>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7" name="Freeform 40"/>
              <p:cNvSpPr>
                <a:spLocks/>
              </p:cNvSpPr>
              <p:nvPr>
                <p:custDataLst>
                  <p:tags r:id="rId169"/>
                </p:custDataLst>
              </p:nvPr>
            </p:nvSpPr>
            <p:spPr bwMode="gray">
              <a:xfrm>
                <a:off x="2900" y="1545"/>
                <a:ext cx="1387" cy="114"/>
              </a:xfrm>
              <a:custGeom>
                <a:avLst/>
                <a:gdLst>
                  <a:gd name="T0" fmla="*/ 320 w 1353"/>
                  <a:gd name="T1" fmla="*/ 36 h 125"/>
                  <a:gd name="T2" fmla="*/ 419 w 1353"/>
                  <a:gd name="T3" fmla="*/ 34 h 125"/>
                  <a:gd name="T4" fmla="*/ 524 w 1353"/>
                  <a:gd name="T5" fmla="*/ 33 h 125"/>
                  <a:gd name="T6" fmla="*/ 615 w 1353"/>
                  <a:gd name="T7" fmla="*/ 31 h 125"/>
                  <a:gd name="T8" fmla="*/ 720 w 1353"/>
                  <a:gd name="T9" fmla="*/ 30 h 125"/>
                  <a:gd name="T10" fmla="*/ 824 w 1353"/>
                  <a:gd name="T11" fmla="*/ 27 h 125"/>
                  <a:gd name="T12" fmla="*/ 925 w 1353"/>
                  <a:gd name="T13" fmla="*/ 25 h 125"/>
                  <a:gd name="T14" fmla="*/ 1023 w 1353"/>
                  <a:gd name="T15" fmla="*/ 23 h 125"/>
                  <a:gd name="T16" fmla="*/ 1114 w 1353"/>
                  <a:gd name="T17" fmla="*/ 21 h 125"/>
                  <a:gd name="T18" fmla="*/ 1213 w 1353"/>
                  <a:gd name="T19" fmla="*/ 18 h 125"/>
                  <a:gd name="T20" fmla="*/ 1298 w 1353"/>
                  <a:gd name="T21" fmla="*/ 16 h 125"/>
                  <a:gd name="T22" fmla="*/ 1379 w 1353"/>
                  <a:gd name="T23" fmla="*/ 15 h 125"/>
                  <a:gd name="T24" fmla="*/ 1452 w 1353"/>
                  <a:gd name="T25" fmla="*/ 12 h 125"/>
                  <a:gd name="T26" fmla="*/ 1525 w 1353"/>
                  <a:gd name="T27" fmla="*/ 9 h 125"/>
                  <a:gd name="T28" fmla="*/ 1600 w 1353"/>
                  <a:gd name="T29" fmla="*/ 8 h 125"/>
                  <a:gd name="T30" fmla="*/ 1657 w 1353"/>
                  <a:gd name="T31" fmla="*/ 5 h 125"/>
                  <a:gd name="T32" fmla="*/ 1706 w 1353"/>
                  <a:gd name="T33" fmla="*/ 5 h 125"/>
                  <a:gd name="T34" fmla="*/ 1760 w 1353"/>
                  <a:gd name="T35" fmla="*/ 5 h 125"/>
                  <a:gd name="T36" fmla="*/ 1814 w 1353"/>
                  <a:gd name="T37" fmla="*/ 0 h 125"/>
                  <a:gd name="T38" fmla="*/ 1827 w 1353"/>
                  <a:gd name="T39" fmla="*/ 13 h 125"/>
                  <a:gd name="T40" fmla="*/ 1787 w 1353"/>
                  <a:gd name="T41" fmla="*/ 14 h 125"/>
                  <a:gd name="T42" fmla="*/ 1728 w 1353"/>
                  <a:gd name="T43" fmla="*/ 15 h 125"/>
                  <a:gd name="T44" fmla="*/ 1663 w 1353"/>
                  <a:gd name="T45" fmla="*/ 16 h 125"/>
                  <a:gd name="T46" fmla="*/ 1620 w 1353"/>
                  <a:gd name="T47" fmla="*/ 18 h 125"/>
                  <a:gd name="T48" fmla="*/ 1570 w 1353"/>
                  <a:gd name="T49" fmla="*/ 18 h 125"/>
                  <a:gd name="T50" fmla="*/ 1520 w 1353"/>
                  <a:gd name="T51" fmla="*/ 21 h 125"/>
                  <a:gd name="T52" fmla="*/ 1465 w 1353"/>
                  <a:gd name="T53" fmla="*/ 22 h 125"/>
                  <a:gd name="T54" fmla="*/ 1404 w 1353"/>
                  <a:gd name="T55" fmla="*/ 23 h 125"/>
                  <a:gd name="T56" fmla="*/ 1347 w 1353"/>
                  <a:gd name="T57" fmla="*/ 25 h 125"/>
                  <a:gd name="T58" fmla="*/ 1288 w 1353"/>
                  <a:gd name="T59" fmla="*/ 25 h 125"/>
                  <a:gd name="T60" fmla="*/ 1213 w 1353"/>
                  <a:gd name="T61" fmla="*/ 27 h 125"/>
                  <a:gd name="T62" fmla="*/ 1157 w 1353"/>
                  <a:gd name="T63" fmla="*/ 28 h 125"/>
                  <a:gd name="T64" fmla="*/ 1083 w 1353"/>
                  <a:gd name="T65" fmla="*/ 30 h 125"/>
                  <a:gd name="T66" fmla="*/ 1015 w 1353"/>
                  <a:gd name="T67" fmla="*/ 33 h 125"/>
                  <a:gd name="T68" fmla="*/ 950 w 1353"/>
                  <a:gd name="T69" fmla="*/ 33 h 125"/>
                  <a:gd name="T70" fmla="*/ 881 w 1353"/>
                  <a:gd name="T71" fmla="*/ 34 h 125"/>
                  <a:gd name="T72" fmla="*/ 812 w 1353"/>
                  <a:gd name="T73" fmla="*/ 36 h 125"/>
                  <a:gd name="T74" fmla="*/ 749 w 1353"/>
                  <a:gd name="T75" fmla="*/ 36 h 125"/>
                  <a:gd name="T76" fmla="*/ 678 w 1353"/>
                  <a:gd name="T77" fmla="*/ 38 h 125"/>
                  <a:gd name="T78" fmla="*/ 615 w 1353"/>
                  <a:gd name="T79" fmla="*/ 39 h 125"/>
                  <a:gd name="T80" fmla="*/ 560 w 1353"/>
                  <a:gd name="T81" fmla="*/ 39 h 125"/>
                  <a:gd name="T82" fmla="*/ 499 w 1353"/>
                  <a:gd name="T83" fmla="*/ 39 h 125"/>
                  <a:gd name="T84" fmla="*/ 436 w 1353"/>
                  <a:gd name="T85" fmla="*/ 39 h 125"/>
                  <a:gd name="T86" fmla="*/ 387 w 1353"/>
                  <a:gd name="T87" fmla="*/ 40 h 125"/>
                  <a:gd name="T88" fmla="*/ 337 w 1353"/>
                  <a:gd name="T89" fmla="*/ 40 h 125"/>
                  <a:gd name="T90" fmla="*/ 290 w 1353"/>
                  <a:gd name="T91" fmla="*/ 42 h 125"/>
                  <a:gd name="T92" fmla="*/ 227 w 1353"/>
                  <a:gd name="T93" fmla="*/ 42 h 125"/>
                  <a:gd name="T94" fmla="*/ 153 w 1353"/>
                  <a:gd name="T95" fmla="*/ 42 h 125"/>
                  <a:gd name="T96" fmla="*/ 92 w 1353"/>
                  <a:gd name="T97" fmla="*/ 42 h 125"/>
                  <a:gd name="T98" fmla="*/ 44 w 1353"/>
                  <a:gd name="T99" fmla="*/ 42 h 125"/>
                  <a:gd name="T100" fmla="*/ 0 w 1353"/>
                  <a:gd name="T101" fmla="*/ 42 h 125"/>
                  <a:gd name="T102" fmla="*/ 35 w 1353"/>
                  <a:gd name="T103" fmla="*/ 42 h 125"/>
                  <a:gd name="T104" fmla="*/ 82 w 1353"/>
                  <a:gd name="T105" fmla="*/ 39 h 125"/>
                  <a:gd name="T106" fmla="*/ 153 w 1353"/>
                  <a:gd name="T107" fmla="*/ 39 h 125"/>
                  <a:gd name="T108" fmla="*/ 203 w 1353"/>
                  <a:gd name="T109" fmla="*/ 36 h 125"/>
                  <a:gd name="T110" fmla="*/ 247 w 1353"/>
                  <a:gd name="T111" fmla="*/ 36 h 125"/>
                  <a:gd name="T112" fmla="*/ 252 w 1353"/>
                  <a:gd name="T113" fmla="*/ 36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53"/>
                  <a:gd name="T172" fmla="*/ 0 h 125"/>
                  <a:gd name="T173" fmla="*/ 1353 w 1353"/>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53" h="125">
                    <a:moveTo>
                      <a:pt x="187" y="108"/>
                    </a:moveTo>
                    <a:lnTo>
                      <a:pt x="210" y="108"/>
                    </a:lnTo>
                    <a:lnTo>
                      <a:pt x="238" y="108"/>
                    </a:lnTo>
                    <a:lnTo>
                      <a:pt x="260" y="105"/>
                    </a:lnTo>
                    <a:lnTo>
                      <a:pt x="283" y="105"/>
                    </a:lnTo>
                    <a:lnTo>
                      <a:pt x="311" y="102"/>
                    </a:lnTo>
                    <a:lnTo>
                      <a:pt x="334" y="102"/>
                    </a:lnTo>
                    <a:lnTo>
                      <a:pt x="361" y="102"/>
                    </a:lnTo>
                    <a:lnTo>
                      <a:pt x="388" y="100"/>
                    </a:lnTo>
                    <a:lnTo>
                      <a:pt x="407" y="97"/>
                    </a:lnTo>
                    <a:lnTo>
                      <a:pt x="434" y="97"/>
                    </a:lnTo>
                    <a:lnTo>
                      <a:pt x="457" y="94"/>
                    </a:lnTo>
                    <a:lnTo>
                      <a:pt x="484" y="94"/>
                    </a:lnTo>
                    <a:lnTo>
                      <a:pt x="512" y="91"/>
                    </a:lnTo>
                    <a:lnTo>
                      <a:pt x="535" y="91"/>
                    </a:lnTo>
                    <a:lnTo>
                      <a:pt x="562" y="85"/>
                    </a:lnTo>
                    <a:lnTo>
                      <a:pt x="589" y="85"/>
                    </a:lnTo>
                    <a:lnTo>
                      <a:pt x="612" y="83"/>
                    </a:lnTo>
                    <a:lnTo>
                      <a:pt x="635" y="83"/>
                    </a:lnTo>
                    <a:lnTo>
                      <a:pt x="658" y="77"/>
                    </a:lnTo>
                    <a:lnTo>
                      <a:pt x="685" y="74"/>
                    </a:lnTo>
                    <a:lnTo>
                      <a:pt x="708" y="74"/>
                    </a:lnTo>
                    <a:lnTo>
                      <a:pt x="736" y="71"/>
                    </a:lnTo>
                    <a:lnTo>
                      <a:pt x="759" y="68"/>
                    </a:lnTo>
                    <a:lnTo>
                      <a:pt x="781" y="68"/>
                    </a:lnTo>
                    <a:lnTo>
                      <a:pt x="804" y="65"/>
                    </a:lnTo>
                    <a:lnTo>
                      <a:pt x="827" y="63"/>
                    </a:lnTo>
                    <a:lnTo>
                      <a:pt x="850" y="60"/>
                    </a:lnTo>
                    <a:lnTo>
                      <a:pt x="877" y="60"/>
                    </a:lnTo>
                    <a:lnTo>
                      <a:pt x="900" y="54"/>
                    </a:lnTo>
                    <a:lnTo>
                      <a:pt x="919" y="54"/>
                    </a:lnTo>
                    <a:lnTo>
                      <a:pt x="941" y="51"/>
                    </a:lnTo>
                    <a:lnTo>
                      <a:pt x="964" y="48"/>
                    </a:lnTo>
                    <a:lnTo>
                      <a:pt x="982" y="46"/>
                    </a:lnTo>
                    <a:lnTo>
                      <a:pt x="1005" y="43"/>
                    </a:lnTo>
                    <a:lnTo>
                      <a:pt x="1024" y="43"/>
                    </a:lnTo>
                    <a:lnTo>
                      <a:pt x="1042" y="40"/>
                    </a:lnTo>
                    <a:lnTo>
                      <a:pt x="1060" y="34"/>
                    </a:lnTo>
                    <a:lnTo>
                      <a:pt x="1078" y="34"/>
                    </a:lnTo>
                    <a:lnTo>
                      <a:pt x="1101" y="31"/>
                    </a:lnTo>
                    <a:lnTo>
                      <a:pt x="1120" y="31"/>
                    </a:lnTo>
                    <a:lnTo>
                      <a:pt x="1133" y="26"/>
                    </a:lnTo>
                    <a:lnTo>
                      <a:pt x="1152" y="26"/>
                    </a:lnTo>
                    <a:lnTo>
                      <a:pt x="1170" y="23"/>
                    </a:lnTo>
                    <a:lnTo>
                      <a:pt x="1188" y="23"/>
                    </a:lnTo>
                    <a:lnTo>
                      <a:pt x="1202" y="20"/>
                    </a:lnTo>
                    <a:lnTo>
                      <a:pt x="1216" y="20"/>
                    </a:lnTo>
                    <a:lnTo>
                      <a:pt x="1229" y="14"/>
                    </a:lnTo>
                    <a:lnTo>
                      <a:pt x="1243" y="14"/>
                    </a:lnTo>
                    <a:lnTo>
                      <a:pt x="1257" y="11"/>
                    </a:lnTo>
                    <a:lnTo>
                      <a:pt x="1266" y="11"/>
                    </a:lnTo>
                    <a:lnTo>
                      <a:pt x="1280" y="9"/>
                    </a:lnTo>
                    <a:lnTo>
                      <a:pt x="1289" y="9"/>
                    </a:lnTo>
                    <a:lnTo>
                      <a:pt x="1307" y="6"/>
                    </a:lnTo>
                    <a:lnTo>
                      <a:pt x="1325" y="6"/>
                    </a:lnTo>
                    <a:lnTo>
                      <a:pt x="1334" y="0"/>
                    </a:lnTo>
                    <a:lnTo>
                      <a:pt x="1348" y="0"/>
                    </a:lnTo>
                    <a:lnTo>
                      <a:pt x="1353" y="0"/>
                    </a:lnTo>
                    <a:lnTo>
                      <a:pt x="1353" y="37"/>
                    </a:lnTo>
                    <a:lnTo>
                      <a:pt x="1348" y="37"/>
                    </a:lnTo>
                    <a:lnTo>
                      <a:pt x="1334" y="40"/>
                    </a:lnTo>
                    <a:lnTo>
                      <a:pt x="1325" y="40"/>
                    </a:lnTo>
                    <a:lnTo>
                      <a:pt x="1316" y="43"/>
                    </a:lnTo>
                    <a:lnTo>
                      <a:pt x="1298" y="43"/>
                    </a:lnTo>
                    <a:lnTo>
                      <a:pt x="1284" y="46"/>
                    </a:lnTo>
                    <a:lnTo>
                      <a:pt x="1266" y="46"/>
                    </a:lnTo>
                    <a:lnTo>
                      <a:pt x="1243" y="48"/>
                    </a:lnTo>
                    <a:lnTo>
                      <a:pt x="1234" y="48"/>
                    </a:lnTo>
                    <a:lnTo>
                      <a:pt x="1225" y="48"/>
                    </a:lnTo>
                    <a:lnTo>
                      <a:pt x="1211" y="51"/>
                    </a:lnTo>
                    <a:lnTo>
                      <a:pt x="1202" y="54"/>
                    </a:lnTo>
                    <a:lnTo>
                      <a:pt x="1188" y="54"/>
                    </a:lnTo>
                    <a:lnTo>
                      <a:pt x="1179" y="54"/>
                    </a:lnTo>
                    <a:lnTo>
                      <a:pt x="1165" y="54"/>
                    </a:lnTo>
                    <a:lnTo>
                      <a:pt x="1152" y="57"/>
                    </a:lnTo>
                    <a:lnTo>
                      <a:pt x="1138" y="60"/>
                    </a:lnTo>
                    <a:lnTo>
                      <a:pt x="1129" y="63"/>
                    </a:lnTo>
                    <a:lnTo>
                      <a:pt x="1115" y="63"/>
                    </a:lnTo>
                    <a:lnTo>
                      <a:pt x="1101" y="65"/>
                    </a:lnTo>
                    <a:lnTo>
                      <a:pt x="1088" y="65"/>
                    </a:lnTo>
                    <a:lnTo>
                      <a:pt x="1074" y="68"/>
                    </a:lnTo>
                    <a:lnTo>
                      <a:pt x="1060" y="68"/>
                    </a:lnTo>
                    <a:lnTo>
                      <a:pt x="1042" y="68"/>
                    </a:lnTo>
                    <a:lnTo>
                      <a:pt x="1024" y="71"/>
                    </a:lnTo>
                    <a:lnTo>
                      <a:pt x="1010" y="71"/>
                    </a:lnTo>
                    <a:lnTo>
                      <a:pt x="1001" y="74"/>
                    </a:lnTo>
                    <a:lnTo>
                      <a:pt x="982" y="74"/>
                    </a:lnTo>
                    <a:lnTo>
                      <a:pt x="969" y="74"/>
                    </a:lnTo>
                    <a:lnTo>
                      <a:pt x="955" y="77"/>
                    </a:lnTo>
                    <a:lnTo>
                      <a:pt x="937" y="80"/>
                    </a:lnTo>
                    <a:lnTo>
                      <a:pt x="919" y="83"/>
                    </a:lnTo>
                    <a:lnTo>
                      <a:pt x="900" y="83"/>
                    </a:lnTo>
                    <a:lnTo>
                      <a:pt x="887" y="83"/>
                    </a:lnTo>
                    <a:lnTo>
                      <a:pt x="868" y="85"/>
                    </a:lnTo>
                    <a:lnTo>
                      <a:pt x="859" y="85"/>
                    </a:lnTo>
                    <a:lnTo>
                      <a:pt x="841" y="85"/>
                    </a:lnTo>
                    <a:lnTo>
                      <a:pt x="823" y="91"/>
                    </a:lnTo>
                    <a:lnTo>
                      <a:pt x="804" y="91"/>
                    </a:lnTo>
                    <a:lnTo>
                      <a:pt x="791" y="94"/>
                    </a:lnTo>
                    <a:lnTo>
                      <a:pt x="772" y="94"/>
                    </a:lnTo>
                    <a:lnTo>
                      <a:pt x="754" y="97"/>
                    </a:lnTo>
                    <a:lnTo>
                      <a:pt x="736" y="97"/>
                    </a:lnTo>
                    <a:lnTo>
                      <a:pt x="722" y="97"/>
                    </a:lnTo>
                    <a:lnTo>
                      <a:pt x="704" y="97"/>
                    </a:lnTo>
                    <a:lnTo>
                      <a:pt x="690" y="102"/>
                    </a:lnTo>
                    <a:lnTo>
                      <a:pt x="672" y="102"/>
                    </a:lnTo>
                    <a:lnTo>
                      <a:pt x="653" y="102"/>
                    </a:lnTo>
                    <a:lnTo>
                      <a:pt x="635" y="105"/>
                    </a:lnTo>
                    <a:lnTo>
                      <a:pt x="621" y="105"/>
                    </a:lnTo>
                    <a:lnTo>
                      <a:pt x="603" y="108"/>
                    </a:lnTo>
                    <a:lnTo>
                      <a:pt x="589" y="108"/>
                    </a:lnTo>
                    <a:lnTo>
                      <a:pt x="571" y="108"/>
                    </a:lnTo>
                    <a:lnTo>
                      <a:pt x="557" y="108"/>
                    </a:lnTo>
                    <a:lnTo>
                      <a:pt x="539" y="111"/>
                    </a:lnTo>
                    <a:lnTo>
                      <a:pt x="521" y="114"/>
                    </a:lnTo>
                    <a:lnTo>
                      <a:pt x="503" y="114"/>
                    </a:lnTo>
                    <a:lnTo>
                      <a:pt x="493" y="114"/>
                    </a:lnTo>
                    <a:lnTo>
                      <a:pt x="475" y="117"/>
                    </a:lnTo>
                    <a:lnTo>
                      <a:pt x="457" y="117"/>
                    </a:lnTo>
                    <a:lnTo>
                      <a:pt x="443" y="117"/>
                    </a:lnTo>
                    <a:lnTo>
                      <a:pt x="425" y="117"/>
                    </a:lnTo>
                    <a:lnTo>
                      <a:pt x="416" y="117"/>
                    </a:lnTo>
                    <a:lnTo>
                      <a:pt x="398" y="117"/>
                    </a:lnTo>
                    <a:lnTo>
                      <a:pt x="384" y="117"/>
                    </a:lnTo>
                    <a:lnTo>
                      <a:pt x="370" y="117"/>
                    </a:lnTo>
                    <a:lnTo>
                      <a:pt x="352" y="120"/>
                    </a:lnTo>
                    <a:lnTo>
                      <a:pt x="343" y="120"/>
                    </a:lnTo>
                    <a:lnTo>
                      <a:pt x="324" y="120"/>
                    </a:lnTo>
                    <a:lnTo>
                      <a:pt x="315" y="120"/>
                    </a:lnTo>
                    <a:lnTo>
                      <a:pt x="297" y="120"/>
                    </a:lnTo>
                    <a:lnTo>
                      <a:pt x="288" y="122"/>
                    </a:lnTo>
                    <a:lnTo>
                      <a:pt x="274" y="122"/>
                    </a:lnTo>
                    <a:lnTo>
                      <a:pt x="260" y="122"/>
                    </a:lnTo>
                    <a:lnTo>
                      <a:pt x="251" y="122"/>
                    </a:lnTo>
                    <a:lnTo>
                      <a:pt x="238" y="125"/>
                    </a:lnTo>
                    <a:lnTo>
                      <a:pt x="224" y="125"/>
                    </a:lnTo>
                    <a:lnTo>
                      <a:pt x="215" y="125"/>
                    </a:lnTo>
                    <a:lnTo>
                      <a:pt x="201" y="125"/>
                    </a:lnTo>
                    <a:lnTo>
                      <a:pt x="192" y="125"/>
                    </a:lnTo>
                    <a:lnTo>
                      <a:pt x="169" y="125"/>
                    </a:lnTo>
                    <a:lnTo>
                      <a:pt x="151" y="125"/>
                    </a:lnTo>
                    <a:lnTo>
                      <a:pt x="132" y="125"/>
                    </a:lnTo>
                    <a:lnTo>
                      <a:pt x="114" y="125"/>
                    </a:lnTo>
                    <a:lnTo>
                      <a:pt x="96" y="125"/>
                    </a:lnTo>
                    <a:lnTo>
                      <a:pt x="78" y="125"/>
                    </a:lnTo>
                    <a:lnTo>
                      <a:pt x="68" y="125"/>
                    </a:lnTo>
                    <a:lnTo>
                      <a:pt x="55" y="125"/>
                    </a:lnTo>
                    <a:lnTo>
                      <a:pt x="46" y="125"/>
                    </a:lnTo>
                    <a:lnTo>
                      <a:pt x="32" y="125"/>
                    </a:lnTo>
                    <a:lnTo>
                      <a:pt x="14" y="125"/>
                    </a:lnTo>
                    <a:lnTo>
                      <a:pt x="9" y="125"/>
                    </a:lnTo>
                    <a:lnTo>
                      <a:pt x="0" y="125"/>
                    </a:lnTo>
                    <a:lnTo>
                      <a:pt x="9" y="125"/>
                    </a:lnTo>
                    <a:lnTo>
                      <a:pt x="23" y="125"/>
                    </a:lnTo>
                    <a:lnTo>
                      <a:pt x="32" y="125"/>
                    </a:lnTo>
                    <a:lnTo>
                      <a:pt x="46" y="122"/>
                    </a:lnTo>
                    <a:lnTo>
                      <a:pt x="59" y="120"/>
                    </a:lnTo>
                    <a:lnTo>
                      <a:pt x="78" y="120"/>
                    </a:lnTo>
                    <a:lnTo>
                      <a:pt x="96" y="117"/>
                    </a:lnTo>
                    <a:lnTo>
                      <a:pt x="114" y="117"/>
                    </a:lnTo>
                    <a:lnTo>
                      <a:pt x="123" y="117"/>
                    </a:lnTo>
                    <a:lnTo>
                      <a:pt x="137" y="114"/>
                    </a:lnTo>
                    <a:lnTo>
                      <a:pt x="151" y="111"/>
                    </a:lnTo>
                    <a:lnTo>
                      <a:pt x="164" y="111"/>
                    </a:lnTo>
                    <a:lnTo>
                      <a:pt x="174" y="108"/>
                    </a:lnTo>
                    <a:lnTo>
                      <a:pt x="183" y="108"/>
                    </a:lnTo>
                    <a:lnTo>
                      <a:pt x="187" y="108"/>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8" name="Freeform 41"/>
              <p:cNvSpPr>
                <a:spLocks/>
              </p:cNvSpPr>
              <p:nvPr>
                <p:custDataLst>
                  <p:tags r:id="rId170"/>
                </p:custDataLst>
              </p:nvPr>
            </p:nvSpPr>
            <p:spPr bwMode="gray">
              <a:xfrm>
                <a:off x="1265" y="1784"/>
                <a:ext cx="1077" cy="162"/>
              </a:xfrm>
              <a:custGeom>
                <a:avLst/>
                <a:gdLst>
                  <a:gd name="T0" fmla="*/ 9 w 1051"/>
                  <a:gd name="T1" fmla="*/ 29 h 177"/>
                  <a:gd name="T2" fmla="*/ 48 w 1051"/>
                  <a:gd name="T3" fmla="*/ 26 h 177"/>
                  <a:gd name="T4" fmla="*/ 92 w 1051"/>
                  <a:gd name="T5" fmla="*/ 23 h 177"/>
                  <a:gd name="T6" fmla="*/ 121 w 1051"/>
                  <a:gd name="T7" fmla="*/ 19 h 177"/>
                  <a:gd name="T8" fmla="*/ 147 w 1051"/>
                  <a:gd name="T9" fmla="*/ 16 h 177"/>
                  <a:gd name="T10" fmla="*/ 176 w 1051"/>
                  <a:gd name="T11" fmla="*/ 14 h 177"/>
                  <a:gd name="T12" fmla="*/ 214 w 1051"/>
                  <a:gd name="T13" fmla="*/ 12 h 177"/>
                  <a:gd name="T14" fmla="*/ 239 w 1051"/>
                  <a:gd name="T15" fmla="*/ 9 h 177"/>
                  <a:gd name="T16" fmla="*/ 281 w 1051"/>
                  <a:gd name="T17" fmla="*/ 5 h 177"/>
                  <a:gd name="T18" fmla="*/ 324 w 1051"/>
                  <a:gd name="T19" fmla="*/ 3 h 177"/>
                  <a:gd name="T20" fmla="*/ 356 w 1051"/>
                  <a:gd name="T21" fmla="*/ 0 h 177"/>
                  <a:gd name="T22" fmla="*/ 692 w 1051"/>
                  <a:gd name="T23" fmla="*/ 48 h 177"/>
                  <a:gd name="T24" fmla="*/ 704 w 1051"/>
                  <a:gd name="T25" fmla="*/ 46 h 177"/>
                  <a:gd name="T26" fmla="*/ 747 w 1051"/>
                  <a:gd name="T27" fmla="*/ 41 h 177"/>
                  <a:gd name="T28" fmla="*/ 773 w 1051"/>
                  <a:gd name="T29" fmla="*/ 38 h 177"/>
                  <a:gd name="T30" fmla="*/ 809 w 1051"/>
                  <a:gd name="T31" fmla="*/ 35 h 177"/>
                  <a:gd name="T32" fmla="*/ 838 w 1051"/>
                  <a:gd name="T33" fmla="*/ 32 h 177"/>
                  <a:gd name="T34" fmla="*/ 882 w 1051"/>
                  <a:gd name="T35" fmla="*/ 27 h 177"/>
                  <a:gd name="T36" fmla="*/ 915 w 1051"/>
                  <a:gd name="T37" fmla="*/ 24 h 177"/>
                  <a:gd name="T38" fmla="*/ 949 w 1051"/>
                  <a:gd name="T39" fmla="*/ 21 h 177"/>
                  <a:gd name="T40" fmla="*/ 974 w 1051"/>
                  <a:gd name="T41" fmla="*/ 16 h 177"/>
                  <a:gd name="T42" fmla="*/ 1012 w 1051"/>
                  <a:gd name="T43" fmla="*/ 14 h 177"/>
                  <a:gd name="T44" fmla="*/ 1042 w 1051"/>
                  <a:gd name="T45" fmla="*/ 12 h 177"/>
                  <a:gd name="T46" fmla="*/ 1067 w 1051"/>
                  <a:gd name="T47" fmla="*/ 10 h 177"/>
                  <a:gd name="T48" fmla="*/ 1096 w 1051"/>
                  <a:gd name="T49" fmla="*/ 9 h 177"/>
                  <a:gd name="T50" fmla="*/ 1116 w 1051"/>
                  <a:gd name="T51" fmla="*/ 12 h 177"/>
                  <a:gd name="T52" fmla="*/ 1158 w 1051"/>
                  <a:gd name="T53" fmla="*/ 17 h 177"/>
                  <a:gd name="T54" fmla="*/ 1206 w 1051"/>
                  <a:gd name="T55" fmla="*/ 25 h 177"/>
                  <a:gd name="T56" fmla="*/ 1232 w 1051"/>
                  <a:gd name="T57" fmla="*/ 29 h 177"/>
                  <a:gd name="T58" fmla="*/ 1261 w 1051"/>
                  <a:gd name="T59" fmla="*/ 35 h 177"/>
                  <a:gd name="T60" fmla="*/ 1318 w 1051"/>
                  <a:gd name="T61" fmla="*/ 42 h 177"/>
                  <a:gd name="T62" fmla="*/ 1365 w 1051"/>
                  <a:gd name="T63" fmla="*/ 49 h 177"/>
                  <a:gd name="T64" fmla="*/ 1391 w 1051"/>
                  <a:gd name="T65" fmla="*/ 54 h 177"/>
                  <a:gd name="T66" fmla="*/ 1409 w 1051"/>
                  <a:gd name="T67" fmla="*/ 55 h 177"/>
                  <a:gd name="T68" fmla="*/ 1062 w 1051"/>
                  <a:gd name="T69" fmla="*/ 23 h 177"/>
                  <a:gd name="T70" fmla="*/ 337 w 1051"/>
                  <a:gd name="T71" fmla="*/ 14 h 177"/>
                  <a:gd name="T72" fmla="*/ 0 w 1051"/>
                  <a:gd name="T73" fmla="*/ 32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1"/>
                  <a:gd name="T112" fmla="*/ 0 h 177"/>
                  <a:gd name="T113" fmla="*/ 1051 w 1051"/>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1" h="177">
                    <a:moveTo>
                      <a:pt x="0" y="91"/>
                    </a:moveTo>
                    <a:lnTo>
                      <a:pt x="9" y="85"/>
                    </a:lnTo>
                    <a:lnTo>
                      <a:pt x="23" y="80"/>
                    </a:lnTo>
                    <a:lnTo>
                      <a:pt x="36" y="74"/>
                    </a:lnTo>
                    <a:lnTo>
                      <a:pt x="55" y="68"/>
                    </a:lnTo>
                    <a:lnTo>
                      <a:pt x="68" y="63"/>
                    </a:lnTo>
                    <a:lnTo>
                      <a:pt x="73" y="60"/>
                    </a:lnTo>
                    <a:lnTo>
                      <a:pt x="91" y="54"/>
                    </a:lnTo>
                    <a:lnTo>
                      <a:pt x="96" y="51"/>
                    </a:lnTo>
                    <a:lnTo>
                      <a:pt x="110" y="48"/>
                    </a:lnTo>
                    <a:lnTo>
                      <a:pt x="123" y="46"/>
                    </a:lnTo>
                    <a:lnTo>
                      <a:pt x="132" y="40"/>
                    </a:lnTo>
                    <a:lnTo>
                      <a:pt x="146" y="37"/>
                    </a:lnTo>
                    <a:lnTo>
                      <a:pt x="160" y="34"/>
                    </a:lnTo>
                    <a:lnTo>
                      <a:pt x="169" y="28"/>
                    </a:lnTo>
                    <a:lnTo>
                      <a:pt x="178" y="26"/>
                    </a:lnTo>
                    <a:lnTo>
                      <a:pt x="192" y="23"/>
                    </a:lnTo>
                    <a:lnTo>
                      <a:pt x="210" y="14"/>
                    </a:lnTo>
                    <a:lnTo>
                      <a:pt x="228" y="8"/>
                    </a:lnTo>
                    <a:lnTo>
                      <a:pt x="242" y="3"/>
                    </a:lnTo>
                    <a:lnTo>
                      <a:pt x="256" y="3"/>
                    </a:lnTo>
                    <a:lnTo>
                      <a:pt x="265" y="0"/>
                    </a:lnTo>
                    <a:lnTo>
                      <a:pt x="516" y="139"/>
                    </a:lnTo>
                    <a:lnTo>
                      <a:pt x="516" y="137"/>
                    </a:lnTo>
                    <a:lnTo>
                      <a:pt x="525" y="134"/>
                    </a:lnTo>
                    <a:lnTo>
                      <a:pt x="539" y="125"/>
                    </a:lnTo>
                    <a:lnTo>
                      <a:pt x="557" y="120"/>
                    </a:lnTo>
                    <a:lnTo>
                      <a:pt x="567" y="114"/>
                    </a:lnTo>
                    <a:lnTo>
                      <a:pt x="576" y="111"/>
                    </a:lnTo>
                    <a:lnTo>
                      <a:pt x="585" y="105"/>
                    </a:lnTo>
                    <a:lnTo>
                      <a:pt x="603" y="100"/>
                    </a:lnTo>
                    <a:lnTo>
                      <a:pt x="612" y="94"/>
                    </a:lnTo>
                    <a:lnTo>
                      <a:pt x="626" y="91"/>
                    </a:lnTo>
                    <a:lnTo>
                      <a:pt x="640" y="85"/>
                    </a:lnTo>
                    <a:lnTo>
                      <a:pt x="658" y="80"/>
                    </a:lnTo>
                    <a:lnTo>
                      <a:pt x="663" y="71"/>
                    </a:lnTo>
                    <a:lnTo>
                      <a:pt x="681" y="68"/>
                    </a:lnTo>
                    <a:lnTo>
                      <a:pt x="695" y="63"/>
                    </a:lnTo>
                    <a:lnTo>
                      <a:pt x="708" y="60"/>
                    </a:lnTo>
                    <a:lnTo>
                      <a:pt x="717" y="51"/>
                    </a:lnTo>
                    <a:lnTo>
                      <a:pt x="727" y="48"/>
                    </a:lnTo>
                    <a:lnTo>
                      <a:pt x="745" y="46"/>
                    </a:lnTo>
                    <a:lnTo>
                      <a:pt x="754" y="40"/>
                    </a:lnTo>
                    <a:lnTo>
                      <a:pt x="763" y="37"/>
                    </a:lnTo>
                    <a:lnTo>
                      <a:pt x="777" y="34"/>
                    </a:lnTo>
                    <a:lnTo>
                      <a:pt x="781" y="28"/>
                    </a:lnTo>
                    <a:lnTo>
                      <a:pt x="795" y="28"/>
                    </a:lnTo>
                    <a:lnTo>
                      <a:pt x="804" y="26"/>
                    </a:lnTo>
                    <a:lnTo>
                      <a:pt x="818" y="26"/>
                    </a:lnTo>
                    <a:lnTo>
                      <a:pt x="818" y="28"/>
                    </a:lnTo>
                    <a:lnTo>
                      <a:pt x="832" y="34"/>
                    </a:lnTo>
                    <a:lnTo>
                      <a:pt x="845" y="40"/>
                    </a:lnTo>
                    <a:lnTo>
                      <a:pt x="864" y="51"/>
                    </a:lnTo>
                    <a:lnTo>
                      <a:pt x="877" y="60"/>
                    </a:lnTo>
                    <a:lnTo>
                      <a:pt x="900" y="71"/>
                    </a:lnTo>
                    <a:lnTo>
                      <a:pt x="909" y="80"/>
                    </a:lnTo>
                    <a:lnTo>
                      <a:pt x="919" y="85"/>
                    </a:lnTo>
                    <a:lnTo>
                      <a:pt x="932" y="91"/>
                    </a:lnTo>
                    <a:lnTo>
                      <a:pt x="941" y="100"/>
                    </a:lnTo>
                    <a:lnTo>
                      <a:pt x="964" y="111"/>
                    </a:lnTo>
                    <a:lnTo>
                      <a:pt x="983" y="122"/>
                    </a:lnTo>
                    <a:lnTo>
                      <a:pt x="1001" y="134"/>
                    </a:lnTo>
                    <a:lnTo>
                      <a:pt x="1019" y="142"/>
                    </a:lnTo>
                    <a:lnTo>
                      <a:pt x="1028" y="151"/>
                    </a:lnTo>
                    <a:lnTo>
                      <a:pt x="1037" y="157"/>
                    </a:lnTo>
                    <a:lnTo>
                      <a:pt x="1051" y="162"/>
                    </a:lnTo>
                    <a:lnTo>
                      <a:pt x="992" y="171"/>
                    </a:lnTo>
                    <a:lnTo>
                      <a:pt x="791" y="63"/>
                    </a:lnTo>
                    <a:lnTo>
                      <a:pt x="489" y="177"/>
                    </a:lnTo>
                    <a:lnTo>
                      <a:pt x="251" y="40"/>
                    </a:lnTo>
                    <a:lnTo>
                      <a:pt x="0" y="9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49" name="Freeform 42"/>
              <p:cNvSpPr>
                <a:spLocks/>
              </p:cNvSpPr>
              <p:nvPr>
                <p:custDataLst>
                  <p:tags r:id="rId171"/>
                </p:custDataLst>
              </p:nvPr>
            </p:nvSpPr>
            <p:spPr bwMode="gray">
              <a:xfrm>
                <a:off x="3448" y="1776"/>
                <a:ext cx="890" cy="193"/>
              </a:xfrm>
              <a:custGeom>
                <a:avLst/>
                <a:gdLst>
                  <a:gd name="T0" fmla="*/ 13 w 868"/>
                  <a:gd name="T1" fmla="*/ 45 h 211"/>
                  <a:gd name="T2" fmla="*/ 53 w 868"/>
                  <a:gd name="T3" fmla="*/ 38 h 211"/>
                  <a:gd name="T4" fmla="*/ 88 w 868"/>
                  <a:gd name="T5" fmla="*/ 32 h 211"/>
                  <a:gd name="T6" fmla="*/ 123 w 868"/>
                  <a:gd name="T7" fmla="*/ 26 h 211"/>
                  <a:gd name="T8" fmla="*/ 147 w 868"/>
                  <a:gd name="T9" fmla="*/ 20 h 211"/>
                  <a:gd name="T10" fmla="*/ 177 w 868"/>
                  <a:gd name="T11" fmla="*/ 15 h 211"/>
                  <a:gd name="T12" fmla="*/ 215 w 868"/>
                  <a:gd name="T13" fmla="*/ 11 h 211"/>
                  <a:gd name="T14" fmla="*/ 242 w 868"/>
                  <a:gd name="T15" fmla="*/ 11 h 211"/>
                  <a:gd name="T16" fmla="*/ 271 w 868"/>
                  <a:gd name="T17" fmla="*/ 13 h 211"/>
                  <a:gd name="T18" fmla="*/ 315 w 868"/>
                  <a:gd name="T19" fmla="*/ 20 h 211"/>
                  <a:gd name="T20" fmla="*/ 358 w 868"/>
                  <a:gd name="T21" fmla="*/ 27 h 211"/>
                  <a:gd name="T22" fmla="*/ 413 w 868"/>
                  <a:gd name="T23" fmla="*/ 35 h 211"/>
                  <a:gd name="T24" fmla="*/ 462 w 868"/>
                  <a:gd name="T25" fmla="*/ 43 h 211"/>
                  <a:gd name="T26" fmla="*/ 492 w 868"/>
                  <a:gd name="T27" fmla="*/ 49 h 211"/>
                  <a:gd name="T28" fmla="*/ 524 w 868"/>
                  <a:gd name="T29" fmla="*/ 50 h 211"/>
                  <a:gd name="T30" fmla="*/ 530 w 868"/>
                  <a:gd name="T31" fmla="*/ 49 h 211"/>
                  <a:gd name="T32" fmla="*/ 549 w 868"/>
                  <a:gd name="T33" fmla="*/ 43 h 211"/>
                  <a:gd name="T34" fmla="*/ 585 w 868"/>
                  <a:gd name="T35" fmla="*/ 35 h 211"/>
                  <a:gd name="T36" fmla="*/ 616 w 868"/>
                  <a:gd name="T37" fmla="*/ 29 h 211"/>
                  <a:gd name="T38" fmla="*/ 636 w 868"/>
                  <a:gd name="T39" fmla="*/ 25 h 211"/>
                  <a:gd name="T40" fmla="*/ 660 w 868"/>
                  <a:gd name="T41" fmla="*/ 21 h 211"/>
                  <a:gd name="T42" fmla="*/ 673 w 868"/>
                  <a:gd name="T43" fmla="*/ 16 h 211"/>
                  <a:gd name="T44" fmla="*/ 709 w 868"/>
                  <a:gd name="T45" fmla="*/ 11 h 211"/>
                  <a:gd name="T46" fmla="*/ 740 w 868"/>
                  <a:gd name="T47" fmla="*/ 5 h 211"/>
                  <a:gd name="T48" fmla="*/ 764 w 868"/>
                  <a:gd name="T49" fmla="*/ 0 h 211"/>
                  <a:gd name="T50" fmla="*/ 783 w 868"/>
                  <a:gd name="T51" fmla="*/ 3 h 211"/>
                  <a:gd name="T52" fmla="*/ 808 w 868"/>
                  <a:gd name="T53" fmla="*/ 5 h 211"/>
                  <a:gd name="T54" fmla="*/ 839 w 868"/>
                  <a:gd name="T55" fmla="*/ 5 h 211"/>
                  <a:gd name="T56" fmla="*/ 862 w 868"/>
                  <a:gd name="T57" fmla="*/ 9 h 211"/>
                  <a:gd name="T58" fmla="*/ 901 w 868"/>
                  <a:gd name="T59" fmla="*/ 13 h 211"/>
                  <a:gd name="T60" fmla="*/ 930 w 868"/>
                  <a:gd name="T61" fmla="*/ 17 h 211"/>
                  <a:gd name="T62" fmla="*/ 963 w 868"/>
                  <a:gd name="T63" fmla="*/ 21 h 211"/>
                  <a:gd name="T64" fmla="*/ 1005 w 868"/>
                  <a:gd name="T65" fmla="*/ 26 h 211"/>
                  <a:gd name="T66" fmla="*/ 1035 w 868"/>
                  <a:gd name="T67" fmla="*/ 29 h 211"/>
                  <a:gd name="T68" fmla="*/ 1067 w 868"/>
                  <a:gd name="T69" fmla="*/ 34 h 211"/>
                  <a:gd name="T70" fmla="*/ 1098 w 868"/>
                  <a:gd name="T71" fmla="*/ 38 h 211"/>
                  <a:gd name="T72" fmla="*/ 1135 w 868"/>
                  <a:gd name="T73" fmla="*/ 42 h 211"/>
                  <a:gd name="T74" fmla="*/ 1165 w 868"/>
                  <a:gd name="T75" fmla="*/ 46 h 211"/>
                  <a:gd name="T76" fmla="*/ 1019 w 868"/>
                  <a:gd name="T77" fmla="*/ 49 h 211"/>
                  <a:gd name="T78" fmla="*/ 783 w 868"/>
                  <a:gd name="T79" fmla="*/ 19 h 211"/>
                  <a:gd name="T80" fmla="*/ 764 w 868"/>
                  <a:gd name="T81" fmla="*/ 21 h 211"/>
                  <a:gd name="T82" fmla="*/ 752 w 868"/>
                  <a:gd name="T83" fmla="*/ 25 h 211"/>
                  <a:gd name="T84" fmla="*/ 733 w 868"/>
                  <a:gd name="T85" fmla="*/ 29 h 211"/>
                  <a:gd name="T86" fmla="*/ 709 w 868"/>
                  <a:gd name="T87" fmla="*/ 35 h 211"/>
                  <a:gd name="T88" fmla="*/ 678 w 868"/>
                  <a:gd name="T89" fmla="*/ 39 h 211"/>
                  <a:gd name="T90" fmla="*/ 654 w 868"/>
                  <a:gd name="T91" fmla="*/ 45 h 211"/>
                  <a:gd name="T92" fmla="*/ 629 w 868"/>
                  <a:gd name="T93" fmla="*/ 50 h 211"/>
                  <a:gd name="T94" fmla="*/ 598 w 868"/>
                  <a:gd name="T95" fmla="*/ 55 h 211"/>
                  <a:gd name="T96" fmla="*/ 567 w 868"/>
                  <a:gd name="T97" fmla="*/ 59 h 211"/>
                  <a:gd name="T98" fmla="*/ 542 w 868"/>
                  <a:gd name="T99" fmla="*/ 64 h 211"/>
                  <a:gd name="T100" fmla="*/ 518 w 868"/>
                  <a:gd name="T101" fmla="*/ 71 h 211"/>
                  <a:gd name="T102" fmla="*/ 492 w 868"/>
                  <a:gd name="T103" fmla="*/ 72 h 211"/>
                  <a:gd name="T104" fmla="*/ 480 w 868"/>
                  <a:gd name="T105" fmla="*/ 67 h 211"/>
                  <a:gd name="T106" fmla="*/ 450 w 868"/>
                  <a:gd name="T107" fmla="*/ 61 h 211"/>
                  <a:gd name="T108" fmla="*/ 413 w 868"/>
                  <a:gd name="T109" fmla="*/ 54 h 211"/>
                  <a:gd name="T110" fmla="*/ 358 w 868"/>
                  <a:gd name="T111" fmla="*/ 46 h 211"/>
                  <a:gd name="T112" fmla="*/ 339 w 868"/>
                  <a:gd name="T113" fmla="*/ 41 h 211"/>
                  <a:gd name="T114" fmla="*/ 315 w 868"/>
                  <a:gd name="T115" fmla="*/ 38 h 211"/>
                  <a:gd name="T116" fmla="*/ 271 w 868"/>
                  <a:gd name="T117" fmla="*/ 31 h 211"/>
                  <a:gd name="T118" fmla="*/ 247 w 868"/>
                  <a:gd name="T119" fmla="*/ 26 h 211"/>
                  <a:gd name="T120" fmla="*/ 0 w 868"/>
                  <a:gd name="T121" fmla="*/ 48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8"/>
                  <a:gd name="T184" fmla="*/ 0 h 211"/>
                  <a:gd name="T185" fmla="*/ 868 w 868"/>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8" h="211">
                    <a:moveTo>
                      <a:pt x="0" y="140"/>
                    </a:moveTo>
                    <a:lnTo>
                      <a:pt x="13" y="131"/>
                    </a:lnTo>
                    <a:lnTo>
                      <a:pt x="27" y="123"/>
                    </a:lnTo>
                    <a:lnTo>
                      <a:pt x="41" y="111"/>
                    </a:lnTo>
                    <a:lnTo>
                      <a:pt x="54" y="103"/>
                    </a:lnTo>
                    <a:lnTo>
                      <a:pt x="64" y="92"/>
                    </a:lnTo>
                    <a:lnTo>
                      <a:pt x="77" y="83"/>
                    </a:lnTo>
                    <a:lnTo>
                      <a:pt x="91" y="74"/>
                    </a:lnTo>
                    <a:lnTo>
                      <a:pt x="105" y="66"/>
                    </a:lnTo>
                    <a:lnTo>
                      <a:pt x="109" y="57"/>
                    </a:lnTo>
                    <a:lnTo>
                      <a:pt x="123" y="49"/>
                    </a:lnTo>
                    <a:lnTo>
                      <a:pt x="132" y="43"/>
                    </a:lnTo>
                    <a:lnTo>
                      <a:pt x="146" y="37"/>
                    </a:lnTo>
                    <a:lnTo>
                      <a:pt x="160" y="29"/>
                    </a:lnTo>
                    <a:lnTo>
                      <a:pt x="173" y="26"/>
                    </a:lnTo>
                    <a:lnTo>
                      <a:pt x="178" y="29"/>
                    </a:lnTo>
                    <a:lnTo>
                      <a:pt x="187" y="35"/>
                    </a:lnTo>
                    <a:lnTo>
                      <a:pt x="201" y="37"/>
                    </a:lnTo>
                    <a:lnTo>
                      <a:pt x="214" y="49"/>
                    </a:lnTo>
                    <a:lnTo>
                      <a:pt x="233" y="57"/>
                    </a:lnTo>
                    <a:lnTo>
                      <a:pt x="251" y="69"/>
                    </a:lnTo>
                    <a:lnTo>
                      <a:pt x="265" y="80"/>
                    </a:lnTo>
                    <a:lnTo>
                      <a:pt x="288" y="94"/>
                    </a:lnTo>
                    <a:lnTo>
                      <a:pt x="306" y="103"/>
                    </a:lnTo>
                    <a:lnTo>
                      <a:pt x="324" y="114"/>
                    </a:lnTo>
                    <a:lnTo>
                      <a:pt x="342" y="126"/>
                    </a:lnTo>
                    <a:lnTo>
                      <a:pt x="356" y="134"/>
                    </a:lnTo>
                    <a:lnTo>
                      <a:pt x="365" y="143"/>
                    </a:lnTo>
                    <a:lnTo>
                      <a:pt x="379" y="146"/>
                    </a:lnTo>
                    <a:lnTo>
                      <a:pt x="388" y="148"/>
                    </a:lnTo>
                    <a:lnTo>
                      <a:pt x="393" y="148"/>
                    </a:lnTo>
                    <a:lnTo>
                      <a:pt x="393" y="143"/>
                    </a:lnTo>
                    <a:lnTo>
                      <a:pt x="402" y="134"/>
                    </a:lnTo>
                    <a:lnTo>
                      <a:pt x="406" y="126"/>
                    </a:lnTo>
                    <a:lnTo>
                      <a:pt x="420" y="114"/>
                    </a:lnTo>
                    <a:lnTo>
                      <a:pt x="434" y="103"/>
                    </a:lnTo>
                    <a:lnTo>
                      <a:pt x="447" y="92"/>
                    </a:lnTo>
                    <a:lnTo>
                      <a:pt x="457" y="86"/>
                    </a:lnTo>
                    <a:lnTo>
                      <a:pt x="466" y="80"/>
                    </a:lnTo>
                    <a:lnTo>
                      <a:pt x="470" y="72"/>
                    </a:lnTo>
                    <a:lnTo>
                      <a:pt x="479" y="69"/>
                    </a:lnTo>
                    <a:lnTo>
                      <a:pt x="489" y="60"/>
                    </a:lnTo>
                    <a:lnTo>
                      <a:pt x="493" y="55"/>
                    </a:lnTo>
                    <a:lnTo>
                      <a:pt x="498" y="46"/>
                    </a:lnTo>
                    <a:lnTo>
                      <a:pt x="507" y="40"/>
                    </a:lnTo>
                    <a:lnTo>
                      <a:pt x="525" y="29"/>
                    </a:lnTo>
                    <a:lnTo>
                      <a:pt x="539" y="20"/>
                    </a:lnTo>
                    <a:lnTo>
                      <a:pt x="548" y="12"/>
                    </a:lnTo>
                    <a:lnTo>
                      <a:pt x="562" y="3"/>
                    </a:lnTo>
                    <a:lnTo>
                      <a:pt x="566" y="0"/>
                    </a:lnTo>
                    <a:lnTo>
                      <a:pt x="580" y="0"/>
                    </a:lnTo>
                    <a:lnTo>
                      <a:pt x="580" y="3"/>
                    </a:lnTo>
                    <a:lnTo>
                      <a:pt x="594" y="6"/>
                    </a:lnTo>
                    <a:lnTo>
                      <a:pt x="598" y="9"/>
                    </a:lnTo>
                    <a:lnTo>
                      <a:pt x="612" y="12"/>
                    </a:lnTo>
                    <a:lnTo>
                      <a:pt x="621" y="17"/>
                    </a:lnTo>
                    <a:lnTo>
                      <a:pt x="630" y="23"/>
                    </a:lnTo>
                    <a:lnTo>
                      <a:pt x="639" y="26"/>
                    </a:lnTo>
                    <a:lnTo>
                      <a:pt x="653" y="32"/>
                    </a:lnTo>
                    <a:lnTo>
                      <a:pt x="667" y="37"/>
                    </a:lnTo>
                    <a:lnTo>
                      <a:pt x="676" y="43"/>
                    </a:lnTo>
                    <a:lnTo>
                      <a:pt x="690" y="49"/>
                    </a:lnTo>
                    <a:lnTo>
                      <a:pt x="703" y="57"/>
                    </a:lnTo>
                    <a:lnTo>
                      <a:pt x="713" y="60"/>
                    </a:lnTo>
                    <a:lnTo>
                      <a:pt x="731" y="69"/>
                    </a:lnTo>
                    <a:lnTo>
                      <a:pt x="745" y="74"/>
                    </a:lnTo>
                    <a:lnTo>
                      <a:pt x="754" y="80"/>
                    </a:lnTo>
                    <a:lnTo>
                      <a:pt x="767" y="86"/>
                    </a:lnTo>
                    <a:lnTo>
                      <a:pt x="781" y="92"/>
                    </a:lnTo>
                    <a:lnTo>
                      <a:pt x="790" y="97"/>
                    </a:lnTo>
                    <a:lnTo>
                      <a:pt x="799" y="103"/>
                    </a:lnTo>
                    <a:lnTo>
                      <a:pt x="813" y="109"/>
                    </a:lnTo>
                    <a:lnTo>
                      <a:pt x="822" y="114"/>
                    </a:lnTo>
                    <a:lnTo>
                      <a:pt x="841" y="123"/>
                    </a:lnTo>
                    <a:lnTo>
                      <a:pt x="854" y="131"/>
                    </a:lnTo>
                    <a:lnTo>
                      <a:pt x="863" y="134"/>
                    </a:lnTo>
                    <a:lnTo>
                      <a:pt x="868" y="134"/>
                    </a:lnTo>
                    <a:lnTo>
                      <a:pt x="754" y="143"/>
                    </a:lnTo>
                    <a:lnTo>
                      <a:pt x="585" y="52"/>
                    </a:lnTo>
                    <a:lnTo>
                      <a:pt x="580" y="55"/>
                    </a:lnTo>
                    <a:lnTo>
                      <a:pt x="575" y="57"/>
                    </a:lnTo>
                    <a:lnTo>
                      <a:pt x="566" y="60"/>
                    </a:lnTo>
                    <a:lnTo>
                      <a:pt x="562" y="69"/>
                    </a:lnTo>
                    <a:lnTo>
                      <a:pt x="557" y="72"/>
                    </a:lnTo>
                    <a:lnTo>
                      <a:pt x="548" y="80"/>
                    </a:lnTo>
                    <a:lnTo>
                      <a:pt x="543" y="86"/>
                    </a:lnTo>
                    <a:lnTo>
                      <a:pt x="530" y="92"/>
                    </a:lnTo>
                    <a:lnTo>
                      <a:pt x="525" y="100"/>
                    </a:lnTo>
                    <a:lnTo>
                      <a:pt x="511" y="109"/>
                    </a:lnTo>
                    <a:lnTo>
                      <a:pt x="502" y="114"/>
                    </a:lnTo>
                    <a:lnTo>
                      <a:pt x="489" y="123"/>
                    </a:lnTo>
                    <a:lnTo>
                      <a:pt x="484" y="131"/>
                    </a:lnTo>
                    <a:lnTo>
                      <a:pt x="475" y="137"/>
                    </a:lnTo>
                    <a:lnTo>
                      <a:pt x="466" y="146"/>
                    </a:lnTo>
                    <a:lnTo>
                      <a:pt x="452" y="154"/>
                    </a:lnTo>
                    <a:lnTo>
                      <a:pt x="443" y="160"/>
                    </a:lnTo>
                    <a:lnTo>
                      <a:pt x="434" y="168"/>
                    </a:lnTo>
                    <a:lnTo>
                      <a:pt x="420" y="174"/>
                    </a:lnTo>
                    <a:lnTo>
                      <a:pt x="415" y="183"/>
                    </a:lnTo>
                    <a:lnTo>
                      <a:pt x="402" y="186"/>
                    </a:lnTo>
                    <a:lnTo>
                      <a:pt x="402" y="194"/>
                    </a:lnTo>
                    <a:lnTo>
                      <a:pt x="384" y="205"/>
                    </a:lnTo>
                    <a:lnTo>
                      <a:pt x="374" y="208"/>
                    </a:lnTo>
                    <a:lnTo>
                      <a:pt x="365" y="211"/>
                    </a:lnTo>
                    <a:lnTo>
                      <a:pt x="365" y="205"/>
                    </a:lnTo>
                    <a:lnTo>
                      <a:pt x="356" y="197"/>
                    </a:lnTo>
                    <a:lnTo>
                      <a:pt x="347" y="191"/>
                    </a:lnTo>
                    <a:lnTo>
                      <a:pt x="333" y="180"/>
                    </a:lnTo>
                    <a:lnTo>
                      <a:pt x="320" y="168"/>
                    </a:lnTo>
                    <a:lnTo>
                      <a:pt x="306" y="157"/>
                    </a:lnTo>
                    <a:lnTo>
                      <a:pt x="288" y="143"/>
                    </a:lnTo>
                    <a:lnTo>
                      <a:pt x="265" y="134"/>
                    </a:lnTo>
                    <a:lnTo>
                      <a:pt x="256" y="126"/>
                    </a:lnTo>
                    <a:lnTo>
                      <a:pt x="251" y="120"/>
                    </a:lnTo>
                    <a:lnTo>
                      <a:pt x="237" y="114"/>
                    </a:lnTo>
                    <a:lnTo>
                      <a:pt x="233" y="109"/>
                    </a:lnTo>
                    <a:lnTo>
                      <a:pt x="214" y="97"/>
                    </a:lnTo>
                    <a:lnTo>
                      <a:pt x="201" y="89"/>
                    </a:lnTo>
                    <a:lnTo>
                      <a:pt x="187" y="80"/>
                    </a:lnTo>
                    <a:lnTo>
                      <a:pt x="182" y="74"/>
                    </a:lnTo>
                    <a:lnTo>
                      <a:pt x="173" y="69"/>
                    </a:lnTo>
                    <a:lnTo>
                      <a:pt x="0" y="1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50" name="Freeform 43"/>
              <p:cNvSpPr>
                <a:spLocks/>
              </p:cNvSpPr>
              <p:nvPr>
                <p:custDataLst>
                  <p:tags r:id="rId172"/>
                </p:custDataLst>
              </p:nvPr>
            </p:nvSpPr>
            <p:spPr bwMode="gray">
              <a:xfrm>
                <a:off x="2468" y="1772"/>
                <a:ext cx="980" cy="129"/>
              </a:xfrm>
              <a:custGeom>
                <a:avLst/>
                <a:gdLst>
                  <a:gd name="T0" fmla="*/ 49 w 956"/>
                  <a:gd name="T1" fmla="*/ 31 h 142"/>
                  <a:gd name="T2" fmla="*/ 93 w 956"/>
                  <a:gd name="T3" fmla="*/ 25 h 142"/>
                  <a:gd name="T4" fmla="*/ 137 w 956"/>
                  <a:gd name="T5" fmla="*/ 22 h 142"/>
                  <a:gd name="T6" fmla="*/ 178 w 956"/>
                  <a:gd name="T7" fmla="*/ 18 h 142"/>
                  <a:gd name="T8" fmla="*/ 228 w 956"/>
                  <a:gd name="T9" fmla="*/ 14 h 142"/>
                  <a:gd name="T10" fmla="*/ 284 w 956"/>
                  <a:gd name="T11" fmla="*/ 12 h 142"/>
                  <a:gd name="T12" fmla="*/ 333 w 956"/>
                  <a:gd name="T13" fmla="*/ 9 h 142"/>
                  <a:gd name="T14" fmla="*/ 387 w 956"/>
                  <a:gd name="T15" fmla="*/ 6 h 142"/>
                  <a:gd name="T16" fmla="*/ 449 w 956"/>
                  <a:gd name="T17" fmla="*/ 5 h 142"/>
                  <a:gd name="T18" fmla="*/ 504 w 956"/>
                  <a:gd name="T19" fmla="*/ 5 h 142"/>
                  <a:gd name="T20" fmla="*/ 568 w 956"/>
                  <a:gd name="T21" fmla="*/ 5 h 142"/>
                  <a:gd name="T22" fmla="*/ 623 w 956"/>
                  <a:gd name="T23" fmla="*/ 3 h 142"/>
                  <a:gd name="T24" fmla="*/ 673 w 956"/>
                  <a:gd name="T25" fmla="*/ 3 h 142"/>
                  <a:gd name="T26" fmla="*/ 732 w 956"/>
                  <a:gd name="T27" fmla="*/ 0 h 142"/>
                  <a:gd name="T28" fmla="*/ 787 w 956"/>
                  <a:gd name="T29" fmla="*/ 0 h 142"/>
                  <a:gd name="T30" fmla="*/ 839 w 956"/>
                  <a:gd name="T31" fmla="*/ 3 h 142"/>
                  <a:gd name="T32" fmla="*/ 882 w 956"/>
                  <a:gd name="T33" fmla="*/ 3 h 142"/>
                  <a:gd name="T34" fmla="*/ 931 w 956"/>
                  <a:gd name="T35" fmla="*/ 5 h 142"/>
                  <a:gd name="T36" fmla="*/ 989 w 956"/>
                  <a:gd name="T37" fmla="*/ 5 h 142"/>
                  <a:gd name="T38" fmla="*/ 1039 w 956"/>
                  <a:gd name="T39" fmla="*/ 6 h 142"/>
                  <a:gd name="T40" fmla="*/ 1089 w 956"/>
                  <a:gd name="T41" fmla="*/ 10 h 142"/>
                  <a:gd name="T42" fmla="*/ 1139 w 956"/>
                  <a:gd name="T43" fmla="*/ 13 h 142"/>
                  <a:gd name="T44" fmla="*/ 1194 w 956"/>
                  <a:gd name="T45" fmla="*/ 19 h 142"/>
                  <a:gd name="T46" fmla="*/ 1249 w 956"/>
                  <a:gd name="T47" fmla="*/ 25 h 142"/>
                  <a:gd name="T48" fmla="*/ 1280 w 956"/>
                  <a:gd name="T49" fmla="*/ 30 h 142"/>
                  <a:gd name="T50" fmla="*/ 1280 w 956"/>
                  <a:gd name="T51" fmla="*/ 31 h 142"/>
                  <a:gd name="T52" fmla="*/ 1231 w 956"/>
                  <a:gd name="T53" fmla="*/ 27 h 142"/>
                  <a:gd name="T54" fmla="*/ 1183 w 956"/>
                  <a:gd name="T55" fmla="*/ 23 h 142"/>
                  <a:gd name="T56" fmla="*/ 1128 w 956"/>
                  <a:gd name="T57" fmla="*/ 20 h 142"/>
                  <a:gd name="T58" fmla="*/ 1064 w 956"/>
                  <a:gd name="T59" fmla="*/ 16 h 142"/>
                  <a:gd name="T60" fmla="*/ 989 w 956"/>
                  <a:gd name="T61" fmla="*/ 14 h 142"/>
                  <a:gd name="T62" fmla="*/ 911 w 956"/>
                  <a:gd name="T63" fmla="*/ 10 h 142"/>
                  <a:gd name="T64" fmla="*/ 856 w 956"/>
                  <a:gd name="T65" fmla="*/ 9 h 142"/>
                  <a:gd name="T66" fmla="*/ 814 w 956"/>
                  <a:gd name="T67" fmla="*/ 8 h 142"/>
                  <a:gd name="T68" fmla="*/ 769 w 956"/>
                  <a:gd name="T69" fmla="*/ 8 h 142"/>
                  <a:gd name="T70" fmla="*/ 728 w 956"/>
                  <a:gd name="T71" fmla="*/ 8 h 142"/>
                  <a:gd name="T72" fmla="*/ 684 w 956"/>
                  <a:gd name="T73" fmla="*/ 8 h 142"/>
                  <a:gd name="T74" fmla="*/ 634 w 956"/>
                  <a:gd name="T75" fmla="*/ 8 h 142"/>
                  <a:gd name="T76" fmla="*/ 585 w 956"/>
                  <a:gd name="T77" fmla="*/ 9 h 142"/>
                  <a:gd name="T78" fmla="*/ 535 w 956"/>
                  <a:gd name="T79" fmla="*/ 10 h 142"/>
                  <a:gd name="T80" fmla="*/ 492 w 956"/>
                  <a:gd name="T81" fmla="*/ 12 h 142"/>
                  <a:gd name="T82" fmla="*/ 444 w 956"/>
                  <a:gd name="T83" fmla="*/ 14 h 142"/>
                  <a:gd name="T84" fmla="*/ 401 w 956"/>
                  <a:gd name="T85" fmla="*/ 16 h 142"/>
                  <a:gd name="T86" fmla="*/ 359 w 956"/>
                  <a:gd name="T87" fmla="*/ 18 h 142"/>
                  <a:gd name="T88" fmla="*/ 309 w 956"/>
                  <a:gd name="T89" fmla="*/ 21 h 142"/>
                  <a:gd name="T90" fmla="*/ 253 w 956"/>
                  <a:gd name="T91" fmla="*/ 25 h 142"/>
                  <a:gd name="T92" fmla="*/ 186 w 956"/>
                  <a:gd name="T93" fmla="*/ 31 h 142"/>
                  <a:gd name="T94" fmla="*/ 116 w 956"/>
                  <a:gd name="T95" fmla="*/ 37 h 142"/>
                  <a:gd name="T96" fmla="*/ 58 w 956"/>
                  <a:gd name="T97" fmla="*/ 41 h 142"/>
                  <a:gd name="T98" fmla="*/ 0 w 956"/>
                  <a:gd name="T99" fmla="*/ 45 h 142"/>
                  <a:gd name="T100" fmla="*/ 5 w 956"/>
                  <a:gd name="T101" fmla="*/ 40 h 142"/>
                  <a:gd name="T102" fmla="*/ 5 w 956"/>
                  <a:gd name="T103" fmla="*/ 37 h 1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6"/>
                  <a:gd name="T157" fmla="*/ 0 h 142"/>
                  <a:gd name="T158" fmla="*/ 956 w 956"/>
                  <a:gd name="T159" fmla="*/ 142 h 1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6" h="142">
                    <a:moveTo>
                      <a:pt x="5" y="119"/>
                    </a:moveTo>
                    <a:lnTo>
                      <a:pt x="19" y="108"/>
                    </a:lnTo>
                    <a:lnTo>
                      <a:pt x="37" y="97"/>
                    </a:lnTo>
                    <a:lnTo>
                      <a:pt x="46" y="91"/>
                    </a:lnTo>
                    <a:lnTo>
                      <a:pt x="55" y="85"/>
                    </a:lnTo>
                    <a:lnTo>
                      <a:pt x="69" y="79"/>
                    </a:lnTo>
                    <a:lnTo>
                      <a:pt x="78" y="77"/>
                    </a:lnTo>
                    <a:lnTo>
                      <a:pt x="87" y="74"/>
                    </a:lnTo>
                    <a:lnTo>
                      <a:pt x="101" y="68"/>
                    </a:lnTo>
                    <a:lnTo>
                      <a:pt x="110" y="62"/>
                    </a:lnTo>
                    <a:lnTo>
                      <a:pt x="119" y="60"/>
                    </a:lnTo>
                    <a:lnTo>
                      <a:pt x="133" y="57"/>
                    </a:lnTo>
                    <a:lnTo>
                      <a:pt x="147" y="51"/>
                    </a:lnTo>
                    <a:lnTo>
                      <a:pt x="156" y="51"/>
                    </a:lnTo>
                    <a:lnTo>
                      <a:pt x="170" y="45"/>
                    </a:lnTo>
                    <a:lnTo>
                      <a:pt x="183" y="42"/>
                    </a:lnTo>
                    <a:lnTo>
                      <a:pt x="192" y="40"/>
                    </a:lnTo>
                    <a:lnTo>
                      <a:pt x="211" y="37"/>
                    </a:lnTo>
                    <a:lnTo>
                      <a:pt x="224" y="31"/>
                    </a:lnTo>
                    <a:lnTo>
                      <a:pt x="234" y="31"/>
                    </a:lnTo>
                    <a:lnTo>
                      <a:pt x="247" y="28"/>
                    </a:lnTo>
                    <a:lnTo>
                      <a:pt x="261" y="25"/>
                    </a:lnTo>
                    <a:lnTo>
                      <a:pt x="279" y="22"/>
                    </a:lnTo>
                    <a:lnTo>
                      <a:pt x="288" y="20"/>
                    </a:lnTo>
                    <a:lnTo>
                      <a:pt x="307" y="20"/>
                    </a:lnTo>
                    <a:lnTo>
                      <a:pt x="320" y="17"/>
                    </a:lnTo>
                    <a:lnTo>
                      <a:pt x="334" y="17"/>
                    </a:lnTo>
                    <a:lnTo>
                      <a:pt x="343" y="14"/>
                    </a:lnTo>
                    <a:lnTo>
                      <a:pt x="361" y="11"/>
                    </a:lnTo>
                    <a:lnTo>
                      <a:pt x="375" y="8"/>
                    </a:lnTo>
                    <a:lnTo>
                      <a:pt x="393" y="8"/>
                    </a:lnTo>
                    <a:lnTo>
                      <a:pt x="403" y="8"/>
                    </a:lnTo>
                    <a:lnTo>
                      <a:pt x="421" y="5"/>
                    </a:lnTo>
                    <a:lnTo>
                      <a:pt x="430" y="5"/>
                    </a:lnTo>
                    <a:lnTo>
                      <a:pt x="448" y="5"/>
                    </a:lnTo>
                    <a:lnTo>
                      <a:pt x="462" y="3"/>
                    </a:lnTo>
                    <a:lnTo>
                      <a:pt x="476" y="3"/>
                    </a:lnTo>
                    <a:lnTo>
                      <a:pt x="489" y="3"/>
                    </a:lnTo>
                    <a:lnTo>
                      <a:pt x="499" y="3"/>
                    </a:lnTo>
                    <a:lnTo>
                      <a:pt x="517" y="0"/>
                    </a:lnTo>
                    <a:lnTo>
                      <a:pt x="531" y="0"/>
                    </a:lnTo>
                    <a:lnTo>
                      <a:pt x="544" y="0"/>
                    </a:lnTo>
                    <a:lnTo>
                      <a:pt x="553" y="0"/>
                    </a:lnTo>
                    <a:lnTo>
                      <a:pt x="567" y="0"/>
                    </a:lnTo>
                    <a:lnTo>
                      <a:pt x="585" y="0"/>
                    </a:lnTo>
                    <a:lnTo>
                      <a:pt x="595" y="0"/>
                    </a:lnTo>
                    <a:lnTo>
                      <a:pt x="608" y="3"/>
                    </a:lnTo>
                    <a:lnTo>
                      <a:pt x="622" y="3"/>
                    </a:lnTo>
                    <a:lnTo>
                      <a:pt x="631" y="3"/>
                    </a:lnTo>
                    <a:lnTo>
                      <a:pt x="645" y="3"/>
                    </a:lnTo>
                    <a:lnTo>
                      <a:pt x="654" y="3"/>
                    </a:lnTo>
                    <a:lnTo>
                      <a:pt x="668" y="3"/>
                    </a:lnTo>
                    <a:lnTo>
                      <a:pt x="677" y="3"/>
                    </a:lnTo>
                    <a:lnTo>
                      <a:pt x="691" y="5"/>
                    </a:lnTo>
                    <a:lnTo>
                      <a:pt x="700" y="5"/>
                    </a:lnTo>
                    <a:lnTo>
                      <a:pt x="718" y="8"/>
                    </a:lnTo>
                    <a:lnTo>
                      <a:pt x="736" y="8"/>
                    </a:lnTo>
                    <a:lnTo>
                      <a:pt x="750" y="14"/>
                    </a:lnTo>
                    <a:lnTo>
                      <a:pt x="764" y="17"/>
                    </a:lnTo>
                    <a:lnTo>
                      <a:pt x="773" y="20"/>
                    </a:lnTo>
                    <a:lnTo>
                      <a:pt x="791" y="22"/>
                    </a:lnTo>
                    <a:lnTo>
                      <a:pt x="800" y="25"/>
                    </a:lnTo>
                    <a:lnTo>
                      <a:pt x="809" y="31"/>
                    </a:lnTo>
                    <a:lnTo>
                      <a:pt x="823" y="31"/>
                    </a:lnTo>
                    <a:lnTo>
                      <a:pt x="837" y="37"/>
                    </a:lnTo>
                    <a:lnTo>
                      <a:pt x="846" y="40"/>
                    </a:lnTo>
                    <a:lnTo>
                      <a:pt x="855" y="42"/>
                    </a:lnTo>
                    <a:lnTo>
                      <a:pt x="873" y="51"/>
                    </a:lnTo>
                    <a:lnTo>
                      <a:pt x="887" y="60"/>
                    </a:lnTo>
                    <a:lnTo>
                      <a:pt x="905" y="65"/>
                    </a:lnTo>
                    <a:lnTo>
                      <a:pt x="919" y="74"/>
                    </a:lnTo>
                    <a:lnTo>
                      <a:pt x="928" y="77"/>
                    </a:lnTo>
                    <a:lnTo>
                      <a:pt x="937" y="85"/>
                    </a:lnTo>
                    <a:lnTo>
                      <a:pt x="946" y="88"/>
                    </a:lnTo>
                    <a:lnTo>
                      <a:pt x="951" y="94"/>
                    </a:lnTo>
                    <a:lnTo>
                      <a:pt x="956" y="97"/>
                    </a:lnTo>
                    <a:lnTo>
                      <a:pt x="956" y="99"/>
                    </a:lnTo>
                    <a:lnTo>
                      <a:pt x="951" y="97"/>
                    </a:lnTo>
                    <a:lnTo>
                      <a:pt x="942" y="94"/>
                    </a:lnTo>
                    <a:lnTo>
                      <a:pt x="928" y="88"/>
                    </a:lnTo>
                    <a:lnTo>
                      <a:pt x="914" y="85"/>
                    </a:lnTo>
                    <a:lnTo>
                      <a:pt x="901" y="79"/>
                    </a:lnTo>
                    <a:lnTo>
                      <a:pt x="887" y="77"/>
                    </a:lnTo>
                    <a:lnTo>
                      <a:pt x="878" y="74"/>
                    </a:lnTo>
                    <a:lnTo>
                      <a:pt x="864" y="68"/>
                    </a:lnTo>
                    <a:lnTo>
                      <a:pt x="846" y="65"/>
                    </a:lnTo>
                    <a:lnTo>
                      <a:pt x="837" y="62"/>
                    </a:lnTo>
                    <a:lnTo>
                      <a:pt x="823" y="60"/>
                    </a:lnTo>
                    <a:lnTo>
                      <a:pt x="809" y="57"/>
                    </a:lnTo>
                    <a:lnTo>
                      <a:pt x="791" y="51"/>
                    </a:lnTo>
                    <a:lnTo>
                      <a:pt x="773" y="51"/>
                    </a:lnTo>
                    <a:lnTo>
                      <a:pt x="755" y="45"/>
                    </a:lnTo>
                    <a:lnTo>
                      <a:pt x="736" y="42"/>
                    </a:lnTo>
                    <a:lnTo>
                      <a:pt x="718" y="40"/>
                    </a:lnTo>
                    <a:lnTo>
                      <a:pt x="700" y="37"/>
                    </a:lnTo>
                    <a:lnTo>
                      <a:pt x="677" y="31"/>
                    </a:lnTo>
                    <a:lnTo>
                      <a:pt x="659" y="31"/>
                    </a:lnTo>
                    <a:lnTo>
                      <a:pt x="649" y="31"/>
                    </a:lnTo>
                    <a:lnTo>
                      <a:pt x="636" y="28"/>
                    </a:lnTo>
                    <a:lnTo>
                      <a:pt x="627" y="28"/>
                    </a:lnTo>
                    <a:lnTo>
                      <a:pt x="617" y="28"/>
                    </a:lnTo>
                    <a:lnTo>
                      <a:pt x="604" y="25"/>
                    </a:lnTo>
                    <a:lnTo>
                      <a:pt x="595" y="25"/>
                    </a:lnTo>
                    <a:lnTo>
                      <a:pt x="585" y="25"/>
                    </a:lnTo>
                    <a:lnTo>
                      <a:pt x="572" y="25"/>
                    </a:lnTo>
                    <a:lnTo>
                      <a:pt x="563" y="25"/>
                    </a:lnTo>
                    <a:lnTo>
                      <a:pt x="553" y="25"/>
                    </a:lnTo>
                    <a:lnTo>
                      <a:pt x="540" y="25"/>
                    </a:lnTo>
                    <a:lnTo>
                      <a:pt x="531" y="25"/>
                    </a:lnTo>
                    <a:lnTo>
                      <a:pt x="517" y="25"/>
                    </a:lnTo>
                    <a:lnTo>
                      <a:pt x="508" y="25"/>
                    </a:lnTo>
                    <a:lnTo>
                      <a:pt x="499" y="25"/>
                    </a:lnTo>
                    <a:lnTo>
                      <a:pt x="485" y="25"/>
                    </a:lnTo>
                    <a:lnTo>
                      <a:pt x="471" y="25"/>
                    </a:lnTo>
                    <a:lnTo>
                      <a:pt x="462" y="25"/>
                    </a:lnTo>
                    <a:lnTo>
                      <a:pt x="448" y="25"/>
                    </a:lnTo>
                    <a:lnTo>
                      <a:pt x="435" y="28"/>
                    </a:lnTo>
                    <a:lnTo>
                      <a:pt x="421" y="28"/>
                    </a:lnTo>
                    <a:lnTo>
                      <a:pt x="412" y="31"/>
                    </a:lnTo>
                    <a:lnTo>
                      <a:pt x="398" y="31"/>
                    </a:lnTo>
                    <a:lnTo>
                      <a:pt x="389" y="31"/>
                    </a:lnTo>
                    <a:lnTo>
                      <a:pt x="375" y="34"/>
                    </a:lnTo>
                    <a:lnTo>
                      <a:pt x="366" y="37"/>
                    </a:lnTo>
                    <a:lnTo>
                      <a:pt x="352" y="37"/>
                    </a:lnTo>
                    <a:lnTo>
                      <a:pt x="343" y="40"/>
                    </a:lnTo>
                    <a:lnTo>
                      <a:pt x="330" y="42"/>
                    </a:lnTo>
                    <a:lnTo>
                      <a:pt x="320" y="42"/>
                    </a:lnTo>
                    <a:lnTo>
                      <a:pt x="311" y="48"/>
                    </a:lnTo>
                    <a:lnTo>
                      <a:pt x="298" y="51"/>
                    </a:lnTo>
                    <a:lnTo>
                      <a:pt x="288" y="51"/>
                    </a:lnTo>
                    <a:lnTo>
                      <a:pt x="275" y="54"/>
                    </a:lnTo>
                    <a:lnTo>
                      <a:pt x="266" y="57"/>
                    </a:lnTo>
                    <a:lnTo>
                      <a:pt x="252" y="60"/>
                    </a:lnTo>
                    <a:lnTo>
                      <a:pt x="243" y="62"/>
                    </a:lnTo>
                    <a:lnTo>
                      <a:pt x="229" y="65"/>
                    </a:lnTo>
                    <a:lnTo>
                      <a:pt x="224" y="68"/>
                    </a:lnTo>
                    <a:lnTo>
                      <a:pt x="211" y="74"/>
                    </a:lnTo>
                    <a:lnTo>
                      <a:pt x="188" y="79"/>
                    </a:lnTo>
                    <a:lnTo>
                      <a:pt x="174" y="85"/>
                    </a:lnTo>
                    <a:lnTo>
                      <a:pt x="156" y="91"/>
                    </a:lnTo>
                    <a:lnTo>
                      <a:pt x="138" y="99"/>
                    </a:lnTo>
                    <a:lnTo>
                      <a:pt x="119" y="105"/>
                    </a:lnTo>
                    <a:lnTo>
                      <a:pt x="101" y="108"/>
                    </a:lnTo>
                    <a:lnTo>
                      <a:pt x="87" y="116"/>
                    </a:lnTo>
                    <a:lnTo>
                      <a:pt x="69" y="119"/>
                    </a:lnTo>
                    <a:lnTo>
                      <a:pt x="55" y="128"/>
                    </a:lnTo>
                    <a:lnTo>
                      <a:pt x="46" y="131"/>
                    </a:lnTo>
                    <a:lnTo>
                      <a:pt x="32" y="136"/>
                    </a:lnTo>
                    <a:lnTo>
                      <a:pt x="23" y="142"/>
                    </a:lnTo>
                    <a:lnTo>
                      <a:pt x="0" y="142"/>
                    </a:lnTo>
                    <a:lnTo>
                      <a:pt x="0" y="136"/>
                    </a:lnTo>
                    <a:lnTo>
                      <a:pt x="0" y="128"/>
                    </a:lnTo>
                    <a:lnTo>
                      <a:pt x="5" y="125"/>
                    </a:lnTo>
                    <a:lnTo>
                      <a:pt x="5" y="11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grpSp>
        <p:grpSp>
          <p:nvGrpSpPr>
            <p:cNvPr id="51" name="Group 65"/>
            <p:cNvGrpSpPr>
              <a:grpSpLocks/>
            </p:cNvGrpSpPr>
            <p:nvPr/>
          </p:nvGrpSpPr>
          <p:grpSpPr bwMode="gray">
            <a:xfrm>
              <a:off x="4140394" y="3235245"/>
              <a:ext cx="819679" cy="481686"/>
              <a:chOff x="0" y="402"/>
              <a:chExt cx="5645" cy="2423"/>
            </a:xfrm>
          </p:grpSpPr>
          <p:sp>
            <p:nvSpPr>
              <p:cNvPr id="52" name="Freeform 66"/>
              <p:cNvSpPr>
                <a:spLocks/>
              </p:cNvSpPr>
              <p:nvPr>
                <p:custDataLst>
                  <p:tags r:id="rId95"/>
                </p:custDataLst>
              </p:nvPr>
            </p:nvSpPr>
            <p:spPr bwMode="gray">
              <a:xfrm>
                <a:off x="0" y="402"/>
                <a:ext cx="5645" cy="831"/>
              </a:xfrm>
              <a:custGeom>
                <a:avLst/>
                <a:gdLst>
                  <a:gd name="T0" fmla="*/ 148 w 5507"/>
                  <a:gd name="T1" fmla="*/ 5 h 1310"/>
                  <a:gd name="T2" fmla="*/ 449 w 5507"/>
                  <a:gd name="T3" fmla="*/ 4 h 1310"/>
                  <a:gd name="T4" fmla="*/ 854 w 5507"/>
                  <a:gd name="T5" fmla="*/ 4 h 1310"/>
                  <a:gd name="T6" fmla="*/ 1316 w 5507"/>
                  <a:gd name="T7" fmla="*/ 3 h 1310"/>
                  <a:gd name="T8" fmla="*/ 1808 w 5507"/>
                  <a:gd name="T9" fmla="*/ 2 h 1310"/>
                  <a:gd name="T10" fmla="*/ 2312 w 5507"/>
                  <a:gd name="T11" fmla="*/ 1 h 1310"/>
                  <a:gd name="T12" fmla="*/ 2786 w 5507"/>
                  <a:gd name="T13" fmla="*/ 1 h 1310"/>
                  <a:gd name="T14" fmla="*/ 3198 w 5507"/>
                  <a:gd name="T15" fmla="*/ 1 h 1310"/>
                  <a:gd name="T16" fmla="*/ 3529 w 5507"/>
                  <a:gd name="T17" fmla="*/ 1 h 1310"/>
                  <a:gd name="T18" fmla="*/ 3721 w 5507"/>
                  <a:gd name="T19" fmla="*/ 1 h 1310"/>
                  <a:gd name="T20" fmla="*/ 3828 w 5507"/>
                  <a:gd name="T21" fmla="*/ 1 h 1310"/>
                  <a:gd name="T22" fmla="*/ 3940 w 5507"/>
                  <a:gd name="T23" fmla="*/ 1 h 1310"/>
                  <a:gd name="T24" fmla="*/ 4079 w 5507"/>
                  <a:gd name="T25" fmla="*/ 1 h 1310"/>
                  <a:gd name="T26" fmla="*/ 4212 w 5507"/>
                  <a:gd name="T27" fmla="*/ 1 h 1310"/>
                  <a:gd name="T28" fmla="*/ 4367 w 5507"/>
                  <a:gd name="T29" fmla="*/ 1 h 1310"/>
                  <a:gd name="T30" fmla="*/ 4527 w 5507"/>
                  <a:gd name="T31" fmla="*/ 1 h 1310"/>
                  <a:gd name="T32" fmla="*/ 4701 w 5507"/>
                  <a:gd name="T33" fmla="*/ 1 h 1310"/>
                  <a:gd name="T34" fmla="*/ 4907 w 5507"/>
                  <a:gd name="T35" fmla="*/ 1 h 1310"/>
                  <a:gd name="T36" fmla="*/ 5308 w 5507"/>
                  <a:gd name="T37" fmla="*/ 2 h 1310"/>
                  <a:gd name="T38" fmla="*/ 5701 w 5507"/>
                  <a:gd name="T39" fmla="*/ 3 h 1310"/>
                  <a:gd name="T40" fmla="*/ 6087 w 5507"/>
                  <a:gd name="T41" fmla="*/ 3 h 1310"/>
                  <a:gd name="T42" fmla="*/ 6451 w 5507"/>
                  <a:gd name="T43" fmla="*/ 3 h 1310"/>
                  <a:gd name="T44" fmla="*/ 6778 w 5507"/>
                  <a:gd name="T45" fmla="*/ 4 h 1310"/>
                  <a:gd name="T46" fmla="*/ 7042 w 5507"/>
                  <a:gd name="T47" fmla="*/ 4 h 1310"/>
                  <a:gd name="T48" fmla="*/ 7252 w 5507"/>
                  <a:gd name="T49" fmla="*/ 4 h 1310"/>
                  <a:gd name="T50" fmla="*/ 7374 w 5507"/>
                  <a:gd name="T51" fmla="*/ 4 h 1310"/>
                  <a:gd name="T52" fmla="*/ 7367 w 5507"/>
                  <a:gd name="T53" fmla="*/ 5 h 1310"/>
                  <a:gd name="T54" fmla="*/ 7246 w 5507"/>
                  <a:gd name="T55" fmla="*/ 5 h 1310"/>
                  <a:gd name="T56" fmla="*/ 7096 w 5507"/>
                  <a:gd name="T57" fmla="*/ 5 h 1310"/>
                  <a:gd name="T58" fmla="*/ 7042 w 5507"/>
                  <a:gd name="T59" fmla="*/ 5 h 1310"/>
                  <a:gd name="T60" fmla="*/ 6937 w 5507"/>
                  <a:gd name="T61" fmla="*/ 4 h 1310"/>
                  <a:gd name="T62" fmla="*/ 6802 w 5507"/>
                  <a:gd name="T63" fmla="*/ 4 h 1310"/>
                  <a:gd name="T64" fmla="*/ 6624 w 5507"/>
                  <a:gd name="T65" fmla="*/ 4 h 1310"/>
                  <a:gd name="T66" fmla="*/ 6415 w 5507"/>
                  <a:gd name="T67" fmla="*/ 4 h 1310"/>
                  <a:gd name="T68" fmla="*/ 6181 w 5507"/>
                  <a:gd name="T69" fmla="*/ 4 h 1310"/>
                  <a:gd name="T70" fmla="*/ 5923 w 5507"/>
                  <a:gd name="T71" fmla="*/ 3 h 1310"/>
                  <a:gd name="T72" fmla="*/ 5645 w 5507"/>
                  <a:gd name="T73" fmla="*/ 3 h 1310"/>
                  <a:gd name="T74" fmla="*/ 5375 w 5507"/>
                  <a:gd name="T75" fmla="*/ 3 h 1310"/>
                  <a:gd name="T76" fmla="*/ 5144 w 5507"/>
                  <a:gd name="T77" fmla="*/ 3 h 1310"/>
                  <a:gd name="T78" fmla="*/ 4902 w 5507"/>
                  <a:gd name="T79" fmla="*/ 2 h 1310"/>
                  <a:gd name="T80" fmla="*/ 4672 w 5507"/>
                  <a:gd name="T81" fmla="*/ 2 h 1310"/>
                  <a:gd name="T82" fmla="*/ 4458 w 5507"/>
                  <a:gd name="T83" fmla="*/ 2 h 1310"/>
                  <a:gd name="T84" fmla="*/ 4255 w 5507"/>
                  <a:gd name="T85" fmla="*/ 1 h 1310"/>
                  <a:gd name="T86" fmla="*/ 4073 w 5507"/>
                  <a:gd name="T87" fmla="*/ 1 h 1310"/>
                  <a:gd name="T88" fmla="*/ 3912 w 5507"/>
                  <a:gd name="T89" fmla="*/ 1 h 1310"/>
                  <a:gd name="T90" fmla="*/ 3783 w 5507"/>
                  <a:gd name="T91" fmla="*/ 1 h 1310"/>
                  <a:gd name="T92" fmla="*/ 3644 w 5507"/>
                  <a:gd name="T93" fmla="*/ 1 h 1310"/>
                  <a:gd name="T94" fmla="*/ 3321 w 5507"/>
                  <a:gd name="T95" fmla="*/ 1 h 1310"/>
                  <a:gd name="T96" fmla="*/ 2909 w 5507"/>
                  <a:gd name="T97" fmla="*/ 1 h 1310"/>
                  <a:gd name="T98" fmla="*/ 2423 w 5507"/>
                  <a:gd name="T99" fmla="*/ 2 h 1310"/>
                  <a:gd name="T100" fmla="*/ 1911 w 5507"/>
                  <a:gd name="T101" fmla="*/ 3 h 1310"/>
                  <a:gd name="T102" fmla="*/ 1409 w 5507"/>
                  <a:gd name="T103" fmla="*/ 4 h 1310"/>
                  <a:gd name="T104" fmla="*/ 954 w 5507"/>
                  <a:gd name="T105" fmla="*/ 4 h 1310"/>
                  <a:gd name="T106" fmla="*/ 579 w 5507"/>
                  <a:gd name="T107" fmla="*/ 5 h 1310"/>
                  <a:gd name="T108" fmla="*/ 326 w 5507"/>
                  <a:gd name="T109" fmla="*/ 6 h 1310"/>
                  <a:gd name="T110" fmla="*/ 221 w 5507"/>
                  <a:gd name="T111" fmla="*/ 6 h 1310"/>
                  <a:gd name="T112" fmla="*/ 88 w 5507"/>
                  <a:gd name="T113" fmla="*/ 6 h 13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07"/>
                  <a:gd name="T172" fmla="*/ 0 h 1310"/>
                  <a:gd name="T173" fmla="*/ 5507 w 5507"/>
                  <a:gd name="T174" fmla="*/ 1310 h 13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07" h="1310">
                    <a:moveTo>
                      <a:pt x="0" y="1281"/>
                    </a:moveTo>
                    <a:lnTo>
                      <a:pt x="0" y="1264"/>
                    </a:lnTo>
                    <a:lnTo>
                      <a:pt x="18" y="1253"/>
                    </a:lnTo>
                    <a:lnTo>
                      <a:pt x="41" y="1236"/>
                    </a:lnTo>
                    <a:lnTo>
                      <a:pt x="64" y="1219"/>
                    </a:lnTo>
                    <a:lnTo>
                      <a:pt x="87" y="1205"/>
                    </a:lnTo>
                    <a:lnTo>
                      <a:pt x="110" y="1185"/>
                    </a:lnTo>
                    <a:lnTo>
                      <a:pt x="137" y="1165"/>
                    </a:lnTo>
                    <a:lnTo>
                      <a:pt x="165" y="1148"/>
                    </a:lnTo>
                    <a:lnTo>
                      <a:pt x="197" y="1125"/>
                    </a:lnTo>
                    <a:lnTo>
                      <a:pt x="229" y="1105"/>
                    </a:lnTo>
                    <a:lnTo>
                      <a:pt x="260" y="1082"/>
                    </a:lnTo>
                    <a:lnTo>
                      <a:pt x="297" y="1062"/>
                    </a:lnTo>
                    <a:lnTo>
                      <a:pt x="334" y="1039"/>
                    </a:lnTo>
                    <a:lnTo>
                      <a:pt x="379" y="1017"/>
                    </a:lnTo>
                    <a:lnTo>
                      <a:pt x="416" y="991"/>
                    </a:lnTo>
                    <a:lnTo>
                      <a:pt x="457" y="965"/>
                    </a:lnTo>
                    <a:lnTo>
                      <a:pt x="498" y="943"/>
                    </a:lnTo>
                    <a:lnTo>
                      <a:pt x="544" y="917"/>
                    </a:lnTo>
                    <a:lnTo>
                      <a:pt x="585" y="891"/>
                    </a:lnTo>
                    <a:lnTo>
                      <a:pt x="635" y="866"/>
                    </a:lnTo>
                    <a:lnTo>
                      <a:pt x="681" y="837"/>
                    </a:lnTo>
                    <a:lnTo>
                      <a:pt x="727" y="814"/>
                    </a:lnTo>
                    <a:lnTo>
                      <a:pt x="777" y="786"/>
                    </a:lnTo>
                    <a:lnTo>
                      <a:pt x="827" y="760"/>
                    </a:lnTo>
                    <a:lnTo>
                      <a:pt x="873" y="732"/>
                    </a:lnTo>
                    <a:lnTo>
                      <a:pt x="928" y="706"/>
                    </a:lnTo>
                    <a:lnTo>
                      <a:pt x="978" y="678"/>
                    </a:lnTo>
                    <a:lnTo>
                      <a:pt x="1028" y="652"/>
                    </a:lnTo>
                    <a:lnTo>
                      <a:pt x="1083" y="624"/>
                    </a:lnTo>
                    <a:lnTo>
                      <a:pt x="1133" y="598"/>
                    </a:lnTo>
                    <a:lnTo>
                      <a:pt x="1188" y="570"/>
                    </a:lnTo>
                    <a:lnTo>
                      <a:pt x="1239" y="547"/>
                    </a:lnTo>
                    <a:lnTo>
                      <a:pt x="1289" y="518"/>
                    </a:lnTo>
                    <a:lnTo>
                      <a:pt x="1344" y="493"/>
                    </a:lnTo>
                    <a:lnTo>
                      <a:pt x="1398" y="464"/>
                    </a:lnTo>
                    <a:lnTo>
                      <a:pt x="1453" y="439"/>
                    </a:lnTo>
                    <a:lnTo>
                      <a:pt x="1508" y="416"/>
                    </a:lnTo>
                    <a:lnTo>
                      <a:pt x="1563" y="387"/>
                    </a:lnTo>
                    <a:lnTo>
                      <a:pt x="1613" y="364"/>
                    </a:lnTo>
                    <a:lnTo>
                      <a:pt x="1668" y="342"/>
                    </a:lnTo>
                    <a:lnTo>
                      <a:pt x="1718" y="316"/>
                    </a:lnTo>
                    <a:lnTo>
                      <a:pt x="1769" y="293"/>
                    </a:lnTo>
                    <a:lnTo>
                      <a:pt x="1819" y="268"/>
                    </a:lnTo>
                    <a:lnTo>
                      <a:pt x="1874" y="248"/>
                    </a:lnTo>
                    <a:lnTo>
                      <a:pt x="1919" y="228"/>
                    </a:lnTo>
                    <a:lnTo>
                      <a:pt x="1970" y="208"/>
                    </a:lnTo>
                    <a:lnTo>
                      <a:pt x="2015" y="185"/>
                    </a:lnTo>
                    <a:lnTo>
                      <a:pt x="2070" y="171"/>
                    </a:lnTo>
                    <a:lnTo>
                      <a:pt x="2116" y="151"/>
                    </a:lnTo>
                    <a:lnTo>
                      <a:pt x="2162" y="134"/>
                    </a:lnTo>
                    <a:lnTo>
                      <a:pt x="2207" y="117"/>
                    </a:lnTo>
                    <a:lnTo>
                      <a:pt x="2253" y="103"/>
                    </a:lnTo>
                    <a:lnTo>
                      <a:pt x="2294" y="85"/>
                    </a:lnTo>
                    <a:lnTo>
                      <a:pt x="2340" y="74"/>
                    </a:lnTo>
                    <a:lnTo>
                      <a:pt x="2376" y="60"/>
                    </a:lnTo>
                    <a:lnTo>
                      <a:pt x="2418" y="48"/>
                    </a:lnTo>
                    <a:lnTo>
                      <a:pt x="2454" y="37"/>
                    </a:lnTo>
                    <a:lnTo>
                      <a:pt x="2495" y="28"/>
                    </a:lnTo>
                    <a:lnTo>
                      <a:pt x="2527" y="20"/>
                    </a:lnTo>
                    <a:lnTo>
                      <a:pt x="2564" y="14"/>
                    </a:lnTo>
                    <a:lnTo>
                      <a:pt x="2596" y="9"/>
                    </a:lnTo>
                    <a:lnTo>
                      <a:pt x="2623" y="3"/>
                    </a:lnTo>
                    <a:lnTo>
                      <a:pt x="2651" y="0"/>
                    </a:lnTo>
                    <a:lnTo>
                      <a:pt x="2683" y="0"/>
                    </a:lnTo>
                    <a:lnTo>
                      <a:pt x="2701" y="0"/>
                    </a:lnTo>
                    <a:lnTo>
                      <a:pt x="2719" y="0"/>
                    </a:lnTo>
                    <a:lnTo>
                      <a:pt x="2738" y="0"/>
                    </a:lnTo>
                    <a:lnTo>
                      <a:pt x="2756" y="3"/>
                    </a:lnTo>
                    <a:lnTo>
                      <a:pt x="2765" y="3"/>
                    </a:lnTo>
                    <a:lnTo>
                      <a:pt x="2774" y="6"/>
                    </a:lnTo>
                    <a:lnTo>
                      <a:pt x="2783" y="9"/>
                    </a:lnTo>
                    <a:lnTo>
                      <a:pt x="2797" y="11"/>
                    </a:lnTo>
                    <a:lnTo>
                      <a:pt x="2806" y="11"/>
                    </a:lnTo>
                    <a:lnTo>
                      <a:pt x="2820" y="11"/>
                    </a:lnTo>
                    <a:lnTo>
                      <a:pt x="2829" y="14"/>
                    </a:lnTo>
                    <a:lnTo>
                      <a:pt x="2843" y="20"/>
                    </a:lnTo>
                    <a:lnTo>
                      <a:pt x="2856" y="23"/>
                    </a:lnTo>
                    <a:lnTo>
                      <a:pt x="2865" y="23"/>
                    </a:lnTo>
                    <a:lnTo>
                      <a:pt x="2879" y="26"/>
                    </a:lnTo>
                    <a:lnTo>
                      <a:pt x="2893" y="31"/>
                    </a:lnTo>
                    <a:lnTo>
                      <a:pt x="2907" y="31"/>
                    </a:lnTo>
                    <a:lnTo>
                      <a:pt x="2916" y="37"/>
                    </a:lnTo>
                    <a:lnTo>
                      <a:pt x="2929" y="40"/>
                    </a:lnTo>
                    <a:lnTo>
                      <a:pt x="2943" y="46"/>
                    </a:lnTo>
                    <a:lnTo>
                      <a:pt x="2957" y="48"/>
                    </a:lnTo>
                    <a:lnTo>
                      <a:pt x="2971" y="51"/>
                    </a:lnTo>
                    <a:lnTo>
                      <a:pt x="2984" y="57"/>
                    </a:lnTo>
                    <a:lnTo>
                      <a:pt x="2998" y="60"/>
                    </a:lnTo>
                    <a:lnTo>
                      <a:pt x="3012" y="65"/>
                    </a:lnTo>
                    <a:lnTo>
                      <a:pt x="3030" y="71"/>
                    </a:lnTo>
                    <a:lnTo>
                      <a:pt x="3039" y="74"/>
                    </a:lnTo>
                    <a:lnTo>
                      <a:pt x="3057" y="80"/>
                    </a:lnTo>
                    <a:lnTo>
                      <a:pt x="3071" y="83"/>
                    </a:lnTo>
                    <a:lnTo>
                      <a:pt x="3085" y="88"/>
                    </a:lnTo>
                    <a:lnTo>
                      <a:pt x="3099" y="94"/>
                    </a:lnTo>
                    <a:lnTo>
                      <a:pt x="3117" y="100"/>
                    </a:lnTo>
                    <a:lnTo>
                      <a:pt x="3131" y="105"/>
                    </a:lnTo>
                    <a:lnTo>
                      <a:pt x="3144" y="108"/>
                    </a:lnTo>
                    <a:lnTo>
                      <a:pt x="3163" y="117"/>
                    </a:lnTo>
                    <a:lnTo>
                      <a:pt x="3181" y="120"/>
                    </a:lnTo>
                    <a:lnTo>
                      <a:pt x="3195" y="125"/>
                    </a:lnTo>
                    <a:lnTo>
                      <a:pt x="3208" y="131"/>
                    </a:lnTo>
                    <a:lnTo>
                      <a:pt x="3227" y="137"/>
                    </a:lnTo>
                    <a:lnTo>
                      <a:pt x="3245" y="142"/>
                    </a:lnTo>
                    <a:lnTo>
                      <a:pt x="3263" y="151"/>
                    </a:lnTo>
                    <a:lnTo>
                      <a:pt x="3277" y="157"/>
                    </a:lnTo>
                    <a:lnTo>
                      <a:pt x="3295" y="162"/>
                    </a:lnTo>
                    <a:lnTo>
                      <a:pt x="3313" y="171"/>
                    </a:lnTo>
                    <a:lnTo>
                      <a:pt x="3332" y="174"/>
                    </a:lnTo>
                    <a:lnTo>
                      <a:pt x="3345" y="182"/>
                    </a:lnTo>
                    <a:lnTo>
                      <a:pt x="3364" y="185"/>
                    </a:lnTo>
                    <a:lnTo>
                      <a:pt x="3382" y="194"/>
                    </a:lnTo>
                    <a:lnTo>
                      <a:pt x="3400" y="202"/>
                    </a:lnTo>
                    <a:lnTo>
                      <a:pt x="3418" y="208"/>
                    </a:lnTo>
                    <a:lnTo>
                      <a:pt x="3437" y="214"/>
                    </a:lnTo>
                    <a:lnTo>
                      <a:pt x="3455" y="222"/>
                    </a:lnTo>
                    <a:lnTo>
                      <a:pt x="3473" y="228"/>
                    </a:lnTo>
                    <a:lnTo>
                      <a:pt x="3492" y="236"/>
                    </a:lnTo>
                    <a:lnTo>
                      <a:pt x="3510" y="242"/>
                    </a:lnTo>
                    <a:lnTo>
                      <a:pt x="3528" y="251"/>
                    </a:lnTo>
                    <a:lnTo>
                      <a:pt x="3546" y="256"/>
                    </a:lnTo>
                    <a:lnTo>
                      <a:pt x="3569" y="265"/>
                    </a:lnTo>
                    <a:lnTo>
                      <a:pt x="3588" y="273"/>
                    </a:lnTo>
                    <a:lnTo>
                      <a:pt x="3610" y="279"/>
                    </a:lnTo>
                    <a:lnTo>
                      <a:pt x="3647" y="296"/>
                    </a:lnTo>
                    <a:lnTo>
                      <a:pt x="3688" y="310"/>
                    </a:lnTo>
                    <a:lnTo>
                      <a:pt x="3729" y="325"/>
                    </a:lnTo>
                    <a:lnTo>
                      <a:pt x="3770" y="342"/>
                    </a:lnTo>
                    <a:lnTo>
                      <a:pt x="3816" y="356"/>
                    </a:lnTo>
                    <a:lnTo>
                      <a:pt x="3853" y="376"/>
                    </a:lnTo>
                    <a:lnTo>
                      <a:pt x="3898" y="390"/>
                    </a:lnTo>
                    <a:lnTo>
                      <a:pt x="3944" y="407"/>
                    </a:lnTo>
                    <a:lnTo>
                      <a:pt x="3981" y="424"/>
                    </a:lnTo>
                    <a:lnTo>
                      <a:pt x="4026" y="441"/>
                    </a:lnTo>
                    <a:lnTo>
                      <a:pt x="4067" y="461"/>
                    </a:lnTo>
                    <a:lnTo>
                      <a:pt x="4109" y="476"/>
                    </a:lnTo>
                    <a:lnTo>
                      <a:pt x="4150" y="493"/>
                    </a:lnTo>
                    <a:lnTo>
                      <a:pt x="4195" y="510"/>
                    </a:lnTo>
                    <a:lnTo>
                      <a:pt x="4237" y="527"/>
                    </a:lnTo>
                    <a:lnTo>
                      <a:pt x="4278" y="547"/>
                    </a:lnTo>
                    <a:lnTo>
                      <a:pt x="4319" y="564"/>
                    </a:lnTo>
                    <a:lnTo>
                      <a:pt x="4364" y="578"/>
                    </a:lnTo>
                    <a:lnTo>
                      <a:pt x="4401" y="598"/>
                    </a:lnTo>
                    <a:lnTo>
                      <a:pt x="4442" y="615"/>
                    </a:lnTo>
                    <a:lnTo>
                      <a:pt x="4483" y="632"/>
                    </a:lnTo>
                    <a:lnTo>
                      <a:pt x="4524" y="649"/>
                    </a:lnTo>
                    <a:lnTo>
                      <a:pt x="4561" y="666"/>
                    </a:lnTo>
                    <a:lnTo>
                      <a:pt x="4607" y="686"/>
                    </a:lnTo>
                    <a:lnTo>
                      <a:pt x="4639" y="701"/>
                    </a:lnTo>
                    <a:lnTo>
                      <a:pt x="4680" y="718"/>
                    </a:lnTo>
                    <a:lnTo>
                      <a:pt x="4721" y="735"/>
                    </a:lnTo>
                    <a:lnTo>
                      <a:pt x="4757" y="752"/>
                    </a:lnTo>
                    <a:lnTo>
                      <a:pt x="4794" y="769"/>
                    </a:lnTo>
                    <a:lnTo>
                      <a:pt x="4831" y="786"/>
                    </a:lnTo>
                    <a:lnTo>
                      <a:pt x="4867" y="803"/>
                    </a:lnTo>
                    <a:lnTo>
                      <a:pt x="4904" y="817"/>
                    </a:lnTo>
                    <a:lnTo>
                      <a:pt x="4936" y="834"/>
                    </a:lnTo>
                    <a:lnTo>
                      <a:pt x="4968" y="849"/>
                    </a:lnTo>
                    <a:lnTo>
                      <a:pt x="5000" y="863"/>
                    </a:lnTo>
                    <a:lnTo>
                      <a:pt x="5036" y="880"/>
                    </a:lnTo>
                    <a:lnTo>
                      <a:pt x="5064" y="894"/>
                    </a:lnTo>
                    <a:lnTo>
                      <a:pt x="5096" y="908"/>
                    </a:lnTo>
                    <a:lnTo>
                      <a:pt x="5128" y="923"/>
                    </a:lnTo>
                    <a:lnTo>
                      <a:pt x="5155" y="937"/>
                    </a:lnTo>
                    <a:lnTo>
                      <a:pt x="5183" y="951"/>
                    </a:lnTo>
                    <a:lnTo>
                      <a:pt x="5210" y="965"/>
                    </a:lnTo>
                    <a:lnTo>
                      <a:pt x="5233" y="977"/>
                    </a:lnTo>
                    <a:lnTo>
                      <a:pt x="5260" y="988"/>
                    </a:lnTo>
                    <a:lnTo>
                      <a:pt x="5283" y="1002"/>
                    </a:lnTo>
                    <a:lnTo>
                      <a:pt x="5310" y="1011"/>
                    </a:lnTo>
                    <a:lnTo>
                      <a:pt x="5329" y="1022"/>
                    </a:lnTo>
                    <a:lnTo>
                      <a:pt x="5352" y="1037"/>
                    </a:lnTo>
                    <a:lnTo>
                      <a:pt x="5370" y="1045"/>
                    </a:lnTo>
                    <a:lnTo>
                      <a:pt x="5388" y="1056"/>
                    </a:lnTo>
                    <a:lnTo>
                      <a:pt x="5406" y="1065"/>
                    </a:lnTo>
                    <a:lnTo>
                      <a:pt x="5420" y="1071"/>
                    </a:lnTo>
                    <a:lnTo>
                      <a:pt x="5438" y="1082"/>
                    </a:lnTo>
                    <a:lnTo>
                      <a:pt x="5452" y="1091"/>
                    </a:lnTo>
                    <a:lnTo>
                      <a:pt x="5461" y="1096"/>
                    </a:lnTo>
                    <a:lnTo>
                      <a:pt x="5475" y="1105"/>
                    </a:lnTo>
                    <a:lnTo>
                      <a:pt x="5480" y="1111"/>
                    </a:lnTo>
                    <a:lnTo>
                      <a:pt x="5489" y="1116"/>
                    </a:lnTo>
                    <a:lnTo>
                      <a:pt x="5498" y="1122"/>
                    </a:lnTo>
                    <a:lnTo>
                      <a:pt x="5502" y="1128"/>
                    </a:lnTo>
                    <a:lnTo>
                      <a:pt x="5507" y="1136"/>
                    </a:lnTo>
                    <a:lnTo>
                      <a:pt x="5507" y="1139"/>
                    </a:lnTo>
                    <a:lnTo>
                      <a:pt x="5493" y="1148"/>
                    </a:lnTo>
                    <a:lnTo>
                      <a:pt x="5475" y="1156"/>
                    </a:lnTo>
                    <a:lnTo>
                      <a:pt x="5457" y="1165"/>
                    </a:lnTo>
                    <a:lnTo>
                      <a:pt x="5443" y="1170"/>
                    </a:lnTo>
                    <a:lnTo>
                      <a:pt x="5434" y="1170"/>
                    </a:lnTo>
                    <a:lnTo>
                      <a:pt x="5420" y="1176"/>
                    </a:lnTo>
                    <a:lnTo>
                      <a:pt x="5411" y="1179"/>
                    </a:lnTo>
                    <a:lnTo>
                      <a:pt x="5402" y="1179"/>
                    </a:lnTo>
                    <a:lnTo>
                      <a:pt x="5384" y="1185"/>
                    </a:lnTo>
                    <a:lnTo>
                      <a:pt x="5365" y="1187"/>
                    </a:lnTo>
                    <a:lnTo>
                      <a:pt x="5342" y="1187"/>
                    </a:lnTo>
                    <a:lnTo>
                      <a:pt x="5324" y="1190"/>
                    </a:lnTo>
                    <a:lnTo>
                      <a:pt x="5310" y="1190"/>
                    </a:lnTo>
                    <a:lnTo>
                      <a:pt x="5297" y="1190"/>
                    </a:lnTo>
                    <a:lnTo>
                      <a:pt x="5283" y="1187"/>
                    </a:lnTo>
                    <a:lnTo>
                      <a:pt x="5274" y="1185"/>
                    </a:lnTo>
                    <a:lnTo>
                      <a:pt x="5269" y="1182"/>
                    </a:lnTo>
                    <a:lnTo>
                      <a:pt x="5274" y="1179"/>
                    </a:lnTo>
                    <a:lnTo>
                      <a:pt x="5269" y="1176"/>
                    </a:lnTo>
                    <a:lnTo>
                      <a:pt x="5265" y="1170"/>
                    </a:lnTo>
                    <a:lnTo>
                      <a:pt x="5256" y="1165"/>
                    </a:lnTo>
                    <a:lnTo>
                      <a:pt x="5247" y="1159"/>
                    </a:lnTo>
                    <a:lnTo>
                      <a:pt x="5233" y="1150"/>
                    </a:lnTo>
                    <a:lnTo>
                      <a:pt x="5219" y="1142"/>
                    </a:lnTo>
                    <a:lnTo>
                      <a:pt x="5210" y="1136"/>
                    </a:lnTo>
                    <a:lnTo>
                      <a:pt x="5201" y="1131"/>
                    </a:lnTo>
                    <a:lnTo>
                      <a:pt x="5187" y="1125"/>
                    </a:lnTo>
                    <a:lnTo>
                      <a:pt x="5178" y="1122"/>
                    </a:lnTo>
                    <a:lnTo>
                      <a:pt x="5164" y="1116"/>
                    </a:lnTo>
                    <a:lnTo>
                      <a:pt x="5155" y="1108"/>
                    </a:lnTo>
                    <a:lnTo>
                      <a:pt x="5141" y="1102"/>
                    </a:lnTo>
                    <a:lnTo>
                      <a:pt x="5128" y="1093"/>
                    </a:lnTo>
                    <a:lnTo>
                      <a:pt x="5114" y="1088"/>
                    </a:lnTo>
                    <a:lnTo>
                      <a:pt x="5100" y="1079"/>
                    </a:lnTo>
                    <a:lnTo>
                      <a:pt x="5087" y="1071"/>
                    </a:lnTo>
                    <a:lnTo>
                      <a:pt x="5073" y="1065"/>
                    </a:lnTo>
                    <a:lnTo>
                      <a:pt x="5055" y="1054"/>
                    </a:lnTo>
                    <a:lnTo>
                      <a:pt x="5036" y="1045"/>
                    </a:lnTo>
                    <a:lnTo>
                      <a:pt x="5018" y="1039"/>
                    </a:lnTo>
                    <a:lnTo>
                      <a:pt x="5000" y="1028"/>
                    </a:lnTo>
                    <a:lnTo>
                      <a:pt x="4981" y="1019"/>
                    </a:lnTo>
                    <a:lnTo>
                      <a:pt x="4963" y="1011"/>
                    </a:lnTo>
                    <a:lnTo>
                      <a:pt x="4940" y="1002"/>
                    </a:lnTo>
                    <a:lnTo>
                      <a:pt x="4922" y="994"/>
                    </a:lnTo>
                    <a:lnTo>
                      <a:pt x="4904" y="982"/>
                    </a:lnTo>
                    <a:lnTo>
                      <a:pt x="4881" y="971"/>
                    </a:lnTo>
                    <a:lnTo>
                      <a:pt x="4858" y="962"/>
                    </a:lnTo>
                    <a:lnTo>
                      <a:pt x="4835" y="951"/>
                    </a:lnTo>
                    <a:lnTo>
                      <a:pt x="4817" y="940"/>
                    </a:lnTo>
                    <a:lnTo>
                      <a:pt x="4794" y="931"/>
                    </a:lnTo>
                    <a:lnTo>
                      <a:pt x="4767" y="920"/>
                    </a:lnTo>
                    <a:lnTo>
                      <a:pt x="4744" y="908"/>
                    </a:lnTo>
                    <a:lnTo>
                      <a:pt x="4721" y="897"/>
                    </a:lnTo>
                    <a:lnTo>
                      <a:pt x="4694" y="886"/>
                    </a:lnTo>
                    <a:lnTo>
                      <a:pt x="4671" y="874"/>
                    </a:lnTo>
                    <a:lnTo>
                      <a:pt x="4643" y="863"/>
                    </a:lnTo>
                    <a:lnTo>
                      <a:pt x="4620" y="851"/>
                    </a:lnTo>
                    <a:lnTo>
                      <a:pt x="4593" y="840"/>
                    </a:lnTo>
                    <a:lnTo>
                      <a:pt x="4561" y="829"/>
                    </a:lnTo>
                    <a:lnTo>
                      <a:pt x="4543" y="817"/>
                    </a:lnTo>
                    <a:lnTo>
                      <a:pt x="4511" y="803"/>
                    </a:lnTo>
                    <a:lnTo>
                      <a:pt x="4488" y="794"/>
                    </a:lnTo>
                    <a:lnTo>
                      <a:pt x="4456" y="777"/>
                    </a:lnTo>
                    <a:lnTo>
                      <a:pt x="4428" y="766"/>
                    </a:lnTo>
                    <a:lnTo>
                      <a:pt x="4401" y="755"/>
                    </a:lnTo>
                    <a:lnTo>
                      <a:pt x="4369" y="743"/>
                    </a:lnTo>
                    <a:lnTo>
                      <a:pt x="4342" y="729"/>
                    </a:lnTo>
                    <a:lnTo>
                      <a:pt x="4314" y="718"/>
                    </a:lnTo>
                    <a:lnTo>
                      <a:pt x="4282" y="706"/>
                    </a:lnTo>
                    <a:lnTo>
                      <a:pt x="4250" y="692"/>
                    </a:lnTo>
                    <a:lnTo>
                      <a:pt x="4223" y="681"/>
                    </a:lnTo>
                    <a:lnTo>
                      <a:pt x="4195" y="666"/>
                    </a:lnTo>
                    <a:lnTo>
                      <a:pt x="4163" y="655"/>
                    </a:lnTo>
                    <a:lnTo>
                      <a:pt x="4131" y="644"/>
                    </a:lnTo>
                    <a:lnTo>
                      <a:pt x="4099" y="629"/>
                    </a:lnTo>
                    <a:lnTo>
                      <a:pt x="4072" y="618"/>
                    </a:lnTo>
                    <a:lnTo>
                      <a:pt x="4045" y="609"/>
                    </a:lnTo>
                    <a:lnTo>
                      <a:pt x="4017" y="598"/>
                    </a:lnTo>
                    <a:lnTo>
                      <a:pt x="3994" y="587"/>
                    </a:lnTo>
                    <a:lnTo>
                      <a:pt x="3967" y="575"/>
                    </a:lnTo>
                    <a:lnTo>
                      <a:pt x="3944" y="564"/>
                    </a:lnTo>
                    <a:lnTo>
                      <a:pt x="3921" y="555"/>
                    </a:lnTo>
                    <a:lnTo>
                      <a:pt x="3889" y="547"/>
                    </a:lnTo>
                    <a:lnTo>
                      <a:pt x="3871" y="535"/>
                    </a:lnTo>
                    <a:lnTo>
                      <a:pt x="3839" y="527"/>
                    </a:lnTo>
                    <a:lnTo>
                      <a:pt x="3821" y="515"/>
                    </a:lnTo>
                    <a:lnTo>
                      <a:pt x="3789" y="507"/>
                    </a:lnTo>
                    <a:lnTo>
                      <a:pt x="3766" y="495"/>
                    </a:lnTo>
                    <a:lnTo>
                      <a:pt x="3743" y="484"/>
                    </a:lnTo>
                    <a:lnTo>
                      <a:pt x="3720" y="476"/>
                    </a:lnTo>
                    <a:lnTo>
                      <a:pt x="3693" y="467"/>
                    </a:lnTo>
                    <a:lnTo>
                      <a:pt x="3670" y="461"/>
                    </a:lnTo>
                    <a:lnTo>
                      <a:pt x="3642" y="450"/>
                    </a:lnTo>
                    <a:lnTo>
                      <a:pt x="3620" y="439"/>
                    </a:lnTo>
                    <a:lnTo>
                      <a:pt x="3597" y="430"/>
                    </a:lnTo>
                    <a:lnTo>
                      <a:pt x="3569" y="421"/>
                    </a:lnTo>
                    <a:lnTo>
                      <a:pt x="3546" y="413"/>
                    </a:lnTo>
                    <a:lnTo>
                      <a:pt x="3519" y="404"/>
                    </a:lnTo>
                    <a:lnTo>
                      <a:pt x="3496" y="396"/>
                    </a:lnTo>
                    <a:lnTo>
                      <a:pt x="3473" y="387"/>
                    </a:lnTo>
                    <a:lnTo>
                      <a:pt x="3455" y="376"/>
                    </a:lnTo>
                    <a:lnTo>
                      <a:pt x="3428" y="367"/>
                    </a:lnTo>
                    <a:lnTo>
                      <a:pt x="3405" y="362"/>
                    </a:lnTo>
                    <a:lnTo>
                      <a:pt x="3382" y="353"/>
                    </a:lnTo>
                    <a:lnTo>
                      <a:pt x="3359" y="345"/>
                    </a:lnTo>
                    <a:lnTo>
                      <a:pt x="3336" y="336"/>
                    </a:lnTo>
                    <a:lnTo>
                      <a:pt x="3313" y="330"/>
                    </a:lnTo>
                    <a:lnTo>
                      <a:pt x="3290" y="322"/>
                    </a:lnTo>
                    <a:lnTo>
                      <a:pt x="3268" y="313"/>
                    </a:lnTo>
                    <a:lnTo>
                      <a:pt x="3249" y="308"/>
                    </a:lnTo>
                    <a:lnTo>
                      <a:pt x="3227" y="299"/>
                    </a:lnTo>
                    <a:lnTo>
                      <a:pt x="3204" y="290"/>
                    </a:lnTo>
                    <a:lnTo>
                      <a:pt x="3181" y="285"/>
                    </a:lnTo>
                    <a:lnTo>
                      <a:pt x="3163" y="279"/>
                    </a:lnTo>
                    <a:lnTo>
                      <a:pt x="3144" y="271"/>
                    </a:lnTo>
                    <a:lnTo>
                      <a:pt x="3121" y="265"/>
                    </a:lnTo>
                    <a:lnTo>
                      <a:pt x="3103" y="259"/>
                    </a:lnTo>
                    <a:lnTo>
                      <a:pt x="3085" y="251"/>
                    </a:lnTo>
                    <a:lnTo>
                      <a:pt x="3062" y="248"/>
                    </a:lnTo>
                    <a:lnTo>
                      <a:pt x="3044" y="242"/>
                    </a:lnTo>
                    <a:lnTo>
                      <a:pt x="3025" y="236"/>
                    </a:lnTo>
                    <a:lnTo>
                      <a:pt x="3007" y="228"/>
                    </a:lnTo>
                    <a:lnTo>
                      <a:pt x="2993" y="225"/>
                    </a:lnTo>
                    <a:lnTo>
                      <a:pt x="2975" y="219"/>
                    </a:lnTo>
                    <a:lnTo>
                      <a:pt x="2957" y="214"/>
                    </a:lnTo>
                    <a:lnTo>
                      <a:pt x="2943" y="208"/>
                    </a:lnTo>
                    <a:lnTo>
                      <a:pt x="2925" y="205"/>
                    </a:lnTo>
                    <a:lnTo>
                      <a:pt x="2907" y="199"/>
                    </a:lnTo>
                    <a:lnTo>
                      <a:pt x="2888" y="196"/>
                    </a:lnTo>
                    <a:lnTo>
                      <a:pt x="2875" y="194"/>
                    </a:lnTo>
                    <a:lnTo>
                      <a:pt x="2861" y="188"/>
                    </a:lnTo>
                    <a:lnTo>
                      <a:pt x="2852" y="185"/>
                    </a:lnTo>
                    <a:lnTo>
                      <a:pt x="2838" y="182"/>
                    </a:lnTo>
                    <a:lnTo>
                      <a:pt x="2820" y="179"/>
                    </a:lnTo>
                    <a:lnTo>
                      <a:pt x="2811" y="174"/>
                    </a:lnTo>
                    <a:lnTo>
                      <a:pt x="2801" y="171"/>
                    </a:lnTo>
                    <a:lnTo>
                      <a:pt x="2783" y="171"/>
                    </a:lnTo>
                    <a:lnTo>
                      <a:pt x="2774" y="168"/>
                    </a:lnTo>
                    <a:lnTo>
                      <a:pt x="2765" y="165"/>
                    </a:lnTo>
                    <a:lnTo>
                      <a:pt x="2756" y="162"/>
                    </a:lnTo>
                    <a:lnTo>
                      <a:pt x="2733" y="159"/>
                    </a:lnTo>
                    <a:lnTo>
                      <a:pt x="2706" y="159"/>
                    </a:lnTo>
                    <a:lnTo>
                      <a:pt x="2674" y="159"/>
                    </a:lnTo>
                    <a:lnTo>
                      <a:pt x="2651" y="162"/>
                    </a:lnTo>
                    <a:lnTo>
                      <a:pt x="2614" y="165"/>
                    </a:lnTo>
                    <a:lnTo>
                      <a:pt x="2582" y="171"/>
                    </a:lnTo>
                    <a:lnTo>
                      <a:pt x="2546" y="179"/>
                    </a:lnTo>
                    <a:lnTo>
                      <a:pt x="2509" y="191"/>
                    </a:lnTo>
                    <a:lnTo>
                      <a:pt x="2468" y="199"/>
                    </a:lnTo>
                    <a:lnTo>
                      <a:pt x="2431" y="211"/>
                    </a:lnTo>
                    <a:lnTo>
                      <a:pt x="2386" y="225"/>
                    </a:lnTo>
                    <a:lnTo>
                      <a:pt x="2344" y="239"/>
                    </a:lnTo>
                    <a:lnTo>
                      <a:pt x="2299" y="253"/>
                    </a:lnTo>
                    <a:lnTo>
                      <a:pt x="2253" y="268"/>
                    </a:lnTo>
                    <a:lnTo>
                      <a:pt x="2207" y="288"/>
                    </a:lnTo>
                    <a:lnTo>
                      <a:pt x="2162" y="310"/>
                    </a:lnTo>
                    <a:lnTo>
                      <a:pt x="2111" y="327"/>
                    </a:lnTo>
                    <a:lnTo>
                      <a:pt x="2061" y="347"/>
                    </a:lnTo>
                    <a:lnTo>
                      <a:pt x="2011" y="367"/>
                    </a:lnTo>
                    <a:lnTo>
                      <a:pt x="1961" y="393"/>
                    </a:lnTo>
                    <a:lnTo>
                      <a:pt x="1906" y="416"/>
                    </a:lnTo>
                    <a:lnTo>
                      <a:pt x="1855" y="439"/>
                    </a:lnTo>
                    <a:lnTo>
                      <a:pt x="1801" y="464"/>
                    </a:lnTo>
                    <a:lnTo>
                      <a:pt x="1750" y="493"/>
                    </a:lnTo>
                    <a:lnTo>
                      <a:pt x="1691" y="515"/>
                    </a:lnTo>
                    <a:lnTo>
                      <a:pt x="1636" y="541"/>
                    </a:lnTo>
                    <a:lnTo>
                      <a:pt x="1581" y="570"/>
                    </a:lnTo>
                    <a:lnTo>
                      <a:pt x="1531" y="598"/>
                    </a:lnTo>
                    <a:lnTo>
                      <a:pt x="1472" y="624"/>
                    </a:lnTo>
                    <a:lnTo>
                      <a:pt x="1421" y="652"/>
                    </a:lnTo>
                    <a:lnTo>
                      <a:pt x="1366" y="681"/>
                    </a:lnTo>
                    <a:lnTo>
                      <a:pt x="1316" y="709"/>
                    </a:lnTo>
                    <a:lnTo>
                      <a:pt x="1257" y="735"/>
                    </a:lnTo>
                    <a:lnTo>
                      <a:pt x="1207" y="763"/>
                    </a:lnTo>
                    <a:lnTo>
                      <a:pt x="1152" y="792"/>
                    </a:lnTo>
                    <a:lnTo>
                      <a:pt x="1101" y="817"/>
                    </a:lnTo>
                    <a:lnTo>
                      <a:pt x="1047" y="846"/>
                    </a:lnTo>
                    <a:lnTo>
                      <a:pt x="996" y="874"/>
                    </a:lnTo>
                    <a:lnTo>
                      <a:pt x="946" y="900"/>
                    </a:lnTo>
                    <a:lnTo>
                      <a:pt x="896" y="928"/>
                    </a:lnTo>
                    <a:lnTo>
                      <a:pt x="845" y="954"/>
                    </a:lnTo>
                    <a:lnTo>
                      <a:pt x="800" y="980"/>
                    </a:lnTo>
                    <a:lnTo>
                      <a:pt x="754" y="1005"/>
                    </a:lnTo>
                    <a:lnTo>
                      <a:pt x="708" y="1031"/>
                    </a:lnTo>
                    <a:lnTo>
                      <a:pt x="663" y="1054"/>
                    </a:lnTo>
                    <a:lnTo>
                      <a:pt x="622" y="1076"/>
                    </a:lnTo>
                    <a:lnTo>
                      <a:pt x="580" y="1099"/>
                    </a:lnTo>
                    <a:lnTo>
                      <a:pt x="544" y="1122"/>
                    </a:lnTo>
                    <a:lnTo>
                      <a:pt x="503" y="1142"/>
                    </a:lnTo>
                    <a:lnTo>
                      <a:pt x="466" y="1162"/>
                    </a:lnTo>
                    <a:lnTo>
                      <a:pt x="430" y="1182"/>
                    </a:lnTo>
                    <a:lnTo>
                      <a:pt x="398" y="1199"/>
                    </a:lnTo>
                    <a:lnTo>
                      <a:pt x="366" y="1216"/>
                    </a:lnTo>
                    <a:lnTo>
                      <a:pt x="343" y="1230"/>
                    </a:lnTo>
                    <a:lnTo>
                      <a:pt x="311" y="1244"/>
                    </a:lnTo>
                    <a:lnTo>
                      <a:pt x="288" y="1261"/>
                    </a:lnTo>
                    <a:lnTo>
                      <a:pt x="260" y="1270"/>
                    </a:lnTo>
                    <a:lnTo>
                      <a:pt x="242" y="1281"/>
                    </a:lnTo>
                    <a:lnTo>
                      <a:pt x="229" y="1287"/>
                    </a:lnTo>
                    <a:lnTo>
                      <a:pt x="210" y="1299"/>
                    </a:lnTo>
                    <a:lnTo>
                      <a:pt x="201" y="1304"/>
                    </a:lnTo>
                    <a:lnTo>
                      <a:pt x="187" y="1307"/>
                    </a:lnTo>
                    <a:lnTo>
                      <a:pt x="183" y="1307"/>
                    </a:lnTo>
                    <a:lnTo>
                      <a:pt x="178" y="1310"/>
                    </a:lnTo>
                    <a:lnTo>
                      <a:pt x="165" y="1307"/>
                    </a:lnTo>
                    <a:lnTo>
                      <a:pt x="155" y="1307"/>
                    </a:lnTo>
                    <a:lnTo>
                      <a:pt x="137" y="1304"/>
                    </a:lnTo>
                    <a:lnTo>
                      <a:pt x="123" y="1304"/>
                    </a:lnTo>
                    <a:lnTo>
                      <a:pt x="105" y="1299"/>
                    </a:lnTo>
                    <a:lnTo>
                      <a:pt x="91" y="1299"/>
                    </a:lnTo>
                    <a:lnTo>
                      <a:pt x="73" y="1296"/>
                    </a:lnTo>
                    <a:lnTo>
                      <a:pt x="64" y="1293"/>
                    </a:lnTo>
                    <a:lnTo>
                      <a:pt x="46" y="1287"/>
                    </a:lnTo>
                    <a:lnTo>
                      <a:pt x="32" y="1287"/>
                    </a:lnTo>
                    <a:lnTo>
                      <a:pt x="18" y="1284"/>
                    </a:lnTo>
                    <a:lnTo>
                      <a:pt x="9" y="1284"/>
                    </a:lnTo>
                    <a:lnTo>
                      <a:pt x="0" y="128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53" name="Freeform 67"/>
              <p:cNvSpPr>
                <a:spLocks/>
              </p:cNvSpPr>
              <p:nvPr>
                <p:custDataLst>
                  <p:tags r:id="rId96"/>
                </p:custDataLst>
              </p:nvPr>
            </p:nvSpPr>
            <p:spPr bwMode="gray">
              <a:xfrm>
                <a:off x="0" y="1175"/>
                <a:ext cx="5547" cy="378"/>
              </a:xfrm>
              <a:custGeom>
                <a:avLst/>
                <a:gdLst>
                  <a:gd name="T0" fmla="*/ 97 w 5411"/>
                  <a:gd name="T1" fmla="*/ 79 h 413"/>
                  <a:gd name="T2" fmla="*/ 296 w 5411"/>
                  <a:gd name="T3" fmla="*/ 93 h 413"/>
                  <a:gd name="T4" fmla="*/ 560 w 5411"/>
                  <a:gd name="T5" fmla="*/ 103 h 413"/>
                  <a:gd name="T6" fmla="*/ 873 w 5411"/>
                  <a:gd name="T7" fmla="*/ 113 h 413"/>
                  <a:gd name="T8" fmla="*/ 1231 w 5411"/>
                  <a:gd name="T9" fmla="*/ 124 h 413"/>
                  <a:gd name="T10" fmla="*/ 1626 w 5411"/>
                  <a:gd name="T11" fmla="*/ 130 h 413"/>
                  <a:gd name="T12" fmla="*/ 2038 w 5411"/>
                  <a:gd name="T13" fmla="*/ 135 h 413"/>
                  <a:gd name="T14" fmla="*/ 2475 w 5411"/>
                  <a:gd name="T15" fmla="*/ 140 h 413"/>
                  <a:gd name="T16" fmla="*/ 2918 w 5411"/>
                  <a:gd name="T17" fmla="*/ 143 h 413"/>
                  <a:gd name="T18" fmla="*/ 3361 w 5411"/>
                  <a:gd name="T19" fmla="*/ 143 h 413"/>
                  <a:gd name="T20" fmla="*/ 3797 w 5411"/>
                  <a:gd name="T21" fmla="*/ 141 h 413"/>
                  <a:gd name="T22" fmla="*/ 4213 w 5411"/>
                  <a:gd name="T23" fmla="*/ 137 h 413"/>
                  <a:gd name="T24" fmla="*/ 4610 w 5411"/>
                  <a:gd name="T25" fmla="*/ 132 h 413"/>
                  <a:gd name="T26" fmla="*/ 4968 w 5411"/>
                  <a:gd name="T27" fmla="*/ 124 h 413"/>
                  <a:gd name="T28" fmla="*/ 5312 w 5411"/>
                  <a:gd name="T29" fmla="*/ 113 h 413"/>
                  <a:gd name="T30" fmla="*/ 5632 w 5411"/>
                  <a:gd name="T31" fmla="*/ 105 h 413"/>
                  <a:gd name="T32" fmla="*/ 5935 w 5411"/>
                  <a:gd name="T33" fmla="*/ 94 h 413"/>
                  <a:gd name="T34" fmla="*/ 6206 w 5411"/>
                  <a:gd name="T35" fmla="*/ 86 h 413"/>
                  <a:gd name="T36" fmla="*/ 6449 w 5411"/>
                  <a:gd name="T37" fmla="*/ 75 h 413"/>
                  <a:gd name="T38" fmla="*/ 6666 w 5411"/>
                  <a:gd name="T39" fmla="*/ 66 h 413"/>
                  <a:gd name="T40" fmla="*/ 6856 w 5411"/>
                  <a:gd name="T41" fmla="*/ 57 h 413"/>
                  <a:gd name="T42" fmla="*/ 7012 w 5411"/>
                  <a:gd name="T43" fmla="*/ 49 h 413"/>
                  <a:gd name="T44" fmla="*/ 7133 w 5411"/>
                  <a:gd name="T45" fmla="*/ 42 h 413"/>
                  <a:gd name="T46" fmla="*/ 7227 w 5411"/>
                  <a:gd name="T47" fmla="*/ 38 h 413"/>
                  <a:gd name="T48" fmla="*/ 7289 w 5411"/>
                  <a:gd name="T49" fmla="*/ 35 h 413"/>
                  <a:gd name="T50" fmla="*/ 7050 w 5411"/>
                  <a:gd name="T51" fmla="*/ 3 h 413"/>
                  <a:gd name="T52" fmla="*/ 6950 w 5411"/>
                  <a:gd name="T53" fmla="*/ 5 h 413"/>
                  <a:gd name="T54" fmla="*/ 6809 w 5411"/>
                  <a:gd name="T55" fmla="*/ 13 h 413"/>
                  <a:gd name="T56" fmla="*/ 6606 w 5411"/>
                  <a:gd name="T57" fmla="*/ 20 h 413"/>
                  <a:gd name="T58" fmla="*/ 6371 w 5411"/>
                  <a:gd name="T59" fmla="*/ 29 h 413"/>
                  <a:gd name="T60" fmla="*/ 6096 w 5411"/>
                  <a:gd name="T61" fmla="*/ 38 h 413"/>
                  <a:gd name="T62" fmla="*/ 5785 w 5411"/>
                  <a:gd name="T63" fmla="*/ 48 h 413"/>
                  <a:gd name="T64" fmla="*/ 5442 w 5411"/>
                  <a:gd name="T65" fmla="*/ 57 h 413"/>
                  <a:gd name="T66" fmla="*/ 5080 w 5411"/>
                  <a:gd name="T67" fmla="*/ 66 h 413"/>
                  <a:gd name="T68" fmla="*/ 4691 w 5411"/>
                  <a:gd name="T69" fmla="*/ 75 h 413"/>
                  <a:gd name="T70" fmla="*/ 4285 w 5411"/>
                  <a:gd name="T71" fmla="*/ 82 h 413"/>
                  <a:gd name="T72" fmla="*/ 3873 w 5411"/>
                  <a:gd name="T73" fmla="*/ 87 h 413"/>
                  <a:gd name="T74" fmla="*/ 3440 w 5411"/>
                  <a:gd name="T75" fmla="*/ 93 h 413"/>
                  <a:gd name="T76" fmla="*/ 3022 w 5411"/>
                  <a:gd name="T77" fmla="*/ 94 h 413"/>
                  <a:gd name="T78" fmla="*/ 2628 w 5411"/>
                  <a:gd name="T79" fmla="*/ 93 h 413"/>
                  <a:gd name="T80" fmla="*/ 2253 w 5411"/>
                  <a:gd name="T81" fmla="*/ 91 h 413"/>
                  <a:gd name="T82" fmla="*/ 1907 w 5411"/>
                  <a:gd name="T83" fmla="*/ 86 h 413"/>
                  <a:gd name="T84" fmla="*/ 1583 w 5411"/>
                  <a:gd name="T85" fmla="*/ 81 h 413"/>
                  <a:gd name="T86" fmla="*/ 1298 w 5411"/>
                  <a:gd name="T87" fmla="*/ 75 h 413"/>
                  <a:gd name="T88" fmla="*/ 1023 w 5411"/>
                  <a:gd name="T89" fmla="*/ 70 h 413"/>
                  <a:gd name="T90" fmla="*/ 806 w 5411"/>
                  <a:gd name="T91" fmla="*/ 64 h 413"/>
                  <a:gd name="T92" fmla="*/ 615 w 5411"/>
                  <a:gd name="T93" fmla="*/ 59 h 413"/>
                  <a:gd name="T94" fmla="*/ 463 w 5411"/>
                  <a:gd name="T95" fmla="*/ 54 h 413"/>
                  <a:gd name="T96" fmla="*/ 363 w 5411"/>
                  <a:gd name="T97" fmla="*/ 48 h 413"/>
                  <a:gd name="T98" fmla="*/ 290 w 5411"/>
                  <a:gd name="T99" fmla="*/ 46 h 413"/>
                  <a:gd name="T100" fmla="*/ 178 w 5411"/>
                  <a:gd name="T101" fmla="*/ 47 h 413"/>
                  <a:gd name="T102" fmla="*/ 53 w 5411"/>
                  <a:gd name="T103" fmla="*/ 60 h 413"/>
                  <a:gd name="T104" fmla="*/ 0 w 5411"/>
                  <a:gd name="T105" fmla="*/ 67 h 4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11"/>
                  <a:gd name="T160" fmla="*/ 0 h 413"/>
                  <a:gd name="T161" fmla="*/ 5411 w 5411"/>
                  <a:gd name="T162" fmla="*/ 413 h 4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11" h="413">
                    <a:moveTo>
                      <a:pt x="0" y="199"/>
                    </a:moveTo>
                    <a:lnTo>
                      <a:pt x="5" y="208"/>
                    </a:lnTo>
                    <a:lnTo>
                      <a:pt x="23" y="213"/>
                    </a:lnTo>
                    <a:lnTo>
                      <a:pt x="46" y="222"/>
                    </a:lnTo>
                    <a:lnTo>
                      <a:pt x="73" y="231"/>
                    </a:lnTo>
                    <a:lnTo>
                      <a:pt x="96" y="239"/>
                    </a:lnTo>
                    <a:lnTo>
                      <a:pt x="123" y="248"/>
                    </a:lnTo>
                    <a:lnTo>
                      <a:pt x="155" y="253"/>
                    </a:lnTo>
                    <a:lnTo>
                      <a:pt x="187" y="262"/>
                    </a:lnTo>
                    <a:lnTo>
                      <a:pt x="219" y="268"/>
                    </a:lnTo>
                    <a:lnTo>
                      <a:pt x="256" y="273"/>
                    </a:lnTo>
                    <a:lnTo>
                      <a:pt x="292" y="282"/>
                    </a:lnTo>
                    <a:lnTo>
                      <a:pt x="334" y="287"/>
                    </a:lnTo>
                    <a:lnTo>
                      <a:pt x="375" y="293"/>
                    </a:lnTo>
                    <a:lnTo>
                      <a:pt x="416" y="299"/>
                    </a:lnTo>
                    <a:lnTo>
                      <a:pt x="462" y="307"/>
                    </a:lnTo>
                    <a:lnTo>
                      <a:pt x="507" y="313"/>
                    </a:lnTo>
                    <a:lnTo>
                      <a:pt x="553" y="319"/>
                    </a:lnTo>
                    <a:lnTo>
                      <a:pt x="599" y="324"/>
                    </a:lnTo>
                    <a:lnTo>
                      <a:pt x="649" y="330"/>
                    </a:lnTo>
                    <a:lnTo>
                      <a:pt x="699" y="336"/>
                    </a:lnTo>
                    <a:lnTo>
                      <a:pt x="750" y="339"/>
                    </a:lnTo>
                    <a:lnTo>
                      <a:pt x="804" y="344"/>
                    </a:lnTo>
                    <a:lnTo>
                      <a:pt x="859" y="350"/>
                    </a:lnTo>
                    <a:lnTo>
                      <a:pt x="914" y="356"/>
                    </a:lnTo>
                    <a:lnTo>
                      <a:pt x="969" y="359"/>
                    </a:lnTo>
                    <a:lnTo>
                      <a:pt x="1028" y="364"/>
                    </a:lnTo>
                    <a:lnTo>
                      <a:pt x="1088" y="367"/>
                    </a:lnTo>
                    <a:lnTo>
                      <a:pt x="1147" y="373"/>
                    </a:lnTo>
                    <a:lnTo>
                      <a:pt x="1207" y="376"/>
                    </a:lnTo>
                    <a:lnTo>
                      <a:pt x="1266" y="379"/>
                    </a:lnTo>
                    <a:lnTo>
                      <a:pt x="1325" y="384"/>
                    </a:lnTo>
                    <a:lnTo>
                      <a:pt x="1394" y="390"/>
                    </a:lnTo>
                    <a:lnTo>
                      <a:pt x="1453" y="390"/>
                    </a:lnTo>
                    <a:lnTo>
                      <a:pt x="1513" y="393"/>
                    </a:lnTo>
                    <a:lnTo>
                      <a:pt x="1577" y="396"/>
                    </a:lnTo>
                    <a:lnTo>
                      <a:pt x="1645" y="399"/>
                    </a:lnTo>
                    <a:lnTo>
                      <a:pt x="1709" y="401"/>
                    </a:lnTo>
                    <a:lnTo>
                      <a:pt x="1773" y="401"/>
                    </a:lnTo>
                    <a:lnTo>
                      <a:pt x="1837" y="404"/>
                    </a:lnTo>
                    <a:lnTo>
                      <a:pt x="1906" y="407"/>
                    </a:lnTo>
                    <a:lnTo>
                      <a:pt x="1970" y="410"/>
                    </a:lnTo>
                    <a:lnTo>
                      <a:pt x="2034" y="410"/>
                    </a:lnTo>
                    <a:lnTo>
                      <a:pt x="2098" y="410"/>
                    </a:lnTo>
                    <a:lnTo>
                      <a:pt x="2166" y="413"/>
                    </a:lnTo>
                    <a:lnTo>
                      <a:pt x="2235" y="413"/>
                    </a:lnTo>
                    <a:lnTo>
                      <a:pt x="2299" y="413"/>
                    </a:lnTo>
                    <a:lnTo>
                      <a:pt x="2363" y="413"/>
                    </a:lnTo>
                    <a:lnTo>
                      <a:pt x="2431" y="413"/>
                    </a:lnTo>
                    <a:lnTo>
                      <a:pt x="2495" y="413"/>
                    </a:lnTo>
                    <a:lnTo>
                      <a:pt x="2559" y="413"/>
                    </a:lnTo>
                    <a:lnTo>
                      <a:pt x="2623" y="410"/>
                    </a:lnTo>
                    <a:lnTo>
                      <a:pt x="2692" y="410"/>
                    </a:lnTo>
                    <a:lnTo>
                      <a:pt x="2751" y="410"/>
                    </a:lnTo>
                    <a:lnTo>
                      <a:pt x="2820" y="407"/>
                    </a:lnTo>
                    <a:lnTo>
                      <a:pt x="2879" y="404"/>
                    </a:lnTo>
                    <a:lnTo>
                      <a:pt x="2943" y="404"/>
                    </a:lnTo>
                    <a:lnTo>
                      <a:pt x="3003" y="401"/>
                    </a:lnTo>
                    <a:lnTo>
                      <a:pt x="3067" y="401"/>
                    </a:lnTo>
                    <a:lnTo>
                      <a:pt x="3126" y="399"/>
                    </a:lnTo>
                    <a:lnTo>
                      <a:pt x="3185" y="396"/>
                    </a:lnTo>
                    <a:lnTo>
                      <a:pt x="3245" y="390"/>
                    </a:lnTo>
                    <a:lnTo>
                      <a:pt x="3304" y="390"/>
                    </a:lnTo>
                    <a:lnTo>
                      <a:pt x="3364" y="384"/>
                    </a:lnTo>
                    <a:lnTo>
                      <a:pt x="3423" y="381"/>
                    </a:lnTo>
                    <a:lnTo>
                      <a:pt x="3473" y="376"/>
                    </a:lnTo>
                    <a:lnTo>
                      <a:pt x="3528" y="373"/>
                    </a:lnTo>
                    <a:lnTo>
                      <a:pt x="3583" y="367"/>
                    </a:lnTo>
                    <a:lnTo>
                      <a:pt x="3638" y="364"/>
                    </a:lnTo>
                    <a:lnTo>
                      <a:pt x="3688" y="359"/>
                    </a:lnTo>
                    <a:lnTo>
                      <a:pt x="3743" y="353"/>
                    </a:lnTo>
                    <a:lnTo>
                      <a:pt x="3789" y="347"/>
                    </a:lnTo>
                    <a:lnTo>
                      <a:pt x="3843" y="344"/>
                    </a:lnTo>
                    <a:lnTo>
                      <a:pt x="3889" y="339"/>
                    </a:lnTo>
                    <a:lnTo>
                      <a:pt x="3944" y="333"/>
                    </a:lnTo>
                    <a:lnTo>
                      <a:pt x="3990" y="327"/>
                    </a:lnTo>
                    <a:lnTo>
                      <a:pt x="4040" y="324"/>
                    </a:lnTo>
                    <a:lnTo>
                      <a:pt x="4086" y="316"/>
                    </a:lnTo>
                    <a:lnTo>
                      <a:pt x="4136" y="313"/>
                    </a:lnTo>
                    <a:lnTo>
                      <a:pt x="4182" y="307"/>
                    </a:lnTo>
                    <a:lnTo>
                      <a:pt x="4232" y="302"/>
                    </a:lnTo>
                    <a:lnTo>
                      <a:pt x="4273" y="296"/>
                    </a:lnTo>
                    <a:lnTo>
                      <a:pt x="4319" y="287"/>
                    </a:lnTo>
                    <a:lnTo>
                      <a:pt x="4360" y="285"/>
                    </a:lnTo>
                    <a:lnTo>
                      <a:pt x="4406" y="279"/>
                    </a:lnTo>
                    <a:lnTo>
                      <a:pt x="4447" y="273"/>
                    </a:lnTo>
                    <a:lnTo>
                      <a:pt x="4488" y="265"/>
                    </a:lnTo>
                    <a:lnTo>
                      <a:pt x="4529" y="262"/>
                    </a:lnTo>
                    <a:lnTo>
                      <a:pt x="4570" y="256"/>
                    </a:lnTo>
                    <a:lnTo>
                      <a:pt x="4607" y="250"/>
                    </a:lnTo>
                    <a:lnTo>
                      <a:pt x="4643" y="239"/>
                    </a:lnTo>
                    <a:lnTo>
                      <a:pt x="4680" y="236"/>
                    </a:lnTo>
                    <a:lnTo>
                      <a:pt x="4721" y="231"/>
                    </a:lnTo>
                    <a:lnTo>
                      <a:pt x="4753" y="225"/>
                    </a:lnTo>
                    <a:lnTo>
                      <a:pt x="4789" y="219"/>
                    </a:lnTo>
                    <a:lnTo>
                      <a:pt x="4821" y="213"/>
                    </a:lnTo>
                    <a:lnTo>
                      <a:pt x="4858" y="208"/>
                    </a:lnTo>
                    <a:lnTo>
                      <a:pt x="4890" y="202"/>
                    </a:lnTo>
                    <a:lnTo>
                      <a:pt x="4922" y="196"/>
                    </a:lnTo>
                    <a:lnTo>
                      <a:pt x="4949" y="191"/>
                    </a:lnTo>
                    <a:lnTo>
                      <a:pt x="4981" y="185"/>
                    </a:lnTo>
                    <a:lnTo>
                      <a:pt x="5009" y="179"/>
                    </a:lnTo>
                    <a:lnTo>
                      <a:pt x="5041" y="174"/>
                    </a:lnTo>
                    <a:lnTo>
                      <a:pt x="5064" y="168"/>
                    </a:lnTo>
                    <a:lnTo>
                      <a:pt x="5091" y="165"/>
                    </a:lnTo>
                    <a:lnTo>
                      <a:pt x="5119" y="159"/>
                    </a:lnTo>
                    <a:lnTo>
                      <a:pt x="5141" y="154"/>
                    </a:lnTo>
                    <a:lnTo>
                      <a:pt x="5164" y="151"/>
                    </a:lnTo>
                    <a:lnTo>
                      <a:pt x="5187" y="148"/>
                    </a:lnTo>
                    <a:lnTo>
                      <a:pt x="5205" y="142"/>
                    </a:lnTo>
                    <a:lnTo>
                      <a:pt x="5228" y="139"/>
                    </a:lnTo>
                    <a:lnTo>
                      <a:pt x="5247" y="137"/>
                    </a:lnTo>
                    <a:lnTo>
                      <a:pt x="5265" y="131"/>
                    </a:lnTo>
                    <a:lnTo>
                      <a:pt x="5283" y="128"/>
                    </a:lnTo>
                    <a:lnTo>
                      <a:pt x="5297" y="122"/>
                    </a:lnTo>
                    <a:lnTo>
                      <a:pt x="5315" y="119"/>
                    </a:lnTo>
                    <a:lnTo>
                      <a:pt x="5329" y="117"/>
                    </a:lnTo>
                    <a:lnTo>
                      <a:pt x="5338" y="114"/>
                    </a:lnTo>
                    <a:lnTo>
                      <a:pt x="5352" y="111"/>
                    </a:lnTo>
                    <a:lnTo>
                      <a:pt x="5365" y="111"/>
                    </a:lnTo>
                    <a:lnTo>
                      <a:pt x="5374" y="108"/>
                    </a:lnTo>
                    <a:lnTo>
                      <a:pt x="5388" y="102"/>
                    </a:lnTo>
                    <a:lnTo>
                      <a:pt x="5402" y="102"/>
                    </a:lnTo>
                    <a:lnTo>
                      <a:pt x="5411" y="100"/>
                    </a:lnTo>
                    <a:lnTo>
                      <a:pt x="5265" y="0"/>
                    </a:lnTo>
                    <a:lnTo>
                      <a:pt x="5260" y="0"/>
                    </a:lnTo>
                    <a:lnTo>
                      <a:pt x="5251" y="3"/>
                    </a:lnTo>
                    <a:lnTo>
                      <a:pt x="5242" y="3"/>
                    </a:lnTo>
                    <a:lnTo>
                      <a:pt x="5233" y="3"/>
                    </a:lnTo>
                    <a:lnTo>
                      <a:pt x="5219" y="3"/>
                    </a:lnTo>
                    <a:lnTo>
                      <a:pt x="5210" y="8"/>
                    </a:lnTo>
                    <a:lnTo>
                      <a:pt x="5196" y="11"/>
                    </a:lnTo>
                    <a:lnTo>
                      <a:pt x="5178" y="14"/>
                    </a:lnTo>
                    <a:lnTo>
                      <a:pt x="5160" y="17"/>
                    </a:lnTo>
                    <a:lnTo>
                      <a:pt x="5141" y="20"/>
                    </a:lnTo>
                    <a:lnTo>
                      <a:pt x="5119" y="23"/>
                    </a:lnTo>
                    <a:lnTo>
                      <a:pt x="5100" y="25"/>
                    </a:lnTo>
                    <a:lnTo>
                      <a:pt x="5077" y="31"/>
                    </a:lnTo>
                    <a:lnTo>
                      <a:pt x="5055" y="37"/>
                    </a:lnTo>
                    <a:lnTo>
                      <a:pt x="5023" y="40"/>
                    </a:lnTo>
                    <a:lnTo>
                      <a:pt x="5000" y="43"/>
                    </a:lnTo>
                    <a:lnTo>
                      <a:pt x="4968" y="48"/>
                    </a:lnTo>
                    <a:lnTo>
                      <a:pt x="4940" y="51"/>
                    </a:lnTo>
                    <a:lnTo>
                      <a:pt x="4904" y="57"/>
                    </a:lnTo>
                    <a:lnTo>
                      <a:pt x="4872" y="60"/>
                    </a:lnTo>
                    <a:lnTo>
                      <a:pt x="4840" y="68"/>
                    </a:lnTo>
                    <a:lnTo>
                      <a:pt x="4808" y="71"/>
                    </a:lnTo>
                    <a:lnTo>
                      <a:pt x="4767" y="77"/>
                    </a:lnTo>
                    <a:lnTo>
                      <a:pt x="4730" y="82"/>
                    </a:lnTo>
                    <a:lnTo>
                      <a:pt x="4694" y="88"/>
                    </a:lnTo>
                    <a:lnTo>
                      <a:pt x="4652" y="91"/>
                    </a:lnTo>
                    <a:lnTo>
                      <a:pt x="4611" y="97"/>
                    </a:lnTo>
                    <a:lnTo>
                      <a:pt x="4570" y="102"/>
                    </a:lnTo>
                    <a:lnTo>
                      <a:pt x="4524" y="111"/>
                    </a:lnTo>
                    <a:lnTo>
                      <a:pt x="4488" y="117"/>
                    </a:lnTo>
                    <a:lnTo>
                      <a:pt x="4438" y="122"/>
                    </a:lnTo>
                    <a:lnTo>
                      <a:pt x="4392" y="128"/>
                    </a:lnTo>
                    <a:lnTo>
                      <a:pt x="4342" y="134"/>
                    </a:lnTo>
                    <a:lnTo>
                      <a:pt x="4296" y="139"/>
                    </a:lnTo>
                    <a:lnTo>
                      <a:pt x="4246" y="142"/>
                    </a:lnTo>
                    <a:lnTo>
                      <a:pt x="4200" y="151"/>
                    </a:lnTo>
                    <a:lnTo>
                      <a:pt x="4145" y="154"/>
                    </a:lnTo>
                    <a:lnTo>
                      <a:pt x="4095" y="162"/>
                    </a:lnTo>
                    <a:lnTo>
                      <a:pt x="4040" y="165"/>
                    </a:lnTo>
                    <a:lnTo>
                      <a:pt x="3990" y="174"/>
                    </a:lnTo>
                    <a:lnTo>
                      <a:pt x="3935" y="176"/>
                    </a:lnTo>
                    <a:lnTo>
                      <a:pt x="3885" y="185"/>
                    </a:lnTo>
                    <a:lnTo>
                      <a:pt x="3830" y="185"/>
                    </a:lnTo>
                    <a:lnTo>
                      <a:pt x="3770" y="193"/>
                    </a:lnTo>
                    <a:lnTo>
                      <a:pt x="3716" y="199"/>
                    </a:lnTo>
                    <a:lnTo>
                      <a:pt x="3661" y="205"/>
                    </a:lnTo>
                    <a:lnTo>
                      <a:pt x="3597" y="208"/>
                    </a:lnTo>
                    <a:lnTo>
                      <a:pt x="3542" y="213"/>
                    </a:lnTo>
                    <a:lnTo>
                      <a:pt x="3482" y="219"/>
                    </a:lnTo>
                    <a:lnTo>
                      <a:pt x="3423" y="225"/>
                    </a:lnTo>
                    <a:lnTo>
                      <a:pt x="3364" y="228"/>
                    </a:lnTo>
                    <a:lnTo>
                      <a:pt x="3304" y="231"/>
                    </a:lnTo>
                    <a:lnTo>
                      <a:pt x="3245" y="236"/>
                    </a:lnTo>
                    <a:lnTo>
                      <a:pt x="3181" y="239"/>
                    </a:lnTo>
                    <a:lnTo>
                      <a:pt x="3121" y="242"/>
                    </a:lnTo>
                    <a:lnTo>
                      <a:pt x="3057" y="248"/>
                    </a:lnTo>
                    <a:lnTo>
                      <a:pt x="2998" y="250"/>
                    </a:lnTo>
                    <a:lnTo>
                      <a:pt x="2934" y="253"/>
                    </a:lnTo>
                    <a:lnTo>
                      <a:pt x="2875" y="256"/>
                    </a:lnTo>
                    <a:lnTo>
                      <a:pt x="2806" y="259"/>
                    </a:lnTo>
                    <a:lnTo>
                      <a:pt x="2747" y="262"/>
                    </a:lnTo>
                    <a:lnTo>
                      <a:pt x="2683" y="265"/>
                    </a:lnTo>
                    <a:lnTo>
                      <a:pt x="2619" y="265"/>
                    </a:lnTo>
                    <a:lnTo>
                      <a:pt x="2555" y="268"/>
                    </a:lnTo>
                    <a:lnTo>
                      <a:pt x="2495" y="268"/>
                    </a:lnTo>
                    <a:lnTo>
                      <a:pt x="2431" y="270"/>
                    </a:lnTo>
                    <a:lnTo>
                      <a:pt x="2367" y="270"/>
                    </a:lnTo>
                    <a:lnTo>
                      <a:pt x="2308" y="270"/>
                    </a:lnTo>
                    <a:lnTo>
                      <a:pt x="2244" y="270"/>
                    </a:lnTo>
                    <a:lnTo>
                      <a:pt x="2185" y="270"/>
                    </a:lnTo>
                    <a:lnTo>
                      <a:pt x="2125" y="270"/>
                    </a:lnTo>
                    <a:lnTo>
                      <a:pt x="2070" y="268"/>
                    </a:lnTo>
                    <a:lnTo>
                      <a:pt x="2011" y="268"/>
                    </a:lnTo>
                    <a:lnTo>
                      <a:pt x="1951" y="268"/>
                    </a:lnTo>
                    <a:lnTo>
                      <a:pt x="1897" y="265"/>
                    </a:lnTo>
                    <a:lnTo>
                      <a:pt x="1842" y="265"/>
                    </a:lnTo>
                    <a:lnTo>
                      <a:pt x="1787" y="262"/>
                    </a:lnTo>
                    <a:lnTo>
                      <a:pt x="1732" y="262"/>
                    </a:lnTo>
                    <a:lnTo>
                      <a:pt x="1673" y="262"/>
                    </a:lnTo>
                    <a:lnTo>
                      <a:pt x="1622" y="259"/>
                    </a:lnTo>
                    <a:lnTo>
                      <a:pt x="1568" y="256"/>
                    </a:lnTo>
                    <a:lnTo>
                      <a:pt x="1517" y="253"/>
                    </a:lnTo>
                    <a:lnTo>
                      <a:pt x="1467" y="250"/>
                    </a:lnTo>
                    <a:lnTo>
                      <a:pt x="1417" y="250"/>
                    </a:lnTo>
                    <a:lnTo>
                      <a:pt x="1362" y="248"/>
                    </a:lnTo>
                    <a:lnTo>
                      <a:pt x="1321" y="245"/>
                    </a:lnTo>
                    <a:lnTo>
                      <a:pt x="1270" y="239"/>
                    </a:lnTo>
                    <a:lnTo>
                      <a:pt x="1220" y="239"/>
                    </a:lnTo>
                    <a:lnTo>
                      <a:pt x="1175" y="236"/>
                    </a:lnTo>
                    <a:lnTo>
                      <a:pt x="1129" y="233"/>
                    </a:lnTo>
                    <a:lnTo>
                      <a:pt x="1088" y="231"/>
                    </a:lnTo>
                    <a:lnTo>
                      <a:pt x="1042" y="228"/>
                    </a:lnTo>
                    <a:lnTo>
                      <a:pt x="1001" y="225"/>
                    </a:lnTo>
                    <a:lnTo>
                      <a:pt x="964" y="219"/>
                    </a:lnTo>
                    <a:lnTo>
                      <a:pt x="919" y="216"/>
                    </a:lnTo>
                    <a:lnTo>
                      <a:pt x="877" y="213"/>
                    </a:lnTo>
                    <a:lnTo>
                      <a:pt x="841" y="208"/>
                    </a:lnTo>
                    <a:lnTo>
                      <a:pt x="804" y="208"/>
                    </a:lnTo>
                    <a:lnTo>
                      <a:pt x="759" y="202"/>
                    </a:lnTo>
                    <a:lnTo>
                      <a:pt x="731" y="199"/>
                    </a:lnTo>
                    <a:lnTo>
                      <a:pt x="695" y="196"/>
                    </a:lnTo>
                    <a:lnTo>
                      <a:pt x="663" y="193"/>
                    </a:lnTo>
                    <a:lnTo>
                      <a:pt x="631" y="188"/>
                    </a:lnTo>
                    <a:lnTo>
                      <a:pt x="599" y="185"/>
                    </a:lnTo>
                    <a:lnTo>
                      <a:pt x="567" y="182"/>
                    </a:lnTo>
                    <a:lnTo>
                      <a:pt x="539" y="179"/>
                    </a:lnTo>
                    <a:lnTo>
                      <a:pt x="507" y="174"/>
                    </a:lnTo>
                    <a:lnTo>
                      <a:pt x="484" y="174"/>
                    </a:lnTo>
                    <a:lnTo>
                      <a:pt x="457" y="168"/>
                    </a:lnTo>
                    <a:lnTo>
                      <a:pt x="434" y="165"/>
                    </a:lnTo>
                    <a:lnTo>
                      <a:pt x="411" y="162"/>
                    </a:lnTo>
                    <a:lnTo>
                      <a:pt x="384" y="159"/>
                    </a:lnTo>
                    <a:lnTo>
                      <a:pt x="361" y="156"/>
                    </a:lnTo>
                    <a:lnTo>
                      <a:pt x="343" y="154"/>
                    </a:lnTo>
                    <a:lnTo>
                      <a:pt x="329" y="151"/>
                    </a:lnTo>
                    <a:lnTo>
                      <a:pt x="311" y="148"/>
                    </a:lnTo>
                    <a:lnTo>
                      <a:pt x="292" y="145"/>
                    </a:lnTo>
                    <a:lnTo>
                      <a:pt x="283" y="142"/>
                    </a:lnTo>
                    <a:lnTo>
                      <a:pt x="270" y="139"/>
                    </a:lnTo>
                    <a:lnTo>
                      <a:pt x="256" y="139"/>
                    </a:lnTo>
                    <a:lnTo>
                      <a:pt x="242" y="137"/>
                    </a:lnTo>
                    <a:lnTo>
                      <a:pt x="238" y="137"/>
                    </a:lnTo>
                    <a:lnTo>
                      <a:pt x="224" y="134"/>
                    </a:lnTo>
                    <a:lnTo>
                      <a:pt x="215" y="134"/>
                    </a:lnTo>
                    <a:lnTo>
                      <a:pt x="201" y="128"/>
                    </a:lnTo>
                    <a:lnTo>
                      <a:pt x="187" y="128"/>
                    </a:lnTo>
                    <a:lnTo>
                      <a:pt x="169" y="131"/>
                    </a:lnTo>
                    <a:lnTo>
                      <a:pt x="155" y="134"/>
                    </a:lnTo>
                    <a:lnTo>
                      <a:pt x="133" y="137"/>
                    </a:lnTo>
                    <a:lnTo>
                      <a:pt x="114" y="142"/>
                    </a:lnTo>
                    <a:lnTo>
                      <a:pt x="96" y="151"/>
                    </a:lnTo>
                    <a:lnTo>
                      <a:pt x="78" y="159"/>
                    </a:lnTo>
                    <a:lnTo>
                      <a:pt x="59" y="165"/>
                    </a:lnTo>
                    <a:lnTo>
                      <a:pt x="41" y="174"/>
                    </a:lnTo>
                    <a:lnTo>
                      <a:pt x="23" y="179"/>
                    </a:lnTo>
                    <a:lnTo>
                      <a:pt x="14" y="185"/>
                    </a:lnTo>
                    <a:lnTo>
                      <a:pt x="0" y="191"/>
                    </a:lnTo>
                    <a:lnTo>
                      <a:pt x="0" y="196"/>
                    </a:lnTo>
                    <a:lnTo>
                      <a:pt x="0" y="19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54" name="Freeform 68"/>
              <p:cNvSpPr>
                <a:spLocks/>
              </p:cNvSpPr>
              <p:nvPr>
                <p:custDataLst>
                  <p:tags r:id="rId97"/>
                </p:custDataLst>
              </p:nvPr>
            </p:nvSpPr>
            <p:spPr bwMode="gray">
              <a:xfrm>
                <a:off x="932" y="1412"/>
                <a:ext cx="3823" cy="1413"/>
              </a:xfrm>
              <a:custGeom>
                <a:avLst/>
                <a:gdLst>
                  <a:gd name="T0" fmla="*/ 159 w 3730"/>
                  <a:gd name="T1" fmla="*/ 41 h 1546"/>
                  <a:gd name="T2" fmla="*/ 142 w 3730"/>
                  <a:gd name="T3" fmla="*/ 75 h 1546"/>
                  <a:gd name="T4" fmla="*/ 129 w 3730"/>
                  <a:gd name="T5" fmla="*/ 121 h 1546"/>
                  <a:gd name="T6" fmla="*/ 102 w 3730"/>
                  <a:gd name="T7" fmla="*/ 173 h 1546"/>
                  <a:gd name="T8" fmla="*/ 83 w 3730"/>
                  <a:gd name="T9" fmla="*/ 231 h 1546"/>
                  <a:gd name="T10" fmla="*/ 54 w 3730"/>
                  <a:gd name="T11" fmla="*/ 291 h 1546"/>
                  <a:gd name="T12" fmla="*/ 40 w 3730"/>
                  <a:gd name="T13" fmla="*/ 345 h 1546"/>
                  <a:gd name="T14" fmla="*/ 14 w 3730"/>
                  <a:gd name="T15" fmla="*/ 396 h 1546"/>
                  <a:gd name="T16" fmla="*/ 5 w 3730"/>
                  <a:gd name="T17" fmla="*/ 435 h 1546"/>
                  <a:gd name="T18" fmla="*/ 0 w 3730"/>
                  <a:gd name="T19" fmla="*/ 461 h 1546"/>
                  <a:gd name="T20" fmla="*/ 5 w 3730"/>
                  <a:gd name="T21" fmla="*/ 467 h 1546"/>
                  <a:gd name="T22" fmla="*/ 88 w 3730"/>
                  <a:gd name="T23" fmla="*/ 471 h 1546"/>
                  <a:gd name="T24" fmla="*/ 192 w 3730"/>
                  <a:gd name="T25" fmla="*/ 474 h 1546"/>
                  <a:gd name="T26" fmla="*/ 327 w 3730"/>
                  <a:gd name="T27" fmla="*/ 480 h 1546"/>
                  <a:gd name="T28" fmla="*/ 492 w 3730"/>
                  <a:gd name="T29" fmla="*/ 485 h 1546"/>
                  <a:gd name="T30" fmla="*/ 683 w 3730"/>
                  <a:gd name="T31" fmla="*/ 493 h 1546"/>
                  <a:gd name="T32" fmla="*/ 887 w 3730"/>
                  <a:gd name="T33" fmla="*/ 499 h 1546"/>
                  <a:gd name="T34" fmla="*/ 1113 w 3730"/>
                  <a:gd name="T35" fmla="*/ 505 h 1546"/>
                  <a:gd name="T36" fmla="*/ 1340 w 3730"/>
                  <a:gd name="T37" fmla="*/ 511 h 1546"/>
                  <a:gd name="T38" fmla="*/ 1567 w 3730"/>
                  <a:gd name="T39" fmla="*/ 517 h 1546"/>
                  <a:gd name="T40" fmla="*/ 1797 w 3730"/>
                  <a:gd name="T41" fmla="*/ 522 h 1546"/>
                  <a:gd name="T42" fmla="*/ 2041 w 3730"/>
                  <a:gd name="T43" fmla="*/ 524 h 1546"/>
                  <a:gd name="T44" fmla="*/ 2293 w 3730"/>
                  <a:gd name="T45" fmla="*/ 525 h 1546"/>
                  <a:gd name="T46" fmla="*/ 2556 w 3730"/>
                  <a:gd name="T47" fmla="*/ 525 h 1546"/>
                  <a:gd name="T48" fmla="*/ 2820 w 3730"/>
                  <a:gd name="T49" fmla="*/ 523 h 1546"/>
                  <a:gd name="T50" fmla="*/ 3089 w 3730"/>
                  <a:gd name="T51" fmla="*/ 522 h 1546"/>
                  <a:gd name="T52" fmla="*/ 3335 w 3730"/>
                  <a:gd name="T53" fmla="*/ 519 h 1546"/>
                  <a:gd name="T54" fmla="*/ 3575 w 3730"/>
                  <a:gd name="T55" fmla="*/ 515 h 1546"/>
                  <a:gd name="T56" fmla="*/ 3792 w 3730"/>
                  <a:gd name="T57" fmla="*/ 510 h 1546"/>
                  <a:gd name="T58" fmla="*/ 3984 w 3730"/>
                  <a:gd name="T59" fmla="*/ 507 h 1546"/>
                  <a:gd name="T60" fmla="*/ 4142 w 3730"/>
                  <a:gd name="T61" fmla="*/ 504 h 1546"/>
                  <a:gd name="T62" fmla="*/ 4268 w 3730"/>
                  <a:gd name="T63" fmla="*/ 499 h 1546"/>
                  <a:gd name="T64" fmla="*/ 4392 w 3730"/>
                  <a:gd name="T65" fmla="*/ 494 h 1546"/>
                  <a:gd name="T66" fmla="*/ 4509 w 3730"/>
                  <a:gd name="T67" fmla="*/ 491 h 1546"/>
                  <a:gd name="T68" fmla="*/ 4607 w 3730"/>
                  <a:gd name="T69" fmla="*/ 485 h 1546"/>
                  <a:gd name="T70" fmla="*/ 4704 w 3730"/>
                  <a:gd name="T71" fmla="*/ 481 h 1546"/>
                  <a:gd name="T72" fmla="*/ 4816 w 3730"/>
                  <a:gd name="T73" fmla="*/ 474 h 1546"/>
                  <a:gd name="T74" fmla="*/ 4943 w 3730"/>
                  <a:gd name="T75" fmla="*/ 469 h 1546"/>
                  <a:gd name="T76" fmla="*/ 5013 w 3730"/>
                  <a:gd name="T77" fmla="*/ 466 h 1546"/>
                  <a:gd name="T78" fmla="*/ 4600 w 3730"/>
                  <a:gd name="T79" fmla="*/ 435 h 1546"/>
                  <a:gd name="T80" fmla="*/ 4515 w 3730"/>
                  <a:gd name="T81" fmla="*/ 437 h 1546"/>
                  <a:gd name="T82" fmla="*/ 4399 w 3730"/>
                  <a:gd name="T83" fmla="*/ 441 h 1546"/>
                  <a:gd name="T84" fmla="*/ 4250 w 3730"/>
                  <a:gd name="T85" fmla="*/ 444 h 1546"/>
                  <a:gd name="T86" fmla="*/ 4064 w 3730"/>
                  <a:gd name="T87" fmla="*/ 451 h 1546"/>
                  <a:gd name="T88" fmla="*/ 3862 w 3730"/>
                  <a:gd name="T89" fmla="*/ 456 h 1546"/>
                  <a:gd name="T90" fmla="*/ 3634 w 3730"/>
                  <a:gd name="T91" fmla="*/ 461 h 1546"/>
                  <a:gd name="T92" fmla="*/ 3399 w 3730"/>
                  <a:gd name="T93" fmla="*/ 466 h 1546"/>
                  <a:gd name="T94" fmla="*/ 3151 w 3730"/>
                  <a:gd name="T95" fmla="*/ 471 h 1546"/>
                  <a:gd name="T96" fmla="*/ 2893 w 3730"/>
                  <a:gd name="T97" fmla="*/ 474 h 1546"/>
                  <a:gd name="T98" fmla="*/ 2641 w 3730"/>
                  <a:gd name="T99" fmla="*/ 474 h 1546"/>
                  <a:gd name="T100" fmla="*/ 2358 w 3730"/>
                  <a:gd name="T101" fmla="*/ 474 h 1546"/>
                  <a:gd name="T102" fmla="*/ 2062 w 3730"/>
                  <a:gd name="T103" fmla="*/ 473 h 1546"/>
                  <a:gd name="T104" fmla="*/ 1759 w 3730"/>
                  <a:gd name="T105" fmla="*/ 467 h 1546"/>
                  <a:gd name="T106" fmla="*/ 1462 w 3730"/>
                  <a:gd name="T107" fmla="*/ 463 h 1546"/>
                  <a:gd name="T108" fmla="*/ 1180 w 3730"/>
                  <a:gd name="T109" fmla="*/ 457 h 1546"/>
                  <a:gd name="T110" fmla="*/ 921 w 3730"/>
                  <a:gd name="T111" fmla="*/ 451 h 1546"/>
                  <a:gd name="T112" fmla="*/ 700 w 3730"/>
                  <a:gd name="T113" fmla="*/ 443 h 1546"/>
                  <a:gd name="T114" fmla="*/ 529 w 3730"/>
                  <a:gd name="T115" fmla="*/ 440 h 1546"/>
                  <a:gd name="T116" fmla="*/ 413 w 3730"/>
                  <a:gd name="T117" fmla="*/ 435 h 1546"/>
                  <a:gd name="T118" fmla="*/ 418 w 3730"/>
                  <a:gd name="T119" fmla="*/ 31 h 1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30"/>
                  <a:gd name="T181" fmla="*/ 0 h 1546"/>
                  <a:gd name="T182" fmla="*/ 3730 w 3730"/>
                  <a:gd name="T183" fmla="*/ 1546 h 15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30" h="1546">
                    <a:moveTo>
                      <a:pt x="133" y="85"/>
                    </a:moveTo>
                    <a:lnTo>
                      <a:pt x="133" y="88"/>
                    </a:lnTo>
                    <a:lnTo>
                      <a:pt x="128" y="94"/>
                    </a:lnTo>
                    <a:lnTo>
                      <a:pt x="124" y="102"/>
                    </a:lnTo>
                    <a:lnTo>
                      <a:pt x="124" y="114"/>
                    </a:lnTo>
                    <a:lnTo>
                      <a:pt x="119" y="122"/>
                    </a:lnTo>
                    <a:lnTo>
                      <a:pt x="119" y="136"/>
                    </a:lnTo>
                    <a:lnTo>
                      <a:pt x="119" y="151"/>
                    </a:lnTo>
                    <a:lnTo>
                      <a:pt x="119" y="168"/>
                    </a:lnTo>
                    <a:lnTo>
                      <a:pt x="115" y="182"/>
                    </a:lnTo>
                    <a:lnTo>
                      <a:pt x="110" y="199"/>
                    </a:lnTo>
                    <a:lnTo>
                      <a:pt x="106" y="219"/>
                    </a:lnTo>
                    <a:lnTo>
                      <a:pt x="106" y="239"/>
                    </a:lnTo>
                    <a:lnTo>
                      <a:pt x="106" y="259"/>
                    </a:lnTo>
                    <a:lnTo>
                      <a:pt x="101" y="282"/>
                    </a:lnTo>
                    <a:lnTo>
                      <a:pt x="96" y="304"/>
                    </a:lnTo>
                    <a:lnTo>
                      <a:pt x="96" y="327"/>
                    </a:lnTo>
                    <a:lnTo>
                      <a:pt x="96" y="353"/>
                    </a:lnTo>
                    <a:lnTo>
                      <a:pt x="92" y="376"/>
                    </a:lnTo>
                    <a:lnTo>
                      <a:pt x="87" y="401"/>
                    </a:lnTo>
                    <a:lnTo>
                      <a:pt x="87" y="427"/>
                    </a:lnTo>
                    <a:lnTo>
                      <a:pt x="87" y="453"/>
                    </a:lnTo>
                    <a:lnTo>
                      <a:pt x="83" y="481"/>
                    </a:lnTo>
                    <a:lnTo>
                      <a:pt x="78" y="509"/>
                    </a:lnTo>
                    <a:lnTo>
                      <a:pt x="74" y="535"/>
                    </a:lnTo>
                    <a:lnTo>
                      <a:pt x="74" y="564"/>
                    </a:lnTo>
                    <a:lnTo>
                      <a:pt x="74" y="592"/>
                    </a:lnTo>
                    <a:lnTo>
                      <a:pt x="69" y="621"/>
                    </a:lnTo>
                    <a:lnTo>
                      <a:pt x="64" y="649"/>
                    </a:lnTo>
                    <a:lnTo>
                      <a:pt x="60" y="680"/>
                    </a:lnTo>
                    <a:lnTo>
                      <a:pt x="60" y="709"/>
                    </a:lnTo>
                    <a:lnTo>
                      <a:pt x="55" y="737"/>
                    </a:lnTo>
                    <a:lnTo>
                      <a:pt x="55" y="766"/>
                    </a:lnTo>
                    <a:lnTo>
                      <a:pt x="51" y="797"/>
                    </a:lnTo>
                    <a:lnTo>
                      <a:pt x="51" y="826"/>
                    </a:lnTo>
                    <a:lnTo>
                      <a:pt x="42" y="854"/>
                    </a:lnTo>
                    <a:lnTo>
                      <a:pt x="42" y="883"/>
                    </a:lnTo>
                    <a:lnTo>
                      <a:pt x="37" y="911"/>
                    </a:lnTo>
                    <a:lnTo>
                      <a:pt x="37" y="939"/>
                    </a:lnTo>
                    <a:lnTo>
                      <a:pt x="37" y="968"/>
                    </a:lnTo>
                    <a:lnTo>
                      <a:pt x="37" y="994"/>
                    </a:lnTo>
                    <a:lnTo>
                      <a:pt x="28" y="1019"/>
                    </a:lnTo>
                    <a:lnTo>
                      <a:pt x="28" y="1045"/>
                    </a:lnTo>
                    <a:lnTo>
                      <a:pt x="19" y="1073"/>
                    </a:lnTo>
                    <a:lnTo>
                      <a:pt x="19" y="1099"/>
                    </a:lnTo>
                    <a:lnTo>
                      <a:pt x="19" y="1122"/>
                    </a:lnTo>
                    <a:lnTo>
                      <a:pt x="19" y="1142"/>
                    </a:lnTo>
                    <a:lnTo>
                      <a:pt x="14" y="1167"/>
                    </a:lnTo>
                    <a:lnTo>
                      <a:pt x="14" y="1190"/>
                    </a:lnTo>
                    <a:lnTo>
                      <a:pt x="10" y="1210"/>
                    </a:lnTo>
                    <a:lnTo>
                      <a:pt x="10" y="1227"/>
                    </a:lnTo>
                    <a:lnTo>
                      <a:pt x="10" y="1247"/>
                    </a:lnTo>
                    <a:lnTo>
                      <a:pt x="5" y="1267"/>
                    </a:lnTo>
                    <a:lnTo>
                      <a:pt x="5" y="1281"/>
                    </a:lnTo>
                    <a:lnTo>
                      <a:pt x="0" y="1298"/>
                    </a:lnTo>
                    <a:lnTo>
                      <a:pt x="0" y="1312"/>
                    </a:lnTo>
                    <a:lnTo>
                      <a:pt x="0" y="1327"/>
                    </a:lnTo>
                    <a:lnTo>
                      <a:pt x="0" y="1338"/>
                    </a:lnTo>
                    <a:lnTo>
                      <a:pt x="0" y="1347"/>
                    </a:lnTo>
                    <a:lnTo>
                      <a:pt x="0" y="1355"/>
                    </a:lnTo>
                    <a:lnTo>
                      <a:pt x="0" y="1364"/>
                    </a:lnTo>
                    <a:lnTo>
                      <a:pt x="0" y="1372"/>
                    </a:lnTo>
                    <a:lnTo>
                      <a:pt x="0" y="1375"/>
                    </a:lnTo>
                    <a:lnTo>
                      <a:pt x="0" y="1378"/>
                    </a:lnTo>
                    <a:lnTo>
                      <a:pt x="5" y="1378"/>
                    </a:lnTo>
                    <a:lnTo>
                      <a:pt x="14" y="1378"/>
                    </a:lnTo>
                    <a:lnTo>
                      <a:pt x="28" y="1381"/>
                    </a:lnTo>
                    <a:lnTo>
                      <a:pt x="37" y="1381"/>
                    </a:lnTo>
                    <a:lnTo>
                      <a:pt x="42" y="1387"/>
                    </a:lnTo>
                    <a:lnTo>
                      <a:pt x="55" y="1387"/>
                    </a:lnTo>
                    <a:lnTo>
                      <a:pt x="64" y="1387"/>
                    </a:lnTo>
                    <a:lnTo>
                      <a:pt x="74" y="1387"/>
                    </a:lnTo>
                    <a:lnTo>
                      <a:pt x="87" y="1389"/>
                    </a:lnTo>
                    <a:lnTo>
                      <a:pt x="96" y="1392"/>
                    </a:lnTo>
                    <a:lnTo>
                      <a:pt x="115" y="1395"/>
                    </a:lnTo>
                    <a:lnTo>
                      <a:pt x="124" y="1398"/>
                    </a:lnTo>
                    <a:lnTo>
                      <a:pt x="142" y="1398"/>
                    </a:lnTo>
                    <a:lnTo>
                      <a:pt x="156" y="1398"/>
                    </a:lnTo>
                    <a:lnTo>
                      <a:pt x="174" y="1404"/>
                    </a:lnTo>
                    <a:lnTo>
                      <a:pt x="188" y="1406"/>
                    </a:lnTo>
                    <a:lnTo>
                      <a:pt x="206" y="1409"/>
                    </a:lnTo>
                    <a:lnTo>
                      <a:pt x="224" y="1409"/>
                    </a:lnTo>
                    <a:lnTo>
                      <a:pt x="243" y="1412"/>
                    </a:lnTo>
                    <a:lnTo>
                      <a:pt x="261" y="1415"/>
                    </a:lnTo>
                    <a:lnTo>
                      <a:pt x="279" y="1418"/>
                    </a:lnTo>
                    <a:lnTo>
                      <a:pt x="302" y="1421"/>
                    </a:lnTo>
                    <a:lnTo>
                      <a:pt x="325" y="1424"/>
                    </a:lnTo>
                    <a:lnTo>
                      <a:pt x="343" y="1426"/>
                    </a:lnTo>
                    <a:lnTo>
                      <a:pt x="366" y="1429"/>
                    </a:lnTo>
                    <a:lnTo>
                      <a:pt x="389" y="1432"/>
                    </a:lnTo>
                    <a:lnTo>
                      <a:pt x="416" y="1435"/>
                    </a:lnTo>
                    <a:lnTo>
                      <a:pt x="435" y="1441"/>
                    </a:lnTo>
                    <a:lnTo>
                      <a:pt x="457" y="1443"/>
                    </a:lnTo>
                    <a:lnTo>
                      <a:pt x="485" y="1443"/>
                    </a:lnTo>
                    <a:lnTo>
                      <a:pt x="508" y="1449"/>
                    </a:lnTo>
                    <a:lnTo>
                      <a:pt x="531" y="1452"/>
                    </a:lnTo>
                    <a:lnTo>
                      <a:pt x="558" y="1455"/>
                    </a:lnTo>
                    <a:lnTo>
                      <a:pt x="581" y="1458"/>
                    </a:lnTo>
                    <a:lnTo>
                      <a:pt x="608" y="1463"/>
                    </a:lnTo>
                    <a:lnTo>
                      <a:pt x="636" y="1463"/>
                    </a:lnTo>
                    <a:lnTo>
                      <a:pt x="659" y="1466"/>
                    </a:lnTo>
                    <a:lnTo>
                      <a:pt x="686" y="1469"/>
                    </a:lnTo>
                    <a:lnTo>
                      <a:pt x="713" y="1475"/>
                    </a:lnTo>
                    <a:lnTo>
                      <a:pt x="741" y="1478"/>
                    </a:lnTo>
                    <a:lnTo>
                      <a:pt x="768" y="1481"/>
                    </a:lnTo>
                    <a:lnTo>
                      <a:pt x="800" y="1486"/>
                    </a:lnTo>
                    <a:lnTo>
                      <a:pt x="828" y="1486"/>
                    </a:lnTo>
                    <a:lnTo>
                      <a:pt x="855" y="1489"/>
                    </a:lnTo>
                    <a:lnTo>
                      <a:pt x="882" y="1492"/>
                    </a:lnTo>
                    <a:lnTo>
                      <a:pt x="910" y="1495"/>
                    </a:lnTo>
                    <a:lnTo>
                      <a:pt x="937" y="1498"/>
                    </a:lnTo>
                    <a:lnTo>
                      <a:pt x="965" y="1500"/>
                    </a:lnTo>
                    <a:lnTo>
                      <a:pt x="997" y="1506"/>
                    </a:lnTo>
                    <a:lnTo>
                      <a:pt x="1020" y="1506"/>
                    </a:lnTo>
                    <a:lnTo>
                      <a:pt x="1052" y="1512"/>
                    </a:lnTo>
                    <a:lnTo>
                      <a:pt x="1079" y="1512"/>
                    </a:lnTo>
                    <a:lnTo>
                      <a:pt x="1106" y="1515"/>
                    </a:lnTo>
                    <a:lnTo>
                      <a:pt x="1138" y="1518"/>
                    </a:lnTo>
                    <a:lnTo>
                      <a:pt x="1166" y="1520"/>
                    </a:lnTo>
                    <a:lnTo>
                      <a:pt x="1193" y="1523"/>
                    </a:lnTo>
                    <a:lnTo>
                      <a:pt x="1225" y="1526"/>
                    </a:lnTo>
                    <a:lnTo>
                      <a:pt x="1253" y="1529"/>
                    </a:lnTo>
                    <a:lnTo>
                      <a:pt x="1285" y="1532"/>
                    </a:lnTo>
                    <a:lnTo>
                      <a:pt x="1308" y="1535"/>
                    </a:lnTo>
                    <a:lnTo>
                      <a:pt x="1335" y="1535"/>
                    </a:lnTo>
                    <a:lnTo>
                      <a:pt x="1362" y="1535"/>
                    </a:lnTo>
                    <a:lnTo>
                      <a:pt x="1394" y="1537"/>
                    </a:lnTo>
                    <a:lnTo>
                      <a:pt x="1422" y="1537"/>
                    </a:lnTo>
                    <a:lnTo>
                      <a:pt x="1454" y="1540"/>
                    </a:lnTo>
                    <a:lnTo>
                      <a:pt x="1486" y="1540"/>
                    </a:lnTo>
                    <a:lnTo>
                      <a:pt x="1518" y="1543"/>
                    </a:lnTo>
                    <a:lnTo>
                      <a:pt x="1545" y="1543"/>
                    </a:lnTo>
                    <a:lnTo>
                      <a:pt x="1577" y="1546"/>
                    </a:lnTo>
                    <a:lnTo>
                      <a:pt x="1609" y="1546"/>
                    </a:lnTo>
                    <a:lnTo>
                      <a:pt x="1641" y="1546"/>
                    </a:lnTo>
                    <a:lnTo>
                      <a:pt x="1673" y="1546"/>
                    </a:lnTo>
                    <a:lnTo>
                      <a:pt x="1705" y="1546"/>
                    </a:lnTo>
                    <a:lnTo>
                      <a:pt x="1742" y="1546"/>
                    </a:lnTo>
                    <a:lnTo>
                      <a:pt x="1774" y="1546"/>
                    </a:lnTo>
                    <a:lnTo>
                      <a:pt x="1806" y="1546"/>
                    </a:lnTo>
                    <a:lnTo>
                      <a:pt x="1838" y="1546"/>
                    </a:lnTo>
                    <a:lnTo>
                      <a:pt x="1865" y="1546"/>
                    </a:lnTo>
                    <a:lnTo>
                      <a:pt x="1902" y="1546"/>
                    </a:lnTo>
                    <a:lnTo>
                      <a:pt x="1929" y="1546"/>
                    </a:lnTo>
                    <a:lnTo>
                      <a:pt x="1966" y="1546"/>
                    </a:lnTo>
                    <a:lnTo>
                      <a:pt x="1998" y="1546"/>
                    </a:lnTo>
                    <a:lnTo>
                      <a:pt x="2034" y="1546"/>
                    </a:lnTo>
                    <a:lnTo>
                      <a:pt x="2066" y="1543"/>
                    </a:lnTo>
                    <a:lnTo>
                      <a:pt x="2098" y="1540"/>
                    </a:lnTo>
                    <a:lnTo>
                      <a:pt x="2130" y="1540"/>
                    </a:lnTo>
                    <a:lnTo>
                      <a:pt x="2167" y="1540"/>
                    </a:lnTo>
                    <a:lnTo>
                      <a:pt x="2199" y="1537"/>
                    </a:lnTo>
                    <a:lnTo>
                      <a:pt x="2235" y="1537"/>
                    </a:lnTo>
                    <a:lnTo>
                      <a:pt x="2263" y="1535"/>
                    </a:lnTo>
                    <a:lnTo>
                      <a:pt x="2299" y="1535"/>
                    </a:lnTo>
                    <a:lnTo>
                      <a:pt x="2327" y="1535"/>
                    </a:lnTo>
                    <a:lnTo>
                      <a:pt x="2359" y="1535"/>
                    </a:lnTo>
                    <a:lnTo>
                      <a:pt x="2391" y="1529"/>
                    </a:lnTo>
                    <a:lnTo>
                      <a:pt x="2423" y="1529"/>
                    </a:lnTo>
                    <a:lnTo>
                      <a:pt x="2455" y="1526"/>
                    </a:lnTo>
                    <a:lnTo>
                      <a:pt x="2482" y="1526"/>
                    </a:lnTo>
                    <a:lnTo>
                      <a:pt x="2514" y="1523"/>
                    </a:lnTo>
                    <a:lnTo>
                      <a:pt x="2546" y="1523"/>
                    </a:lnTo>
                    <a:lnTo>
                      <a:pt x="2573" y="1520"/>
                    </a:lnTo>
                    <a:lnTo>
                      <a:pt x="2601" y="1520"/>
                    </a:lnTo>
                    <a:lnTo>
                      <a:pt x="2633" y="1518"/>
                    </a:lnTo>
                    <a:lnTo>
                      <a:pt x="2660" y="1515"/>
                    </a:lnTo>
                    <a:lnTo>
                      <a:pt x="2688" y="1512"/>
                    </a:lnTo>
                    <a:lnTo>
                      <a:pt x="2715" y="1512"/>
                    </a:lnTo>
                    <a:lnTo>
                      <a:pt x="2743" y="1509"/>
                    </a:lnTo>
                    <a:lnTo>
                      <a:pt x="2775" y="1509"/>
                    </a:lnTo>
                    <a:lnTo>
                      <a:pt x="2797" y="1506"/>
                    </a:lnTo>
                    <a:lnTo>
                      <a:pt x="2820" y="1503"/>
                    </a:lnTo>
                    <a:lnTo>
                      <a:pt x="2848" y="1500"/>
                    </a:lnTo>
                    <a:lnTo>
                      <a:pt x="2875" y="1498"/>
                    </a:lnTo>
                    <a:lnTo>
                      <a:pt x="2893" y="1498"/>
                    </a:lnTo>
                    <a:lnTo>
                      <a:pt x="2921" y="1495"/>
                    </a:lnTo>
                    <a:lnTo>
                      <a:pt x="2944" y="1492"/>
                    </a:lnTo>
                    <a:lnTo>
                      <a:pt x="2962" y="1492"/>
                    </a:lnTo>
                    <a:lnTo>
                      <a:pt x="2989" y="1489"/>
                    </a:lnTo>
                    <a:lnTo>
                      <a:pt x="3008" y="1486"/>
                    </a:lnTo>
                    <a:lnTo>
                      <a:pt x="3026" y="1486"/>
                    </a:lnTo>
                    <a:lnTo>
                      <a:pt x="3049" y="1486"/>
                    </a:lnTo>
                    <a:lnTo>
                      <a:pt x="3067" y="1481"/>
                    </a:lnTo>
                    <a:lnTo>
                      <a:pt x="3081" y="1481"/>
                    </a:lnTo>
                    <a:lnTo>
                      <a:pt x="3099" y="1478"/>
                    </a:lnTo>
                    <a:lnTo>
                      <a:pt x="3117" y="1478"/>
                    </a:lnTo>
                    <a:lnTo>
                      <a:pt x="3131" y="1475"/>
                    </a:lnTo>
                    <a:lnTo>
                      <a:pt x="3145" y="1472"/>
                    </a:lnTo>
                    <a:lnTo>
                      <a:pt x="3163" y="1469"/>
                    </a:lnTo>
                    <a:lnTo>
                      <a:pt x="3177" y="1466"/>
                    </a:lnTo>
                    <a:lnTo>
                      <a:pt x="3190" y="1463"/>
                    </a:lnTo>
                    <a:lnTo>
                      <a:pt x="3209" y="1463"/>
                    </a:lnTo>
                    <a:lnTo>
                      <a:pt x="3222" y="1461"/>
                    </a:lnTo>
                    <a:lnTo>
                      <a:pt x="3241" y="1461"/>
                    </a:lnTo>
                    <a:lnTo>
                      <a:pt x="3254" y="1455"/>
                    </a:lnTo>
                    <a:lnTo>
                      <a:pt x="3268" y="1455"/>
                    </a:lnTo>
                    <a:lnTo>
                      <a:pt x="3282" y="1452"/>
                    </a:lnTo>
                    <a:lnTo>
                      <a:pt x="3296" y="1452"/>
                    </a:lnTo>
                    <a:lnTo>
                      <a:pt x="3309" y="1449"/>
                    </a:lnTo>
                    <a:lnTo>
                      <a:pt x="3323" y="1446"/>
                    </a:lnTo>
                    <a:lnTo>
                      <a:pt x="3341" y="1443"/>
                    </a:lnTo>
                    <a:lnTo>
                      <a:pt x="3355" y="1443"/>
                    </a:lnTo>
                    <a:lnTo>
                      <a:pt x="3364" y="1441"/>
                    </a:lnTo>
                    <a:lnTo>
                      <a:pt x="3378" y="1438"/>
                    </a:lnTo>
                    <a:lnTo>
                      <a:pt x="3391" y="1435"/>
                    </a:lnTo>
                    <a:lnTo>
                      <a:pt x="3405" y="1432"/>
                    </a:lnTo>
                    <a:lnTo>
                      <a:pt x="3419" y="1432"/>
                    </a:lnTo>
                    <a:lnTo>
                      <a:pt x="3428" y="1429"/>
                    </a:lnTo>
                    <a:lnTo>
                      <a:pt x="3442" y="1426"/>
                    </a:lnTo>
                    <a:lnTo>
                      <a:pt x="3455" y="1424"/>
                    </a:lnTo>
                    <a:lnTo>
                      <a:pt x="3465" y="1421"/>
                    </a:lnTo>
                    <a:lnTo>
                      <a:pt x="3478" y="1421"/>
                    </a:lnTo>
                    <a:lnTo>
                      <a:pt x="3492" y="1418"/>
                    </a:lnTo>
                    <a:lnTo>
                      <a:pt x="3501" y="1415"/>
                    </a:lnTo>
                    <a:lnTo>
                      <a:pt x="3515" y="1412"/>
                    </a:lnTo>
                    <a:lnTo>
                      <a:pt x="3529" y="1412"/>
                    </a:lnTo>
                    <a:lnTo>
                      <a:pt x="3538" y="1409"/>
                    </a:lnTo>
                    <a:lnTo>
                      <a:pt x="3547" y="1409"/>
                    </a:lnTo>
                    <a:lnTo>
                      <a:pt x="3565" y="1404"/>
                    </a:lnTo>
                    <a:lnTo>
                      <a:pt x="3583" y="1398"/>
                    </a:lnTo>
                    <a:lnTo>
                      <a:pt x="3602" y="1398"/>
                    </a:lnTo>
                    <a:lnTo>
                      <a:pt x="3620" y="1392"/>
                    </a:lnTo>
                    <a:lnTo>
                      <a:pt x="3634" y="1389"/>
                    </a:lnTo>
                    <a:lnTo>
                      <a:pt x="3652" y="1387"/>
                    </a:lnTo>
                    <a:lnTo>
                      <a:pt x="3666" y="1387"/>
                    </a:lnTo>
                    <a:lnTo>
                      <a:pt x="3679" y="1381"/>
                    </a:lnTo>
                    <a:lnTo>
                      <a:pt x="3689" y="1378"/>
                    </a:lnTo>
                    <a:lnTo>
                      <a:pt x="3698" y="1375"/>
                    </a:lnTo>
                    <a:lnTo>
                      <a:pt x="3707" y="1372"/>
                    </a:lnTo>
                    <a:lnTo>
                      <a:pt x="3711" y="1372"/>
                    </a:lnTo>
                    <a:lnTo>
                      <a:pt x="3725" y="1372"/>
                    </a:lnTo>
                    <a:lnTo>
                      <a:pt x="3730" y="1372"/>
                    </a:lnTo>
                    <a:lnTo>
                      <a:pt x="3538" y="0"/>
                    </a:lnTo>
                    <a:lnTo>
                      <a:pt x="3341" y="11"/>
                    </a:lnTo>
                    <a:lnTo>
                      <a:pt x="3442" y="1281"/>
                    </a:lnTo>
                    <a:lnTo>
                      <a:pt x="3433" y="1281"/>
                    </a:lnTo>
                    <a:lnTo>
                      <a:pt x="3423" y="1281"/>
                    </a:lnTo>
                    <a:lnTo>
                      <a:pt x="3410" y="1281"/>
                    </a:lnTo>
                    <a:lnTo>
                      <a:pt x="3401" y="1281"/>
                    </a:lnTo>
                    <a:lnTo>
                      <a:pt x="3391" y="1284"/>
                    </a:lnTo>
                    <a:lnTo>
                      <a:pt x="3378" y="1284"/>
                    </a:lnTo>
                    <a:lnTo>
                      <a:pt x="3369" y="1287"/>
                    </a:lnTo>
                    <a:lnTo>
                      <a:pt x="3359" y="1287"/>
                    </a:lnTo>
                    <a:lnTo>
                      <a:pt x="3346" y="1290"/>
                    </a:lnTo>
                    <a:lnTo>
                      <a:pt x="3332" y="1293"/>
                    </a:lnTo>
                    <a:lnTo>
                      <a:pt x="3323" y="1293"/>
                    </a:lnTo>
                    <a:lnTo>
                      <a:pt x="3305" y="1295"/>
                    </a:lnTo>
                    <a:lnTo>
                      <a:pt x="3291" y="1295"/>
                    </a:lnTo>
                    <a:lnTo>
                      <a:pt x="3273" y="1298"/>
                    </a:lnTo>
                    <a:lnTo>
                      <a:pt x="3254" y="1301"/>
                    </a:lnTo>
                    <a:lnTo>
                      <a:pt x="3236" y="1301"/>
                    </a:lnTo>
                    <a:lnTo>
                      <a:pt x="3218" y="1304"/>
                    </a:lnTo>
                    <a:lnTo>
                      <a:pt x="3200" y="1307"/>
                    </a:lnTo>
                    <a:lnTo>
                      <a:pt x="3181" y="1310"/>
                    </a:lnTo>
                    <a:lnTo>
                      <a:pt x="3163" y="1310"/>
                    </a:lnTo>
                    <a:lnTo>
                      <a:pt x="3140" y="1312"/>
                    </a:lnTo>
                    <a:lnTo>
                      <a:pt x="3117" y="1315"/>
                    </a:lnTo>
                    <a:lnTo>
                      <a:pt x="3099" y="1318"/>
                    </a:lnTo>
                    <a:lnTo>
                      <a:pt x="3072" y="1321"/>
                    </a:lnTo>
                    <a:lnTo>
                      <a:pt x="3049" y="1324"/>
                    </a:lnTo>
                    <a:lnTo>
                      <a:pt x="3026" y="1327"/>
                    </a:lnTo>
                    <a:lnTo>
                      <a:pt x="3003" y="1330"/>
                    </a:lnTo>
                    <a:lnTo>
                      <a:pt x="2980" y="1332"/>
                    </a:lnTo>
                    <a:lnTo>
                      <a:pt x="2953" y="1332"/>
                    </a:lnTo>
                    <a:lnTo>
                      <a:pt x="2925" y="1335"/>
                    </a:lnTo>
                    <a:lnTo>
                      <a:pt x="2898" y="1338"/>
                    </a:lnTo>
                    <a:lnTo>
                      <a:pt x="2875" y="1341"/>
                    </a:lnTo>
                    <a:lnTo>
                      <a:pt x="2848" y="1344"/>
                    </a:lnTo>
                    <a:lnTo>
                      <a:pt x="2820" y="1347"/>
                    </a:lnTo>
                    <a:lnTo>
                      <a:pt x="2793" y="1350"/>
                    </a:lnTo>
                    <a:lnTo>
                      <a:pt x="2765" y="1350"/>
                    </a:lnTo>
                    <a:lnTo>
                      <a:pt x="2733" y="1352"/>
                    </a:lnTo>
                    <a:lnTo>
                      <a:pt x="2706" y="1355"/>
                    </a:lnTo>
                    <a:lnTo>
                      <a:pt x="2679" y="1361"/>
                    </a:lnTo>
                    <a:lnTo>
                      <a:pt x="2651" y="1361"/>
                    </a:lnTo>
                    <a:lnTo>
                      <a:pt x="2619" y="1364"/>
                    </a:lnTo>
                    <a:lnTo>
                      <a:pt x="2587" y="1367"/>
                    </a:lnTo>
                    <a:lnTo>
                      <a:pt x="2560" y="1369"/>
                    </a:lnTo>
                    <a:lnTo>
                      <a:pt x="2528" y="1372"/>
                    </a:lnTo>
                    <a:lnTo>
                      <a:pt x="2500" y="1372"/>
                    </a:lnTo>
                    <a:lnTo>
                      <a:pt x="2468" y="1375"/>
                    </a:lnTo>
                    <a:lnTo>
                      <a:pt x="2436" y="1378"/>
                    </a:lnTo>
                    <a:lnTo>
                      <a:pt x="2404" y="1378"/>
                    </a:lnTo>
                    <a:lnTo>
                      <a:pt x="2377" y="1381"/>
                    </a:lnTo>
                    <a:lnTo>
                      <a:pt x="2345" y="1384"/>
                    </a:lnTo>
                    <a:lnTo>
                      <a:pt x="2313" y="1387"/>
                    </a:lnTo>
                    <a:lnTo>
                      <a:pt x="2281" y="1387"/>
                    </a:lnTo>
                    <a:lnTo>
                      <a:pt x="2254" y="1389"/>
                    </a:lnTo>
                    <a:lnTo>
                      <a:pt x="2217" y="1392"/>
                    </a:lnTo>
                    <a:lnTo>
                      <a:pt x="2190" y="1392"/>
                    </a:lnTo>
                    <a:lnTo>
                      <a:pt x="2153" y="1395"/>
                    </a:lnTo>
                    <a:lnTo>
                      <a:pt x="2126" y="1398"/>
                    </a:lnTo>
                    <a:lnTo>
                      <a:pt x="2094" y="1398"/>
                    </a:lnTo>
                    <a:lnTo>
                      <a:pt x="2066" y="1398"/>
                    </a:lnTo>
                    <a:lnTo>
                      <a:pt x="2034" y="1398"/>
                    </a:lnTo>
                    <a:lnTo>
                      <a:pt x="1998" y="1398"/>
                    </a:lnTo>
                    <a:lnTo>
                      <a:pt x="1966" y="1398"/>
                    </a:lnTo>
                    <a:lnTo>
                      <a:pt x="1929" y="1401"/>
                    </a:lnTo>
                    <a:lnTo>
                      <a:pt x="1897" y="1401"/>
                    </a:lnTo>
                    <a:lnTo>
                      <a:pt x="1860" y="1401"/>
                    </a:lnTo>
                    <a:lnTo>
                      <a:pt x="1829" y="1401"/>
                    </a:lnTo>
                    <a:lnTo>
                      <a:pt x="1792" y="1401"/>
                    </a:lnTo>
                    <a:lnTo>
                      <a:pt x="1755" y="1398"/>
                    </a:lnTo>
                    <a:lnTo>
                      <a:pt x="1723" y="1398"/>
                    </a:lnTo>
                    <a:lnTo>
                      <a:pt x="1682" y="1398"/>
                    </a:lnTo>
                    <a:lnTo>
                      <a:pt x="1646" y="1398"/>
                    </a:lnTo>
                    <a:lnTo>
                      <a:pt x="1609" y="1398"/>
                    </a:lnTo>
                    <a:lnTo>
                      <a:pt x="1573" y="1395"/>
                    </a:lnTo>
                    <a:lnTo>
                      <a:pt x="1536" y="1392"/>
                    </a:lnTo>
                    <a:lnTo>
                      <a:pt x="1499" y="1392"/>
                    </a:lnTo>
                    <a:lnTo>
                      <a:pt x="1458" y="1389"/>
                    </a:lnTo>
                    <a:lnTo>
                      <a:pt x="1422" y="1387"/>
                    </a:lnTo>
                    <a:lnTo>
                      <a:pt x="1385" y="1387"/>
                    </a:lnTo>
                    <a:lnTo>
                      <a:pt x="1344" y="1381"/>
                    </a:lnTo>
                    <a:lnTo>
                      <a:pt x="1308" y="1378"/>
                    </a:lnTo>
                    <a:lnTo>
                      <a:pt x="1271" y="1378"/>
                    </a:lnTo>
                    <a:lnTo>
                      <a:pt x="1234" y="1375"/>
                    </a:lnTo>
                    <a:lnTo>
                      <a:pt x="1198" y="1372"/>
                    </a:lnTo>
                    <a:lnTo>
                      <a:pt x="1161" y="1369"/>
                    </a:lnTo>
                    <a:lnTo>
                      <a:pt x="1125" y="1367"/>
                    </a:lnTo>
                    <a:lnTo>
                      <a:pt x="1088" y="1364"/>
                    </a:lnTo>
                    <a:lnTo>
                      <a:pt x="1052" y="1361"/>
                    </a:lnTo>
                    <a:lnTo>
                      <a:pt x="1020" y="1358"/>
                    </a:lnTo>
                    <a:lnTo>
                      <a:pt x="983" y="1355"/>
                    </a:lnTo>
                    <a:lnTo>
                      <a:pt x="946" y="1352"/>
                    </a:lnTo>
                    <a:lnTo>
                      <a:pt x="914" y="1350"/>
                    </a:lnTo>
                    <a:lnTo>
                      <a:pt x="878" y="1347"/>
                    </a:lnTo>
                    <a:lnTo>
                      <a:pt x="846" y="1344"/>
                    </a:lnTo>
                    <a:lnTo>
                      <a:pt x="809" y="1338"/>
                    </a:lnTo>
                    <a:lnTo>
                      <a:pt x="777" y="1335"/>
                    </a:lnTo>
                    <a:lnTo>
                      <a:pt x="745" y="1332"/>
                    </a:lnTo>
                    <a:lnTo>
                      <a:pt x="718" y="1330"/>
                    </a:lnTo>
                    <a:lnTo>
                      <a:pt x="686" y="1327"/>
                    </a:lnTo>
                    <a:lnTo>
                      <a:pt x="659" y="1324"/>
                    </a:lnTo>
                    <a:lnTo>
                      <a:pt x="627" y="1321"/>
                    </a:lnTo>
                    <a:lnTo>
                      <a:pt x="599" y="1315"/>
                    </a:lnTo>
                    <a:lnTo>
                      <a:pt x="576" y="1312"/>
                    </a:lnTo>
                    <a:lnTo>
                      <a:pt x="549" y="1310"/>
                    </a:lnTo>
                    <a:lnTo>
                      <a:pt x="521" y="1307"/>
                    </a:lnTo>
                    <a:lnTo>
                      <a:pt x="499" y="1304"/>
                    </a:lnTo>
                    <a:lnTo>
                      <a:pt x="476" y="1304"/>
                    </a:lnTo>
                    <a:lnTo>
                      <a:pt x="453" y="1301"/>
                    </a:lnTo>
                    <a:lnTo>
                      <a:pt x="430" y="1298"/>
                    </a:lnTo>
                    <a:lnTo>
                      <a:pt x="412" y="1295"/>
                    </a:lnTo>
                    <a:lnTo>
                      <a:pt x="393" y="1293"/>
                    </a:lnTo>
                    <a:lnTo>
                      <a:pt x="380" y="1293"/>
                    </a:lnTo>
                    <a:lnTo>
                      <a:pt x="361" y="1290"/>
                    </a:lnTo>
                    <a:lnTo>
                      <a:pt x="343" y="1287"/>
                    </a:lnTo>
                    <a:lnTo>
                      <a:pt x="330" y="1284"/>
                    </a:lnTo>
                    <a:lnTo>
                      <a:pt x="320" y="1284"/>
                    </a:lnTo>
                    <a:lnTo>
                      <a:pt x="307" y="1281"/>
                    </a:lnTo>
                    <a:lnTo>
                      <a:pt x="298" y="1281"/>
                    </a:lnTo>
                    <a:lnTo>
                      <a:pt x="288" y="1281"/>
                    </a:lnTo>
                    <a:lnTo>
                      <a:pt x="279" y="1281"/>
                    </a:lnTo>
                    <a:lnTo>
                      <a:pt x="275" y="1281"/>
                    </a:lnTo>
                    <a:lnTo>
                      <a:pt x="270" y="1281"/>
                    </a:lnTo>
                    <a:lnTo>
                      <a:pt x="311" y="91"/>
                    </a:lnTo>
                    <a:lnTo>
                      <a:pt x="133" y="85"/>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55" name="Freeform 69"/>
              <p:cNvSpPr>
                <a:spLocks/>
              </p:cNvSpPr>
              <p:nvPr>
                <p:custDataLst>
                  <p:tags r:id="rId98"/>
                </p:custDataLst>
              </p:nvPr>
            </p:nvSpPr>
            <p:spPr bwMode="gray">
              <a:xfrm>
                <a:off x="2572" y="1972"/>
                <a:ext cx="800" cy="748"/>
              </a:xfrm>
              <a:custGeom>
                <a:avLst/>
                <a:gdLst>
                  <a:gd name="T0" fmla="*/ 0 w 781"/>
                  <a:gd name="T1" fmla="*/ 266 h 820"/>
                  <a:gd name="T2" fmla="*/ 0 w 781"/>
                  <a:gd name="T3" fmla="*/ 258 h 820"/>
                  <a:gd name="T4" fmla="*/ 5 w 781"/>
                  <a:gd name="T5" fmla="*/ 248 h 820"/>
                  <a:gd name="T6" fmla="*/ 5 w 781"/>
                  <a:gd name="T7" fmla="*/ 236 h 820"/>
                  <a:gd name="T8" fmla="*/ 5 w 781"/>
                  <a:gd name="T9" fmla="*/ 224 h 820"/>
                  <a:gd name="T10" fmla="*/ 5 w 781"/>
                  <a:gd name="T11" fmla="*/ 213 h 820"/>
                  <a:gd name="T12" fmla="*/ 5 w 781"/>
                  <a:gd name="T13" fmla="*/ 198 h 820"/>
                  <a:gd name="T14" fmla="*/ 9 w 781"/>
                  <a:gd name="T15" fmla="*/ 184 h 820"/>
                  <a:gd name="T16" fmla="*/ 9 w 781"/>
                  <a:gd name="T17" fmla="*/ 169 h 820"/>
                  <a:gd name="T18" fmla="*/ 9 w 781"/>
                  <a:gd name="T19" fmla="*/ 154 h 820"/>
                  <a:gd name="T20" fmla="*/ 18 w 781"/>
                  <a:gd name="T21" fmla="*/ 139 h 820"/>
                  <a:gd name="T22" fmla="*/ 18 w 781"/>
                  <a:gd name="T23" fmla="*/ 123 h 820"/>
                  <a:gd name="T24" fmla="*/ 44 w 781"/>
                  <a:gd name="T25" fmla="*/ 109 h 820"/>
                  <a:gd name="T26" fmla="*/ 49 w 781"/>
                  <a:gd name="T27" fmla="*/ 95 h 820"/>
                  <a:gd name="T28" fmla="*/ 62 w 781"/>
                  <a:gd name="T29" fmla="*/ 81 h 820"/>
                  <a:gd name="T30" fmla="*/ 88 w 781"/>
                  <a:gd name="T31" fmla="*/ 68 h 820"/>
                  <a:gd name="T32" fmla="*/ 97 w 781"/>
                  <a:gd name="T33" fmla="*/ 57 h 820"/>
                  <a:gd name="T34" fmla="*/ 121 w 781"/>
                  <a:gd name="T35" fmla="*/ 46 h 820"/>
                  <a:gd name="T36" fmla="*/ 152 w 781"/>
                  <a:gd name="T37" fmla="*/ 36 h 820"/>
                  <a:gd name="T38" fmla="*/ 182 w 781"/>
                  <a:gd name="T39" fmla="*/ 27 h 820"/>
                  <a:gd name="T40" fmla="*/ 220 w 781"/>
                  <a:gd name="T41" fmla="*/ 20 h 820"/>
                  <a:gd name="T42" fmla="*/ 273 w 781"/>
                  <a:gd name="T43" fmla="*/ 14 h 820"/>
                  <a:gd name="T44" fmla="*/ 353 w 781"/>
                  <a:gd name="T45" fmla="*/ 5 h 820"/>
                  <a:gd name="T46" fmla="*/ 389 w 781"/>
                  <a:gd name="T47" fmla="*/ 5 h 820"/>
                  <a:gd name="T48" fmla="*/ 432 w 781"/>
                  <a:gd name="T49" fmla="*/ 5 h 820"/>
                  <a:gd name="T50" fmla="*/ 489 w 781"/>
                  <a:gd name="T51" fmla="*/ 0 h 820"/>
                  <a:gd name="T52" fmla="*/ 543 w 781"/>
                  <a:gd name="T53" fmla="*/ 3 h 820"/>
                  <a:gd name="T54" fmla="*/ 591 w 781"/>
                  <a:gd name="T55" fmla="*/ 5 h 820"/>
                  <a:gd name="T56" fmla="*/ 671 w 781"/>
                  <a:gd name="T57" fmla="*/ 6 h 820"/>
                  <a:gd name="T58" fmla="*/ 738 w 781"/>
                  <a:gd name="T59" fmla="*/ 13 h 820"/>
                  <a:gd name="T60" fmla="*/ 805 w 781"/>
                  <a:gd name="T61" fmla="*/ 20 h 820"/>
                  <a:gd name="T62" fmla="*/ 873 w 781"/>
                  <a:gd name="T63" fmla="*/ 28 h 820"/>
                  <a:gd name="T64" fmla="*/ 920 w 781"/>
                  <a:gd name="T65" fmla="*/ 39 h 820"/>
                  <a:gd name="T66" fmla="*/ 958 w 781"/>
                  <a:gd name="T67" fmla="*/ 52 h 820"/>
                  <a:gd name="T68" fmla="*/ 977 w 781"/>
                  <a:gd name="T69" fmla="*/ 58 h 820"/>
                  <a:gd name="T70" fmla="*/ 986 w 781"/>
                  <a:gd name="T71" fmla="*/ 67 h 820"/>
                  <a:gd name="T72" fmla="*/ 993 w 781"/>
                  <a:gd name="T73" fmla="*/ 75 h 820"/>
                  <a:gd name="T74" fmla="*/ 1006 w 781"/>
                  <a:gd name="T75" fmla="*/ 84 h 820"/>
                  <a:gd name="T76" fmla="*/ 1011 w 781"/>
                  <a:gd name="T77" fmla="*/ 98 h 820"/>
                  <a:gd name="T78" fmla="*/ 1017 w 781"/>
                  <a:gd name="T79" fmla="*/ 109 h 820"/>
                  <a:gd name="T80" fmla="*/ 1026 w 781"/>
                  <a:gd name="T81" fmla="*/ 120 h 820"/>
                  <a:gd name="T82" fmla="*/ 1030 w 781"/>
                  <a:gd name="T83" fmla="*/ 134 h 820"/>
                  <a:gd name="T84" fmla="*/ 1036 w 781"/>
                  <a:gd name="T85" fmla="*/ 147 h 820"/>
                  <a:gd name="T86" fmla="*/ 1036 w 781"/>
                  <a:gd name="T87" fmla="*/ 161 h 820"/>
                  <a:gd name="T88" fmla="*/ 1041 w 781"/>
                  <a:gd name="T89" fmla="*/ 174 h 820"/>
                  <a:gd name="T90" fmla="*/ 1041 w 781"/>
                  <a:gd name="T91" fmla="*/ 186 h 820"/>
                  <a:gd name="T92" fmla="*/ 1041 w 781"/>
                  <a:gd name="T93" fmla="*/ 200 h 820"/>
                  <a:gd name="T94" fmla="*/ 1041 w 781"/>
                  <a:gd name="T95" fmla="*/ 212 h 820"/>
                  <a:gd name="T96" fmla="*/ 1041 w 781"/>
                  <a:gd name="T97" fmla="*/ 221 h 820"/>
                  <a:gd name="T98" fmla="*/ 1041 w 781"/>
                  <a:gd name="T99" fmla="*/ 233 h 820"/>
                  <a:gd name="T100" fmla="*/ 1041 w 781"/>
                  <a:gd name="T101" fmla="*/ 241 h 820"/>
                  <a:gd name="T102" fmla="*/ 1041 w 781"/>
                  <a:gd name="T103" fmla="*/ 248 h 820"/>
                  <a:gd name="T104" fmla="*/ 1041 w 781"/>
                  <a:gd name="T105" fmla="*/ 255 h 820"/>
                  <a:gd name="T106" fmla="*/ 1041 w 781"/>
                  <a:gd name="T107" fmla="*/ 262 h 820"/>
                  <a:gd name="T108" fmla="*/ 0 w 781"/>
                  <a:gd name="T109" fmla="*/ 272 h 8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1"/>
                  <a:gd name="T166" fmla="*/ 0 h 820"/>
                  <a:gd name="T167" fmla="*/ 781 w 781"/>
                  <a:gd name="T168" fmla="*/ 820 h 8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1" h="820">
                    <a:moveTo>
                      <a:pt x="0" y="820"/>
                    </a:moveTo>
                    <a:lnTo>
                      <a:pt x="0" y="812"/>
                    </a:lnTo>
                    <a:lnTo>
                      <a:pt x="0" y="806"/>
                    </a:lnTo>
                    <a:lnTo>
                      <a:pt x="0" y="797"/>
                    </a:lnTo>
                    <a:lnTo>
                      <a:pt x="0" y="786"/>
                    </a:lnTo>
                    <a:lnTo>
                      <a:pt x="0" y="777"/>
                    </a:lnTo>
                    <a:lnTo>
                      <a:pt x="0" y="766"/>
                    </a:lnTo>
                    <a:lnTo>
                      <a:pt x="0" y="757"/>
                    </a:lnTo>
                    <a:lnTo>
                      <a:pt x="5" y="749"/>
                    </a:lnTo>
                    <a:lnTo>
                      <a:pt x="5" y="738"/>
                    </a:lnTo>
                    <a:lnTo>
                      <a:pt x="5" y="726"/>
                    </a:lnTo>
                    <a:lnTo>
                      <a:pt x="5" y="712"/>
                    </a:lnTo>
                    <a:lnTo>
                      <a:pt x="5" y="700"/>
                    </a:lnTo>
                    <a:lnTo>
                      <a:pt x="5" y="689"/>
                    </a:lnTo>
                    <a:lnTo>
                      <a:pt x="5" y="675"/>
                    </a:lnTo>
                    <a:lnTo>
                      <a:pt x="5" y="663"/>
                    </a:lnTo>
                    <a:lnTo>
                      <a:pt x="5" y="649"/>
                    </a:lnTo>
                    <a:lnTo>
                      <a:pt x="5" y="638"/>
                    </a:lnTo>
                    <a:lnTo>
                      <a:pt x="5" y="624"/>
                    </a:lnTo>
                    <a:lnTo>
                      <a:pt x="5" y="609"/>
                    </a:lnTo>
                    <a:lnTo>
                      <a:pt x="5" y="595"/>
                    </a:lnTo>
                    <a:lnTo>
                      <a:pt x="5" y="578"/>
                    </a:lnTo>
                    <a:lnTo>
                      <a:pt x="9" y="564"/>
                    </a:lnTo>
                    <a:lnTo>
                      <a:pt x="9" y="552"/>
                    </a:lnTo>
                    <a:lnTo>
                      <a:pt x="9" y="538"/>
                    </a:lnTo>
                    <a:lnTo>
                      <a:pt x="9" y="521"/>
                    </a:lnTo>
                    <a:lnTo>
                      <a:pt x="9" y="510"/>
                    </a:lnTo>
                    <a:lnTo>
                      <a:pt x="9" y="493"/>
                    </a:lnTo>
                    <a:lnTo>
                      <a:pt x="9" y="478"/>
                    </a:lnTo>
                    <a:lnTo>
                      <a:pt x="9" y="464"/>
                    </a:lnTo>
                    <a:lnTo>
                      <a:pt x="14" y="450"/>
                    </a:lnTo>
                    <a:lnTo>
                      <a:pt x="14" y="433"/>
                    </a:lnTo>
                    <a:lnTo>
                      <a:pt x="18" y="419"/>
                    </a:lnTo>
                    <a:lnTo>
                      <a:pt x="18" y="404"/>
                    </a:lnTo>
                    <a:lnTo>
                      <a:pt x="18" y="387"/>
                    </a:lnTo>
                    <a:lnTo>
                      <a:pt x="18" y="373"/>
                    </a:lnTo>
                    <a:lnTo>
                      <a:pt x="23" y="359"/>
                    </a:lnTo>
                    <a:lnTo>
                      <a:pt x="27" y="345"/>
                    </a:lnTo>
                    <a:lnTo>
                      <a:pt x="32" y="330"/>
                    </a:lnTo>
                    <a:lnTo>
                      <a:pt x="32" y="316"/>
                    </a:lnTo>
                    <a:lnTo>
                      <a:pt x="37" y="302"/>
                    </a:lnTo>
                    <a:lnTo>
                      <a:pt x="37" y="285"/>
                    </a:lnTo>
                    <a:lnTo>
                      <a:pt x="46" y="273"/>
                    </a:lnTo>
                    <a:lnTo>
                      <a:pt x="46" y="259"/>
                    </a:lnTo>
                    <a:lnTo>
                      <a:pt x="50" y="245"/>
                    </a:lnTo>
                    <a:lnTo>
                      <a:pt x="55" y="231"/>
                    </a:lnTo>
                    <a:lnTo>
                      <a:pt x="55" y="219"/>
                    </a:lnTo>
                    <a:lnTo>
                      <a:pt x="64" y="208"/>
                    </a:lnTo>
                    <a:lnTo>
                      <a:pt x="69" y="196"/>
                    </a:lnTo>
                    <a:lnTo>
                      <a:pt x="73" y="182"/>
                    </a:lnTo>
                    <a:lnTo>
                      <a:pt x="73" y="171"/>
                    </a:lnTo>
                    <a:lnTo>
                      <a:pt x="82" y="159"/>
                    </a:lnTo>
                    <a:lnTo>
                      <a:pt x="87" y="148"/>
                    </a:lnTo>
                    <a:lnTo>
                      <a:pt x="91" y="137"/>
                    </a:lnTo>
                    <a:lnTo>
                      <a:pt x="96" y="125"/>
                    </a:lnTo>
                    <a:lnTo>
                      <a:pt x="110" y="117"/>
                    </a:lnTo>
                    <a:lnTo>
                      <a:pt x="114" y="108"/>
                    </a:lnTo>
                    <a:lnTo>
                      <a:pt x="123" y="97"/>
                    </a:lnTo>
                    <a:lnTo>
                      <a:pt x="128" y="91"/>
                    </a:lnTo>
                    <a:lnTo>
                      <a:pt x="137" y="83"/>
                    </a:lnTo>
                    <a:lnTo>
                      <a:pt x="146" y="74"/>
                    </a:lnTo>
                    <a:lnTo>
                      <a:pt x="155" y="68"/>
                    </a:lnTo>
                    <a:lnTo>
                      <a:pt x="165" y="60"/>
                    </a:lnTo>
                    <a:lnTo>
                      <a:pt x="174" y="54"/>
                    </a:lnTo>
                    <a:lnTo>
                      <a:pt x="187" y="48"/>
                    </a:lnTo>
                    <a:lnTo>
                      <a:pt x="206" y="40"/>
                    </a:lnTo>
                    <a:lnTo>
                      <a:pt x="224" y="31"/>
                    </a:lnTo>
                    <a:lnTo>
                      <a:pt x="242" y="23"/>
                    </a:lnTo>
                    <a:lnTo>
                      <a:pt x="265" y="17"/>
                    </a:lnTo>
                    <a:lnTo>
                      <a:pt x="274" y="14"/>
                    </a:lnTo>
                    <a:lnTo>
                      <a:pt x="283" y="11"/>
                    </a:lnTo>
                    <a:lnTo>
                      <a:pt x="292" y="9"/>
                    </a:lnTo>
                    <a:lnTo>
                      <a:pt x="306" y="6"/>
                    </a:lnTo>
                    <a:lnTo>
                      <a:pt x="311" y="6"/>
                    </a:lnTo>
                    <a:lnTo>
                      <a:pt x="324" y="6"/>
                    </a:lnTo>
                    <a:lnTo>
                      <a:pt x="334" y="3"/>
                    </a:lnTo>
                    <a:lnTo>
                      <a:pt x="347" y="3"/>
                    </a:lnTo>
                    <a:lnTo>
                      <a:pt x="366" y="0"/>
                    </a:lnTo>
                    <a:lnTo>
                      <a:pt x="384" y="3"/>
                    </a:lnTo>
                    <a:lnTo>
                      <a:pt x="398" y="3"/>
                    </a:lnTo>
                    <a:lnTo>
                      <a:pt x="407" y="3"/>
                    </a:lnTo>
                    <a:lnTo>
                      <a:pt x="416" y="3"/>
                    </a:lnTo>
                    <a:lnTo>
                      <a:pt x="425" y="6"/>
                    </a:lnTo>
                    <a:lnTo>
                      <a:pt x="443" y="6"/>
                    </a:lnTo>
                    <a:lnTo>
                      <a:pt x="466" y="9"/>
                    </a:lnTo>
                    <a:lnTo>
                      <a:pt x="484" y="14"/>
                    </a:lnTo>
                    <a:lnTo>
                      <a:pt x="503" y="20"/>
                    </a:lnTo>
                    <a:lnTo>
                      <a:pt x="521" y="23"/>
                    </a:lnTo>
                    <a:lnTo>
                      <a:pt x="539" y="28"/>
                    </a:lnTo>
                    <a:lnTo>
                      <a:pt x="553" y="37"/>
                    </a:lnTo>
                    <a:lnTo>
                      <a:pt x="576" y="43"/>
                    </a:lnTo>
                    <a:lnTo>
                      <a:pt x="590" y="48"/>
                    </a:lnTo>
                    <a:lnTo>
                      <a:pt x="603" y="60"/>
                    </a:lnTo>
                    <a:lnTo>
                      <a:pt x="622" y="68"/>
                    </a:lnTo>
                    <a:lnTo>
                      <a:pt x="635" y="77"/>
                    </a:lnTo>
                    <a:lnTo>
                      <a:pt x="654" y="85"/>
                    </a:lnTo>
                    <a:lnTo>
                      <a:pt x="663" y="97"/>
                    </a:lnTo>
                    <a:lnTo>
                      <a:pt x="672" y="108"/>
                    </a:lnTo>
                    <a:lnTo>
                      <a:pt x="690" y="120"/>
                    </a:lnTo>
                    <a:lnTo>
                      <a:pt x="699" y="131"/>
                    </a:lnTo>
                    <a:lnTo>
                      <a:pt x="708" y="142"/>
                    </a:lnTo>
                    <a:lnTo>
                      <a:pt x="718" y="154"/>
                    </a:lnTo>
                    <a:lnTo>
                      <a:pt x="727" y="165"/>
                    </a:lnTo>
                    <a:lnTo>
                      <a:pt x="727" y="171"/>
                    </a:lnTo>
                    <a:lnTo>
                      <a:pt x="731" y="177"/>
                    </a:lnTo>
                    <a:lnTo>
                      <a:pt x="736" y="185"/>
                    </a:lnTo>
                    <a:lnTo>
                      <a:pt x="736" y="194"/>
                    </a:lnTo>
                    <a:lnTo>
                      <a:pt x="740" y="199"/>
                    </a:lnTo>
                    <a:lnTo>
                      <a:pt x="745" y="208"/>
                    </a:lnTo>
                    <a:lnTo>
                      <a:pt x="745" y="216"/>
                    </a:lnTo>
                    <a:lnTo>
                      <a:pt x="745" y="228"/>
                    </a:lnTo>
                    <a:lnTo>
                      <a:pt x="745" y="236"/>
                    </a:lnTo>
                    <a:lnTo>
                      <a:pt x="754" y="245"/>
                    </a:lnTo>
                    <a:lnTo>
                      <a:pt x="754" y="256"/>
                    </a:lnTo>
                    <a:lnTo>
                      <a:pt x="754" y="268"/>
                    </a:lnTo>
                    <a:lnTo>
                      <a:pt x="759" y="279"/>
                    </a:lnTo>
                    <a:lnTo>
                      <a:pt x="759" y="290"/>
                    </a:lnTo>
                    <a:lnTo>
                      <a:pt x="759" y="302"/>
                    </a:lnTo>
                    <a:lnTo>
                      <a:pt x="763" y="313"/>
                    </a:lnTo>
                    <a:lnTo>
                      <a:pt x="763" y="327"/>
                    </a:lnTo>
                    <a:lnTo>
                      <a:pt x="763" y="336"/>
                    </a:lnTo>
                    <a:lnTo>
                      <a:pt x="763" y="347"/>
                    </a:lnTo>
                    <a:lnTo>
                      <a:pt x="768" y="362"/>
                    </a:lnTo>
                    <a:lnTo>
                      <a:pt x="768" y="379"/>
                    </a:lnTo>
                    <a:lnTo>
                      <a:pt x="772" y="390"/>
                    </a:lnTo>
                    <a:lnTo>
                      <a:pt x="772" y="401"/>
                    </a:lnTo>
                    <a:lnTo>
                      <a:pt x="777" y="416"/>
                    </a:lnTo>
                    <a:lnTo>
                      <a:pt x="777" y="430"/>
                    </a:lnTo>
                    <a:lnTo>
                      <a:pt x="777" y="444"/>
                    </a:lnTo>
                    <a:lnTo>
                      <a:pt x="777" y="456"/>
                    </a:lnTo>
                    <a:lnTo>
                      <a:pt x="777" y="470"/>
                    </a:lnTo>
                    <a:lnTo>
                      <a:pt x="777" y="484"/>
                    </a:lnTo>
                    <a:lnTo>
                      <a:pt x="777" y="498"/>
                    </a:lnTo>
                    <a:lnTo>
                      <a:pt x="777" y="510"/>
                    </a:lnTo>
                    <a:lnTo>
                      <a:pt x="781" y="524"/>
                    </a:lnTo>
                    <a:lnTo>
                      <a:pt x="781" y="538"/>
                    </a:lnTo>
                    <a:lnTo>
                      <a:pt x="781" y="552"/>
                    </a:lnTo>
                    <a:lnTo>
                      <a:pt x="781" y="561"/>
                    </a:lnTo>
                    <a:lnTo>
                      <a:pt x="781" y="575"/>
                    </a:lnTo>
                    <a:lnTo>
                      <a:pt x="781" y="587"/>
                    </a:lnTo>
                    <a:lnTo>
                      <a:pt x="781" y="601"/>
                    </a:lnTo>
                    <a:lnTo>
                      <a:pt x="781" y="612"/>
                    </a:lnTo>
                    <a:lnTo>
                      <a:pt x="781" y="626"/>
                    </a:lnTo>
                    <a:lnTo>
                      <a:pt x="781" y="635"/>
                    </a:lnTo>
                    <a:lnTo>
                      <a:pt x="781" y="649"/>
                    </a:lnTo>
                    <a:lnTo>
                      <a:pt x="781" y="658"/>
                    </a:lnTo>
                    <a:lnTo>
                      <a:pt x="781" y="669"/>
                    </a:lnTo>
                    <a:lnTo>
                      <a:pt x="781" y="681"/>
                    </a:lnTo>
                    <a:lnTo>
                      <a:pt x="781" y="692"/>
                    </a:lnTo>
                    <a:lnTo>
                      <a:pt x="781" y="700"/>
                    </a:lnTo>
                    <a:lnTo>
                      <a:pt x="781" y="712"/>
                    </a:lnTo>
                    <a:lnTo>
                      <a:pt x="781" y="720"/>
                    </a:lnTo>
                    <a:lnTo>
                      <a:pt x="781" y="726"/>
                    </a:lnTo>
                    <a:lnTo>
                      <a:pt x="781" y="735"/>
                    </a:lnTo>
                    <a:lnTo>
                      <a:pt x="781" y="743"/>
                    </a:lnTo>
                    <a:lnTo>
                      <a:pt x="781" y="749"/>
                    </a:lnTo>
                    <a:lnTo>
                      <a:pt x="781" y="757"/>
                    </a:lnTo>
                    <a:lnTo>
                      <a:pt x="781" y="763"/>
                    </a:lnTo>
                    <a:lnTo>
                      <a:pt x="781" y="769"/>
                    </a:lnTo>
                    <a:lnTo>
                      <a:pt x="781" y="777"/>
                    </a:lnTo>
                    <a:lnTo>
                      <a:pt x="781" y="786"/>
                    </a:lnTo>
                    <a:lnTo>
                      <a:pt x="781" y="789"/>
                    </a:lnTo>
                    <a:lnTo>
                      <a:pt x="781" y="792"/>
                    </a:lnTo>
                    <a:lnTo>
                      <a:pt x="0" y="82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56" name="Freeform 70"/>
              <p:cNvSpPr>
                <a:spLocks/>
              </p:cNvSpPr>
              <p:nvPr>
                <p:custDataLst>
                  <p:tags r:id="rId99"/>
                </p:custDataLst>
              </p:nvPr>
            </p:nvSpPr>
            <p:spPr bwMode="gray">
              <a:xfrm>
                <a:off x="1134" y="2045"/>
                <a:ext cx="1339" cy="362"/>
              </a:xfrm>
              <a:custGeom>
                <a:avLst/>
                <a:gdLst>
                  <a:gd name="T0" fmla="*/ 62 w 1307"/>
                  <a:gd name="T1" fmla="*/ 5 h 396"/>
                  <a:gd name="T2" fmla="*/ 147 w 1307"/>
                  <a:gd name="T3" fmla="*/ 5 h 396"/>
                  <a:gd name="T4" fmla="*/ 232 w 1307"/>
                  <a:gd name="T5" fmla="*/ 10 h 396"/>
                  <a:gd name="T6" fmla="*/ 318 w 1307"/>
                  <a:gd name="T7" fmla="*/ 14 h 396"/>
                  <a:gd name="T8" fmla="*/ 421 w 1307"/>
                  <a:gd name="T9" fmla="*/ 15 h 396"/>
                  <a:gd name="T10" fmla="*/ 526 w 1307"/>
                  <a:gd name="T11" fmla="*/ 18 h 396"/>
                  <a:gd name="T12" fmla="*/ 630 w 1307"/>
                  <a:gd name="T13" fmla="*/ 22 h 396"/>
                  <a:gd name="T14" fmla="*/ 740 w 1307"/>
                  <a:gd name="T15" fmla="*/ 24 h 396"/>
                  <a:gd name="T16" fmla="*/ 849 w 1307"/>
                  <a:gd name="T17" fmla="*/ 26 h 396"/>
                  <a:gd name="T18" fmla="*/ 953 w 1307"/>
                  <a:gd name="T19" fmla="*/ 26 h 396"/>
                  <a:gd name="T20" fmla="*/ 1061 w 1307"/>
                  <a:gd name="T21" fmla="*/ 28 h 396"/>
                  <a:gd name="T22" fmla="*/ 1167 w 1307"/>
                  <a:gd name="T23" fmla="*/ 28 h 396"/>
                  <a:gd name="T24" fmla="*/ 1265 w 1307"/>
                  <a:gd name="T25" fmla="*/ 28 h 396"/>
                  <a:gd name="T26" fmla="*/ 1356 w 1307"/>
                  <a:gd name="T27" fmla="*/ 31 h 396"/>
                  <a:gd name="T28" fmla="*/ 1442 w 1307"/>
                  <a:gd name="T29" fmla="*/ 32 h 396"/>
                  <a:gd name="T30" fmla="*/ 1514 w 1307"/>
                  <a:gd name="T31" fmla="*/ 32 h 396"/>
                  <a:gd name="T32" fmla="*/ 1583 w 1307"/>
                  <a:gd name="T33" fmla="*/ 32 h 396"/>
                  <a:gd name="T34" fmla="*/ 1643 w 1307"/>
                  <a:gd name="T35" fmla="*/ 32 h 396"/>
                  <a:gd name="T36" fmla="*/ 1694 w 1307"/>
                  <a:gd name="T37" fmla="*/ 34 h 396"/>
                  <a:gd name="T38" fmla="*/ 1742 w 1307"/>
                  <a:gd name="T39" fmla="*/ 34 h 396"/>
                  <a:gd name="T40" fmla="*/ 1723 w 1307"/>
                  <a:gd name="T41" fmla="*/ 134 h 396"/>
                  <a:gd name="T42" fmla="*/ 1680 w 1307"/>
                  <a:gd name="T43" fmla="*/ 134 h 396"/>
                  <a:gd name="T44" fmla="*/ 1637 w 1307"/>
                  <a:gd name="T45" fmla="*/ 134 h 396"/>
                  <a:gd name="T46" fmla="*/ 1583 w 1307"/>
                  <a:gd name="T47" fmla="*/ 134 h 396"/>
                  <a:gd name="T48" fmla="*/ 1514 w 1307"/>
                  <a:gd name="T49" fmla="*/ 134 h 396"/>
                  <a:gd name="T50" fmla="*/ 1435 w 1307"/>
                  <a:gd name="T51" fmla="*/ 134 h 396"/>
                  <a:gd name="T52" fmla="*/ 1394 w 1307"/>
                  <a:gd name="T53" fmla="*/ 134 h 396"/>
                  <a:gd name="T54" fmla="*/ 1351 w 1307"/>
                  <a:gd name="T55" fmla="*/ 134 h 396"/>
                  <a:gd name="T56" fmla="*/ 1296 w 1307"/>
                  <a:gd name="T57" fmla="*/ 133 h 396"/>
                  <a:gd name="T58" fmla="*/ 1246 w 1307"/>
                  <a:gd name="T59" fmla="*/ 133 h 396"/>
                  <a:gd name="T60" fmla="*/ 1190 w 1307"/>
                  <a:gd name="T61" fmla="*/ 133 h 396"/>
                  <a:gd name="T62" fmla="*/ 1130 w 1307"/>
                  <a:gd name="T63" fmla="*/ 133 h 396"/>
                  <a:gd name="T64" fmla="*/ 1075 w 1307"/>
                  <a:gd name="T65" fmla="*/ 133 h 396"/>
                  <a:gd name="T66" fmla="*/ 1015 w 1307"/>
                  <a:gd name="T67" fmla="*/ 131 h 396"/>
                  <a:gd name="T68" fmla="*/ 948 w 1307"/>
                  <a:gd name="T69" fmla="*/ 130 h 396"/>
                  <a:gd name="T70" fmla="*/ 881 w 1307"/>
                  <a:gd name="T71" fmla="*/ 128 h 396"/>
                  <a:gd name="T72" fmla="*/ 813 w 1307"/>
                  <a:gd name="T73" fmla="*/ 126 h 396"/>
                  <a:gd name="T74" fmla="*/ 746 w 1307"/>
                  <a:gd name="T75" fmla="*/ 126 h 396"/>
                  <a:gd name="T76" fmla="*/ 677 w 1307"/>
                  <a:gd name="T77" fmla="*/ 123 h 396"/>
                  <a:gd name="T78" fmla="*/ 611 w 1307"/>
                  <a:gd name="T79" fmla="*/ 122 h 396"/>
                  <a:gd name="T80" fmla="*/ 544 w 1307"/>
                  <a:gd name="T81" fmla="*/ 122 h 396"/>
                  <a:gd name="T82" fmla="*/ 489 w 1307"/>
                  <a:gd name="T83" fmla="*/ 121 h 396"/>
                  <a:gd name="T84" fmla="*/ 421 w 1307"/>
                  <a:gd name="T85" fmla="*/ 120 h 396"/>
                  <a:gd name="T86" fmla="*/ 367 w 1307"/>
                  <a:gd name="T87" fmla="*/ 117 h 396"/>
                  <a:gd name="T88" fmla="*/ 311 w 1307"/>
                  <a:gd name="T89" fmla="*/ 116 h 396"/>
                  <a:gd name="T90" fmla="*/ 257 w 1307"/>
                  <a:gd name="T91" fmla="*/ 115 h 396"/>
                  <a:gd name="T92" fmla="*/ 214 w 1307"/>
                  <a:gd name="T93" fmla="*/ 112 h 396"/>
                  <a:gd name="T94" fmla="*/ 164 w 1307"/>
                  <a:gd name="T95" fmla="*/ 112 h 396"/>
                  <a:gd name="T96" fmla="*/ 107 w 1307"/>
                  <a:gd name="T97" fmla="*/ 112 h 396"/>
                  <a:gd name="T98" fmla="*/ 49 w 1307"/>
                  <a:gd name="T99" fmla="*/ 110 h 396"/>
                  <a:gd name="T100" fmla="*/ 5 w 1307"/>
                  <a:gd name="T101" fmla="*/ 109 h 396"/>
                  <a:gd name="T102" fmla="*/ 18 w 1307"/>
                  <a:gd name="T103" fmla="*/ 0 h 3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7"/>
                  <a:gd name="T157" fmla="*/ 0 h 396"/>
                  <a:gd name="T158" fmla="*/ 1307 w 1307"/>
                  <a:gd name="T159" fmla="*/ 396 h 3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7" h="396">
                    <a:moveTo>
                      <a:pt x="18" y="0"/>
                    </a:moveTo>
                    <a:lnTo>
                      <a:pt x="32" y="3"/>
                    </a:lnTo>
                    <a:lnTo>
                      <a:pt x="50" y="5"/>
                    </a:lnTo>
                    <a:lnTo>
                      <a:pt x="69" y="11"/>
                    </a:lnTo>
                    <a:lnTo>
                      <a:pt x="91" y="14"/>
                    </a:lnTo>
                    <a:lnTo>
                      <a:pt x="110" y="17"/>
                    </a:lnTo>
                    <a:lnTo>
                      <a:pt x="128" y="22"/>
                    </a:lnTo>
                    <a:lnTo>
                      <a:pt x="151" y="25"/>
                    </a:lnTo>
                    <a:lnTo>
                      <a:pt x="174" y="28"/>
                    </a:lnTo>
                    <a:lnTo>
                      <a:pt x="196" y="31"/>
                    </a:lnTo>
                    <a:lnTo>
                      <a:pt x="219" y="34"/>
                    </a:lnTo>
                    <a:lnTo>
                      <a:pt x="238" y="40"/>
                    </a:lnTo>
                    <a:lnTo>
                      <a:pt x="270" y="40"/>
                    </a:lnTo>
                    <a:lnTo>
                      <a:pt x="288" y="42"/>
                    </a:lnTo>
                    <a:lnTo>
                      <a:pt x="315" y="45"/>
                    </a:lnTo>
                    <a:lnTo>
                      <a:pt x="338" y="51"/>
                    </a:lnTo>
                    <a:lnTo>
                      <a:pt x="366" y="51"/>
                    </a:lnTo>
                    <a:lnTo>
                      <a:pt x="393" y="54"/>
                    </a:lnTo>
                    <a:lnTo>
                      <a:pt x="420" y="57"/>
                    </a:lnTo>
                    <a:lnTo>
                      <a:pt x="443" y="60"/>
                    </a:lnTo>
                    <a:lnTo>
                      <a:pt x="471" y="62"/>
                    </a:lnTo>
                    <a:lnTo>
                      <a:pt x="498" y="62"/>
                    </a:lnTo>
                    <a:lnTo>
                      <a:pt x="526" y="65"/>
                    </a:lnTo>
                    <a:lnTo>
                      <a:pt x="553" y="68"/>
                    </a:lnTo>
                    <a:lnTo>
                      <a:pt x="580" y="71"/>
                    </a:lnTo>
                    <a:lnTo>
                      <a:pt x="608" y="71"/>
                    </a:lnTo>
                    <a:lnTo>
                      <a:pt x="635" y="74"/>
                    </a:lnTo>
                    <a:lnTo>
                      <a:pt x="658" y="74"/>
                    </a:lnTo>
                    <a:lnTo>
                      <a:pt x="685" y="74"/>
                    </a:lnTo>
                    <a:lnTo>
                      <a:pt x="713" y="77"/>
                    </a:lnTo>
                    <a:lnTo>
                      <a:pt x="740" y="79"/>
                    </a:lnTo>
                    <a:lnTo>
                      <a:pt x="768" y="79"/>
                    </a:lnTo>
                    <a:lnTo>
                      <a:pt x="795" y="82"/>
                    </a:lnTo>
                    <a:lnTo>
                      <a:pt x="823" y="82"/>
                    </a:lnTo>
                    <a:lnTo>
                      <a:pt x="845" y="85"/>
                    </a:lnTo>
                    <a:lnTo>
                      <a:pt x="873" y="85"/>
                    </a:lnTo>
                    <a:lnTo>
                      <a:pt x="896" y="85"/>
                    </a:lnTo>
                    <a:lnTo>
                      <a:pt x="919" y="85"/>
                    </a:lnTo>
                    <a:lnTo>
                      <a:pt x="946" y="85"/>
                    </a:lnTo>
                    <a:lnTo>
                      <a:pt x="969" y="88"/>
                    </a:lnTo>
                    <a:lnTo>
                      <a:pt x="992" y="91"/>
                    </a:lnTo>
                    <a:lnTo>
                      <a:pt x="1015" y="91"/>
                    </a:lnTo>
                    <a:lnTo>
                      <a:pt x="1037" y="91"/>
                    </a:lnTo>
                    <a:lnTo>
                      <a:pt x="1056" y="91"/>
                    </a:lnTo>
                    <a:lnTo>
                      <a:pt x="1079" y="94"/>
                    </a:lnTo>
                    <a:lnTo>
                      <a:pt x="1097" y="94"/>
                    </a:lnTo>
                    <a:lnTo>
                      <a:pt x="1115" y="94"/>
                    </a:lnTo>
                    <a:lnTo>
                      <a:pt x="1133" y="94"/>
                    </a:lnTo>
                    <a:lnTo>
                      <a:pt x="1156" y="94"/>
                    </a:lnTo>
                    <a:lnTo>
                      <a:pt x="1165" y="94"/>
                    </a:lnTo>
                    <a:lnTo>
                      <a:pt x="1184" y="94"/>
                    </a:lnTo>
                    <a:lnTo>
                      <a:pt x="1202" y="94"/>
                    </a:lnTo>
                    <a:lnTo>
                      <a:pt x="1216" y="94"/>
                    </a:lnTo>
                    <a:lnTo>
                      <a:pt x="1229" y="94"/>
                    </a:lnTo>
                    <a:lnTo>
                      <a:pt x="1243" y="94"/>
                    </a:lnTo>
                    <a:lnTo>
                      <a:pt x="1252" y="94"/>
                    </a:lnTo>
                    <a:lnTo>
                      <a:pt x="1266" y="97"/>
                    </a:lnTo>
                    <a:lnTo>
                      <a:pt x="1280" y="97"/>
                    </a:lnTo>
                    <a:lnTo>
                      <a:pt x="1298" y="97"/>
                    </a:lnTo>
                    <a:lnTo>
                      <a:pt x="1302" y="97"/>
                    </a:lnTo>
                    <a:lnTo>
                      <a:pt x="1307" y="97"/>
                    </a:lnTo>
                    <a:lnTo>
                      <a:pt x="1293" y="396"/>
                    </a:lnTo>
                    <a:lnTo>
                      <a:pt x="1289" y="396"/>
                    </a:lnTo>
                    <a:lnTo>
                      <a:pt x="1284" y="396"/>
                    </a:lnTo>
                    <a:lnTo>
                      <a:pt x="1270" y="396"/>
                    </a:lnTo>
                    <a:lnTo>
                      <a:pt x="1257" y="396"/>
                    </a:lnTo>
                    <a:lnTo>
                      <a:pt x="1248" y="396"/>
                    </a:lnTo>
                    <a:lnTo>
                      <a:pt x="1234" y="396"/>
                    </a:lnTo>
                    <a:lnTo>
                      <a:pt x="1225" y="396"/>
                    </a:lnTo>
                    <a:lnTo>
                      <a:pt x="1216" y="396"/>
                    </a:lnTo>
                    <a:lnTo>
                      <a:pt x="1197" y="396"/>
                    </a:lnTo>
                    <a:lnTo>
                      <a:pt x="1184" y="396"/>
                    </a:lnTo>
                    <a:lnTo>
                      <a:pt x="1165" y="396"/>
                    </a:lnTo>
                    <a:lnTo>
                      <a:pt x="1156" y="396"/>
                    </a:lnTo>
                    <a:lnTo>
                      <a:pt x="1133" y="396"/>
                    </a:lnTo>
                    <a:lnTo>
                      <a:pt x="1115" y="396"/>
                    </a:lnTo>
                    <a:lnTo>
                      <a:pt x="1097" y="396"/>
                    </a:lnTo>
                    <a:lnTo>
                      <a:pt x="1074" y="396"/>
                    </a:lnTo>
                    <a:lnTo>
                      <a:pt x="1065" y="396"/>
                    </a:lnTo>
                    <a:lnTo>
                      <a:pt x="1056" y="396"/>
                    </a:lnTo>
                    <a:lnTo>
                      <a:pt x="1042" y="396"/>
                    </a:lnTo>
                    <a:lnTo>
                      <a:pt x="1033" y="396"/>
                    </a:lnTo>
                    <a:lnTo>
                      <a:pt x="1019" y="396"/>
                    </a:lnTo>
                    <a:lnTo>
                      <a:pt x="1010" y="396"/>
                    </a:lnTo>
                    <a:lnTo>
                      <a:pt x="996" y="396"/>
                    </a:lnTo>
                    <a:lnTo>
                      <a:pt x="987" y="396"/>
                    </a:lnTo>
                    <a:lnTo>
                      <a:pt x="969" y="393"/>
                    </a:lnTo>
                    <a:lnTo>
                      <a:pt x="960" y="393"/>
                    </a:lnTo>
                    <a:lnTo>
                      <a:pt x="946" y="393"/>
                    </a:lnTo>
                    <a:lnTo>
                      <a:pt x="932" y="393"/>
                    </a:lnTo>
                    <a:lnTo>
                      <a:pt x="919" y="390"/>
                    </a:lnTo>
                    <a:lnTo>
                      <a:pt x="905" y="390"/>
                    </a:lnTo>
                    <a:lnTo>
                      <a:pt x="891" y="387"/>
                    </a:lnTo>
                    <a:lnTo>
                      <a:pt x="877" y="387"/>
                    </a:lnTo>
                    <a:lnTo>
                      <a:pt x="864" y="387"/>
                    </a:lnTo>
                    <a:lnTo>
                      <a:pt x="845" y="387"/>
                    </a:lnTo>
                    <a:lnTo>
                      <a:pt x="836" y="387"/>
                    </a:lnTo>
                    <a:lnTo>
                      <a:pt x="823" y="387"/>
                    </a:lnTo>
                    <a:lnTo>
                      <a:pt x="804" y="387"/>
                    </a:lnTo>
                    <a:lnTo>
                      <a:pt x="786" y="387"/>
                    </a:lnTo>
                    <a:lnTo>
                      <a:pt x="772" y="384"/>
                    </a:lnTo>
                    <a:lnTo>
                      <a:pt x="759" y="384"/>
                    </a:lnTo>
                    <a:lnTo>
                      <a:pt x="740" y="381"/>
                    </a:lnTo>
                    <a:lnTo>
                      <a:pt x="722" y="381"/>
                    </a:lnTo>
                    <a:lnTo>
                      <a:pt x="708" y="381"/>
                    </a:lnTo>
                    <a:lnTo>
                      <a:pt x="695" y="378"/>
                    </a:lnTo>
                    <a:lnTo>
                      <a:pt x="676" y="376"/>
                    </a:lnTo>
                    <a:lnTo>
                      <a:pt x="658" y="376"/>
                    </a:lnTo>
                    <a:lnTo>
                      <a:pt x="640" y="376"/>
                    </a:lnTo>
                    <a:lnTo>
                      <a:pt x="622" y="376"/>
                    </a:lnTo>
                    <a:lnTo>
                      <a:pt x="608" y="370"/>
                    </a:lnTo>
                    <a:lnTo>
                      <a:pt x="590" y="370"/>
                    </a:lnTo>
                    <a:lnTo>
                      <a:pt x="571" y="370"/>
                    </a:lnTo>
                    <a:lnTo>
                      <a:pt x="558" y="370"/>
                    </a:lnTo>
                    <a:lnTo>
                      <a:pt x="539" y="367"/>
                    </a:lnTo>
                    <a:lnTo>
                      <a:pt x="526" y="367"/>
                    </a:lnTo>
                    <a:lnTo>
                      <a:pt x="507" y="364"/>
                    </a:lnTo>
                    <a:lnTo>
                      <a:pt x="489" y="364"/>
                    </a:lnTo>
                    <a:lnTo>
                      <a:pt x="475" y="361"/>
                    </a:lnTo>
                    <a:lnTo>
                      <a:pt x="457" y="359"/>
                    </a:lnTo>
                    <a:lnTo>
                      <a:pt x="439" y="359"/>
                    </a:lnTo>
                    <a:lnTo>
                      <a:pt x="425" y="359"/>
                    </a:lnTo>
                    <a:lnTo>
                      <a:pt x="407" y="356"/>
                    </a:lnTo>
                    <a:lnTo>
                      <a:pt x="393" y="356"/>
                    </a:lnTo>
                    <a:lnTo>
                      <a:pt x="379" y="353"/>
                    </a:lnTo>
                    <a:lnTo>
                      <a:pt x="366" y="353"/>
                    </a:lnTo>
                    <a:lnTo>
                      <a:pt x="347" y="353"/>
                    </a:lnTo>
                    <a:lnTo>
                      <a:pt x="334" y="350"/>
                    </a:lnTo>
                    <a:lnTo>
                      <a:pt x="315" y="350"/>
                    </a:lnTo>
                    <a:lnTo>
                      <a:pt x="302" y="347"/>
                    </a:lnTo>
                    <a:lnTo>
                      <a:pt x="288" y="344"/>
                    </a:lnTo>
                    <a:lnTo>
                      <a:pt x="274" y="344"/>
                    </a:lnTo>
                    <a:lnTo>
                      <a:pt x="256" y="341"/>
                    </a:lnTo>
                    <a:lnTo>
                      <a:pt x="247" y="341"/>
                    </a:lnTo>
                    <a:lnTo>
                      <a:pt x="233" y="341"/>
                    </a:lnTo>
                    <a:lnTo>
                      <a:pt x="219" y="339"/>
                    </a:lnTo>
                    <a:lnTo>
                      <a:pt x="201" y="339"/>
                    </a:lnTo>
                    <a:lnTo>
                      <a:pt x="192" y="339"/>
                    </a:lnTo>
                    <a:lnTo>
                      <a:pt x="183" y="336"/>
                    </a:lnTo>
                    <a:lnTo>
                      <a:pt x="169" y="336"/>
                    </a:lnTo>
                    <a:lnTo>
                      <a:pt x="160" y="333"/>
                    </a:lnTo>
                    <a:lnTo>
                      <a:pt x="146" y="333"/>
                    </a:lnTo>
                    <a:lnTo>
                      <a:pt x="133" y="330"/>
                    </a:lnTo>
                    <a:lnTo>
                      <a:pt x="123" y="330"/>
                    </a:lnTo>
                    <a:lnTo>
                      <a:pt x="114" y="327"/>
                    </a:lnTo>
                    <a:lnTo>
                      <a:pt x="101" y="327"/>
                    </a:lnTo>
                    <a:lnTo>
                      <a:pt x="82" y="327"/>
                    </a:lnTo>
                    <a:lnTo>
                      <a:pt x="69" y="324"/>
                    </a:lnTo>
                    <a:lnTo>
                      <a:pt x="50" y="321"/>
                    </a:lnTo>
                    <a:lnTo>
                      <a:pt x="37" y="321"/>
                    </a:lnTo>
                    <a:lnTo>
                      <a:pt x="23" y="319"/>
                    </a:lnTo>
                    <a:lnTo>
                      <a:pt x="18" y="319"/>
                    </a:lnTo>
                    <a:lnTo>
                      <a:pt x="5" y="319"/>
                    </a:lnTo>
                    <a:lnTo>
                      <a:pt x="0" y="319"/>
                    </a:lnTo>
                    <a:lnTo>
                      <a:pt x="1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57" name="Freeform 71"/>
              <p:cNvSpPr>
                <a:spLocks/>
              </p:cNvSpPr>
              <p:nvPr>
                <p:custDataLst>
                  <p:tags r:id="rId100"/>
                </p:custDataLst>
              </p:nvPr>
            </p:nvSpPr>
            <p:spPr bwMode="gray">
              <a:xfrm>
                <a:off x="3527" y="2060"/>
                <a:ext cx="1022" cy="403"/>
              </a:xfrm>
              <a:custGeom>
                <a:avLst/>
                <a:gdLst>
                  <a:gd name="T0" fmla="*/ 58 w 997"/>
                  <a:gd name="T1" fmla="*/ 20 h 441"/>
                  <a:gd name="T2" fmla="*/ 148 w 997"/>
                  <a:gd name="T3" fmla="*/ 20 h 441"/>
                  <a:gd name="T4" fmla="*/ 241 w 997"/>
                  <a:gd name="T5" fmla="*/ 20 h 441"/>
                  <a:gd name="T6" fmla="*/ 327 w 997"/>
                  <a:gd name="T7" fmla="*/ 18 h 441"/>
                  <a:gd name="T8" fmla="*/ 414 w 997"/>
                  <a:gd name="T9" fmla="*/ 17 h 441"/>
                  <a:gd name="T10" fmla="*/ 492 w 997"/>
                  <a:gd name="T11" fmla="*/ 16 h 441"/>
                  <a:gd name="T12" fmla="*/ 579 w 997"/>
                  <a:gd name="T13" fmla="*/ 15 h 441"/>
                  <a:gd name="T14" fmla="*/ 652 w 997"/>
                  <a:gd name="T15" fmla="*/ 15 h 441"/>
                  <a:gd name="T16" fmla="*/ 732 w 997"/>
                  <a:gd name="T17" fmla="*/ 13 h 441"/>
                  <a:gd name="T18" fmla="*/ 806 w 997"/>
                  <a:gd name="T19" fmla="*/ 12 h 441"/>
                  <a:gd name="T20" fmla="*/ 873 w 997"/>
                  <a:gd name="T21" fmla="*/ 11 h 441"/>
                  <a:gd name="T22" fmla="*/ 935 w 997"/>
                  <a:gd name="T23" fmla="*/ 9 h 441"/>
                  <a:gd name="T24" fmla="*/ 989 w 997"/>
                  <a:gd name="T25" fmla="*/ 8 h 441"/>
                  <a:gd name="T26" fmla="*/ 1045 w 997"/>
                  <a:gd name="T27" fmla="*/ 5 h 441"/>
                  <a:gd name="T28" fmla="*/ 1096 w 997"/>
                  <a:gd name="T29" fmla="*/ 5 h 441"/>
                  <a:gd name="T30" fmla="*/ 1139 w 997"/>
                  <a:gd name="T31" fmla="*/ 5 h 441"/>
                  <a:gd name="T32" fmla="*/ 1193 w 997"/>
                  <a:gd name="T33" fmla="*/ 5 h 441"/>
                  <a:gd name="T34" fmla="*/ 1249 w 997"/>
                  <a:gd name="T35" fmla="*/ 0 h 441"/>
                  <a:gd name="T36" fmla="*/ 1256 w 997"/>
                  <a:gd name="T37" fmla="*/ 5 h 441"/>
                  <a:gd name="T38" fmla="*/ 1268 w 997"/>
                  <a:gd name="T39" fmla="*/ 12 h 441"/>
                  <a:gd name="T40" fmla="*/ 1274 w 997"/>
                  <a:gd name="T41" fmla="*/ 16 h 441"/>
                  <a:gd name="T42" fmla="*/ 1280 w 997"/>
                  <a:gd name="T43" fmla="*/ 24 h 441"/>
                  <a:gd name="T44" fmla="*/ 1293 w 997"/>
                  <a:gd name="T45" fmla="*/ 31 h 441"/>
                  <a:gd name="T46" fmla="*/ 1298 w 997"/>
                  <a:gd name="T47" fmla="*/ 37 h 441"/>
                  <a:gd name="T48" fmla="*/ 1298 w 997"/>
                  <a:gd name="T49" fmla="*/ 46 h 441"/>
                  <a:gd name="T50" fmla="*/ 1311 w 997"/>
                  <a:gd name="T51" fmla="*/ 54 h 441"/>
                  <a:gd name="T52" fmla="*/ 1316 w 997"/>
                  <a:gd name="T53" fmla="*/ 64 h 441"/>
                  <a:gd name="T54" fmla="*/ 1324 w 997"/>
                  <a:gd name="T55" fmla="*/ 70 h 441"/>
                  <a:gd name="T56" fmla="*/ 1328 w 997"/>
                  <a:gd name="T57" fmla="*/ 80 h 441"/>
                  <a:gd name="T58" fmla="*/ 1342 w 997"/>
                  <a:gd name="T59" fmla="*/ 88 h 441"/>
                  <a:gd name="T60" fmla="*/ 1342 w 997"/>
                  <a:gd name="T61" fmla="*/ 95 h 441"/>
                  <a:gd name="T62" fmla="*/ 1342 w 997"/>
                  <a:gd name="T63" fmla="*/ 101 h 441"/>
                  <a:gd name="T64" fmla="*/ 1342 w 997"/>
                  <a:gd name="T65" fmla="*/ 111 h 441"/>
                  <a:gd name="T66" fmla="*/ 1336 w 997"/>
                  <a:gd name="T67" fmla="*/ 119 h 441"/>
                  <a:gd name="T68" fmla="*/ 1316 w 997"/>
                  <a:gd name="T69" fmla="*/ 121 h 441"/>
                  <a:gd name="T70" fmla="*/ 1256 w 997"/>
                  <a:gd name="T71" fmla="*/ 121 h 441"/>
                  <a:gd name="T72" fmla="*/ 1214 w 997"/>
                  <a:gd name="T73" fmla="*/ 122 h 441"/>
                  <a:gd name="T74" fmla="*/ 1163 w 997"/>
                  <a:gd name="T75" fmla="*/ 122 h 441"/>
                  <a:gd name="T76" fmla="*/ 1102 w 997"/>
                  <a:gd name="T77" fmla="*/ 123 h 441"/>
                  <a:gd name="T78" fmla="*/ 1039 w 997"/>
                  <a:gd name="T79" fmla="*/ 125 h 441"/>
                  <a:gd name="T80" fmla="*/ 974 w 997"/>
                  <a:gd name="T81" fmla="*/ 127 h 441"/>
                  <a:gd name="T82" fmla="*/ 899 w 997"/>
                  <a:gd name="T83" fmla="*/ 129 h 441"/>
                  <a:gd name="T84" fmla="*/ 819 w 997"/>
                  <a:gd name="T85" fmla="*/ 132 h 441"/>
                  <a:gd name="T86" fmla="*/ 739 w 997"/>
                  <a:gd name="T87" fmla="*/ 133 h 441"/>
                  <a:gd name="T88" fmla="*/ 652 w 997"/>
                  <a:gd name="T89" fmla="*/ 135 h 441"/>
                  <a:gd name="T90" fmla="*/ 579 w 997"/>
                  <a:gd name="T91" fmla="*/ 137 h 441"/>
                  <a:gd name="T92" fmla="*/ 492 w 997"/>
                  <a:gd name="T93" fmla="*/ 140 h 441"/>
                  <a:gd name="T94" fmla="*/ 419 w 997"/>
                  <a:gd name="T95" fmla="*/ 141 h 441"/>
                  <a:gd name="T96" fmla="*/ 344 w 997"/>
                  <a:gd name="T97" fmla="*/ 143 h 441"/>
                  <a:gd name="T98" fmla="*/ 277 w 997"/>
                  <a:gd name="T99" fmla="*/ 144 h 441"/>
                  <a:gd name="T100" fmla="*/ 210 w 997"/>
                  <a:gd name="T101" fmla="*/ 145 h 441"/>
                  <a:gd name="T102" fmla="*/ 160 w 997"/>
                  <a:gd name="T103" fmla="*/ 146 h 441"/>
                  <a:gd name="T104" fmla="*/ 103 w 997"/>
                  <a:gd name="T105" fmla="*/ 148 h 441"/>
                  <a:gd name="T106" fmla="*/ 44 w 997"/>
                  <a:gd name="T107" fmla="*/ 150 h 4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97"/>
                  <a:gd name="T163" fmla="*/ 0 h 441"/>
                  <a:gd name="T164" fmla="*/ 997 w 997"/>
                  <a:gd name="T165" fmla="*/ 441 h 4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97" h="441">
                    <a:moveTo>
                      <a:pt x="0" y="57"/>
                    </a:moveTo>
                    <a:lnTo>
                      <a:pt x="23" y="57"/>
                    </a:lnTo>
                    <a:lnTo>
                      <a:pt x="46" y="57"/>
                    </a:lnTo>
                    <a:lnTo>
                      <a:pt x="69" y="57"/>
                    </a:lnTo>
                    <a:lnTo>
                      <a:pt x="87" y="57"/>
                    </a:lnTo>
                    <a:lnTo>
                      <a:pt x="110" y="57"/>
                    </a:lnTo>
                    <a:lnTo>
                      <a:pt x="137" y="57"/>
                    </a:lnTo>
                    <a:lnTo>
                      <a:pt x="156" y="57"/>
                    </a:lnTo>
                    <a:lnTo>
                      <a:pt x="179" y="57"/>
                    </a:lnTo>
                    <a:lnTo>
                      <a:pt x="201" y="57"/>
                    </a:lnTo>
                    <a:lnTo>
                      <a:pt x="224" y="54"/>
                    </a:lnTo>
                    <a:lnTo>
                      <a:pt x="243" y="54"/>
                    </a:lnTo>
                    <a:lnTo>
                      <a:pt x="265" y="54"/>
                    </a:lnTo>
                    <a:lnTo>
                      <a:pt x="288" y="51"/>
                    </a:lnTo>
                    <a:lnTo>
                      <a:pt x="307" y="51"/>
                    </a:lnTo>
                    <a:lnTo>
                      <a:pt x="325" y="51"/>
                    </a:lnTo>
                    <a:lnTo>
                      <a:pt x="348" y="51"/>
                    </a:lnTo>
                    <a:lnTo>
                      <a:pt x="366" y="48"/>
                    </a:lnTo>
                    <a:lnTo>
                      <a:pt x="389" y="48"/>
                    </a:lnTo>
                    <a:lnTo>
                      <a:pt x="412" y="45"/>
                    </a:lnTo>
                    <a:lnTo>
                      <a:pt x="430" y="45"/>
                    </a:lnTo>
                    <a:lnTo>
                      <a:pt x="448" y="45"/>
                    </a:lnTo>
                    <a:lnTo>
                      <a:pt x="466" y="45"/>
                    </a:lnTo>
                    <a:lnTo>
                      <a:pt x="485" y="43"/>
                    </a:lnTo>
                    <a:lnTo>
                      <a:pt x="508" y="43"/>
                    </a:lnTo>
                    <a:lnTo>
                      <a:pt x="521" y="40"/>
                    </a:lnTo>
                    <a:lnTo>
                      <a:pt x="544" y="37"/>
                    </a:lnTo>
                    <a:lnTo>
                      <a:pt x="562" y="37"/>
                    </a:lnTo>
                    <a:lnTo>
                      <a:pt x="581" y="34"/>
                    </a:lnTo>
                    <a:lnTo>
                      <a:pt x="599" y="34"/>
                    </a:lnTo>
                    <a:lnTo>
                      <a:pt x="613" y="34"/>
                    </a:lnTo>
                    <a:lnTo>
                      <a:pt x="631" y="31"/>
                    </a:lnTo>
                    <a:lnTo>
                      <a:pt x="649" y="31"/>
                    </a:lnTo>
                    <a:lnTo>
                      <a:pt x="668" y="28"/>
                    </a:lnTo>
                    <a:lnTo>
                      <a:pt x="677" y="28"/>
                    </a:lnTo>
                    <a:lnTo>
                      <a:pt x="695" y="25"/>
                    </a:lnTo>
                    <a:lnTo>
                      <a:pt x="709" y="23"/>
                    </a:lnTo>
                    <a:lnTo>
                      <a:pt x="722" y="23"/>
                    </a:lnTo>
                    <a:lnTo>
                      <a:pt x="736" y="23"/>
                    </a:lnTo>
                    <a:lnTo>
                      <a:pt x="750" y="20"/>
                    </a:lnTo>
                    <a:lnTo>
                      <a:pt x="768" y="20"/>
                    </a:lnTo>
                    <a:lnTo>
                      <a:pt x="777" y="17"/>
                    </a:lnTo>
                    <a:lnTo>
                      <a:pt x="791" y="14"/>
                    </a:lnTo>
                    <a:lnTo>
                      <a:pt x="800" y="14"/>
                    </a:lnTo>
                    <a:lnTo>
                      <a:pt x="814" y="14"/>
                    </a:lnTo>
                    <a:lnTo>
                      <a:pt x="823" y="11"/>
                    </a:lnTo>
                    <a:lnTo>
                      <a:pt x="832" y="11"/>
                    </a:lnTo>
                    <a:lnTo>
                      <a:pt x="846" y="11"/>
                    </a:lnTo>
                    <a:lnTo>
                      <a:pt x="855" y="11"/>
                    </a:lnTo>
                    <a:lnTo>
                      <a:pt x="869" y="8"/>
                    </a:lnTo>
                    <a:lnTo>
                      <a:pt x="887" y="5"/>
                    </a:lnTo>
                    <a:lnTo>
                      <a:pt x="901" y="3"/>
                    </a:lnTo>
                    <a:lnTo>
                      <a:pt x="910" y="3"/>
                    </a:lnTo>
                    <a:lnTo>
                      <a:pt x="928" y="0"/>
                    </a:lnTo>
                    <a:lnTo>
                      <a:pt x="933" y="0"/>
                    </a:lnTo>
                    <a:lnTo>
                      <a:pt x="933" y="5"/>
                    </a:lnTo>
                    <a:lnTo>
                      <a:pt x="933" y="8"/>
                    </a:lnTo>
                    <a:lnTo>
                      <a:pt x="937" y="14"/>
                    </a:lnTo>
                    <a:lnTo>
                      <a:pt x="937" y="23"/>
                    </a:lnTo>
                    <a:lnTo>
                      <a:pt x="942" y="34"/>
                    </a:lnTo>
                    <a:lnTo>
                      <a:pt x="942" y="37"/>
                    </a:lnTo>
                    <a:lnTo>
                      <a:pt x="942" y="43"/>
                    </a:lnTo>
                    <a:lnTo>
                      <a:pt x="946" y="48"/>
                    </a:lnTo>
                    <a:lnTo>
                      <a:pt x="946" y="57"/>
                    </a:lnTo>
                    <a:lnTo>
                      <a:pt x="946" y="62"/>
                    </a:lnTo>
                    <a:lnTo>
                      <a:pt x="951" y="68"/>
                    </a:lnTo>
                    <a:lnTo>
                      <a:pt x="951" y="77"/>
                    </a:lnTo>
                    <a:lnTo>
                      <a:pt x="955" y="82"/>
                    </a:lnTo>
                    <a:lnTo>
                      <a:pt x="960" y="91"/>
                    </a:lnTo>
                    <a:lnTo>
                      <a:pt x="960" y="97"/>
                    </a:lnTo>
                    <a:lnTo>
                      <a:pt x="960" y="105"/>
                    </a:lnTo>
                    <a:lnTo>
                      <a:pt x="965" y="111"/>
                    </a:lnTo>
                    <a:lnTo>
                      <a:pt x="965" y="119"/>
                    </a:lnTo>
                    <a:lnTo>
                      <a:pt x="965" y="128"/>
                    </a:lnTo>
                    <a:lnTo>
                      <a:pt x="965" y="136"/>
                    </a:lnTo>
                    <a:lnTo>
                      <a:pt x="969" y="145"/>
                    </a:lnTo>
                    <a:lnTo>
                      <a:pt x="969" y="154"/>
                    </a:lnTo>
                    <a:lnTo>
                      <a:pt x="974" y="162"/>
                    </a:lnTo>
                    <a:lnTo>
                      <a:pt x="978" y="171"/>
                    </a:lnTo>
                    <a:lnTo>
                      <a:pt x="978" y="179"/>
                    </a:lnTo>
                    <a:lnTo>
                      <a:pt x="978" y="188"/>
                    </a:lnTo>
                    <a:lnTo>
                      <a:pt x="978" y="196"/>
                    </a:lnTo>
                    <a:lnTo>
                      <a:pt x="983" y="202"/>
                    </a:lnTo>
                    <a:lnTo>
                      <a:pt x="983" y="211"/>
                    </a:lnTo>
                    <a:lnTo>
                      <a:pt x="983" y="219"/>
                    </a:lnTo>
                    <a:lnTo>
                      <a:pt x="987" y="228"/>
                    </a:lnTo>
                    <a:lnTo>
                      <a:pt x="987" y="236"/>
                    </a:lnTo>
                    <a:lnTo>
                      <a:pt x="992" y="245"/>
                    </a:lnTo>
                    <a:lnTo>
                      <a:pt x="992" y="250"/>
                    </a:lnTo>
                    <a:lnTo>
                      <a:pt x="997" y="259"/>
                    </a:lnTo>
                    <a:lnTo>
                      <a:pt x="997" y="265"/>
                    </a:lnTo>
                    <a:lnTo>
                      <a:pt x="997" y="273"/>
                    </a:lnTo>
                    <a:lnTo>
                      <a:pt x="997" y="282"/>
                    </a:lnTo>
                    <a:lnTo>
                      <a:pt x="997" y="287"/>
                    </a:lnTo>
                    <a:lnTo>
                      <a:pt x="997" y="293"/>
                    </a:lnTo>
                    <a:lnTo>
                      <a:pt x="997" y="302"/>
                    </a:lnTo>
                    <a:lnTo>
                      <a:pt x="997" y="310"/>
                    </a:lnTo>
                    <a:lnTo>
                      <a:pt x="997" y="322"/>
                    </a:lnTo>
                    <a:lnTo>
                      <a:pt x="997" y="330"/>
                    </a:lnTo>
                    <a:lnTo>
                      <a:pt x="997" y="339"/>
                    </a:lnTo>
                    <a:lnTo>
                      <a:pt x="997" y="344"/>
                    </a:lnTo>
                    <a:lnTo>
                      <a:pt x="992" y="350"/>
                    </a:lnTo>
                    <a:lnTo>
                      <a:pt x="987" y="353"/>
                    </a:lnTo>
                    <a:lnTo>
                      <a:pt x="978" y="353"/>
                    </a:lnTo>
                    <a:lnTo>
                      <a:pt x="965" y="353"/>
                    </a:lnTo>
                    <a:lnTo>
                      <a:pt x="951" y="353"/>
                    </a:lnTo>
                    <a:lnTo>
                      <a:pt x="933" y="356"/>
                    </a:lnTo>
                    <a:lnTo>
                      <a:pt x="923" y="356"/>
                    </a:lnTo>
                    <a:lnTo>
                      <a:pt x="910" y="356"/>
                    </a:lnTo>
                    <a:lnTo>
                      <a:pt x="901" y="359"/>
                    </a:lnTo>
                    <a:lnTo>
                      <a:pt x="891" y="359"/>
                    </a:lnTo>
                    <a:lnTo>
                      <a:pt x="878" y="359"/>
                    </a:lnTo>
                    <a:lnTo>
                      <a:pt x="864" y="361"/>
                    </a:lnTo>
                    <a:lnTo>
                      <a:pt x="850" y="361"/>
                    </a:lnTo>
                    <a:lnTo>
                      <a:pt x="837" y="364"/>
                    </a:lnTo>
                    <a:lnTo>
                      <a:pt x="818" y="364"/>
                    </a:lnTo>
                    <a:lnTo>
                      <a:pt x="805" y="367"/>
                    </a:lnTo>
                    <a:lnTo>
                      <a:pt x="791" y="367"/>
                    </a:lnTo>
                    <a:lnTo>
                      <a:pt x="773" y="370"/>
                    </a:lnTo>
                    <a:lnTo>
                      <a:pt x="754" y="370"/>
                    </a:lnTo>
                    <a:lnTo>
                      <a:pt x="736" y="373"/>
                    </a:lnTo>
                    <a:lnTo>
                      <a:pt x="722" y="376"/>
                    </a:lnTo>
                    <a:lnTo>
                      <a:pt x="704" y="379"/>
                    </a:lnTo>
                    <a:lnTo>
                      <a:pt x="681" y="379"/>
                    </a:lnTo>
                    <a:lnTo>
                      <a:pt x="668" y="379"/>
                    </a:lnTo>
                    <a:lnTo>
                      <a:pt x="645" y="381"/>
                    </a:lnTo>
                    <a:lnTo>
                      <a:pt x="626" y="384"/>
                    </a:lnTo>
                    <a:lnTo>
                      <a:pt x="608" y="387"/>
                    </a:lnTo>
                    <a:lnTo>
                      <a:pt x="590" y="390"/>
                    </a:lnTo>
                    <a:lnTo>
                      <a:pt x="567" y="390"/>
                    </a:lnTo>
                    <a:lnTo>
                      <a:pt x="549" y="393"/>
                    </a:lnTo>
                    <a:lnTo>
                      <a:pt x="526" y="396"/>
                    </a:lnTo>
                    <a:lnTo>
                      <a:pt x="508" y="398"/>
                    </a:lnTo>
                    <a:lnTo>
                      <a:pt x="485" y="398"/>
                    </a:lnTo>
                    <a:lnTo>
                      <a:pt x="466" y="401"/>
                    </a:lnTo>
                    <a:lnTo>
                      <a:pt x="448" y="401"/>
                    </a:lnTo>
                    <a:lnTo>
                      <a:pt x="430" y="404"/>
                    </a:lnTo>
                    <a:lnTo>
                      <a:pt x="412" y="407"/>
                    </a:lnTo>
                    <a:lnTo>
                      <a:pt x="389" y="410"/>
                    </a:lnTo>
                    <a:lnTo>
                      <a:pt x="366" y="413"/>
                    </a:lnTo>
                    <a:lnTo>
                      <a:pt x="348" y="413"/>
                    </a:lnTo>
                    <a:lnTo>
                      <a:pt x="329" y="413"/>
                    </a:lnTo>
                    <a:lnTo>
                      <a:pt x="311" y="416"/>
                    </a:lnTo>
                    <a:lnTo>
                      <a:pt x="293" y="418"/>
                    </a:lnTo>
                    <a:lnTo>
                      <a:pt x="275" y="418"/>
                    </a:lnTo>
                    <a:lnTo>
                      <a:pt x="256" y="421"/>
                    </a:lnTo>
                    <a:lnTo>
                      <a:pt x="243" y="424"/>
                    </a:lnTo>
                    <a:lnTo>
                      <a:pt x="224" y="424"/>
                    </a:lnTo>
                    <a:lnTo>
                      <a:pt x="206" y="424"/>
                    </a:lnTo>
                    <a:lnTo>
                      <a:pt x="188" y="427"/>
                    </a:lnTo>
                    <a:lnTo>
                      <a:pt x="174" y="430"/>
                    </a:lnTo>
                    <a:lnTo>
                      <a:pt x="156" y="430"/>
                    </a:lnTo>
                    <a:lnTo>
                      <a:pt x="142" y="433"/>
                    </a:lnTo>
                    <a:lnTo>
                      <a:pt x="128" y="433"/>
                    </a:lnTo>
                    <a:lnTo>
                      <a:pt x="119" y="433"/>
                    </a:lnTo>
                    <a:lnTo>
                      <a:pt x="101" y="433"/>
                    </a:lnTo>
                    <a:lnTo>
                      <a:pt x="87" y="435"/>
                    </a:lnTo>
                    <a:lnTo>
                      <a:pt x="78" y="435"/>
                    </a:lnTo>
                    <a:lnTo>
                      <a:pt x="69" y="435"/>
                    </a:lnTo>
                    <a:lnTo>
                      <a:pt x="46" y="438"/>
                    </a:lnTo>
                    <a:lnTo>
                      <a:pt x="32" y="441"/>
                    </a:lnTo>
                    <a:lnTo>
                      <a:pt x="0" y="5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58" name="Freeform 72"/>
              <p:cNvSpPr>
                <a:spLocks/>
              </p:cNvSpPr>
              <p:nvPr>
                <p:custDataLst>
                  <p:tags r:id="rId101"/>
                </p:custDataLst>
              </p:nvPr>
            </p:nvSpPr>
            <p:spPr bwMode="gray">
              <a:xfrm>
                <a:off x="1134" y="1621"/>
                <a:ext cx="3424" cy="421"/>
              </a:xfrm>
              <a:custGeom>
                <a:avLst/>
                <a:gdLst>
                  <a:gd name="T0" fmla="*/ 0 w 3341"/>
                  <a:gd name="T1" fmla="*/ 22 h 461"/>
                  <a:gd name="T2" fmla="*/ 9 w 3341"/>
                  <a:gd name="T3" fmla="*/ 38 h 461"/>
                  <a:gd name="T4" fmla="*/ 14 w 3341"/>
                  <a:gd name="T5" fmla="*/ 57 h 461"/>
                  <a:gd name="T6" fmla="*/ 18 w 3341"/>
                  <a:gd name="T7" fmla="*/ 76 h 461"/>
                  <a:gd name="T8" fmla="*/ 18 w 3341"/>
                  <a:gd name="T9" fmla="*/ 92 h 461"/>
                  <a:gd name="T10" fmla="*/ 35 w 3341"/>
                  <a:gd name="T11" fmla="*/ 111 h 461"/>
                  <a:gd name="T12" fmla="*/ 35 w 3341"/>
                  <a:gd name="T13" fmla="*/ 130 h 461"/>
                  <a:gd name="T14" fmla="*/ 102 w 3341"/>
                  <a:gd name="T15" fmla="*/ 131 h 461"/>
                  <a:gd name="T16" fmla="*/ 247 w 3341"/>
                  <a:gd name="T17" fmla="*/ 134 h 461"/>
                  <a:gd name="T18" fmla="*/ 435 w 3341"/>
                  <a:gd name="T19" fmla="*/ 137 h 461"/>
                  <a:gd name="T20" fmla="*/ 664 w 3341"/>
                  <a:gd name="T21" fmla="*/ 142 h 461"/>
                  <a:gd name="T22" fmla="*/ 896 w 3341"/>
                  <a:gd name="T23" fmla="*/ 145 h 461"/>
                  <a:gd name="T24" fmla="*/ 1122 w 3341"/>
                  <a:gd name="T25" fmla="*/ 149 h 461"/>
                  <a:gd name="T26" fmla="*/ 1325 w 3341"/>
                  <a:gd name="T27" fmla="*/ 150 h 461"/>
                  <a:gd name="T28" fmla="*/ 1484 w 3341"/>
                  <a:gd name="T29" fmla="*/ 152 h 461"/>
                  <a:gd name="T30" fmla="*/ 1583 w 3341"/>
                  <a:gd name="T31" fmla="*/ 152 h 461"/>
                  <a:gd name="T32" fmla="*/ 1681 w 3341"/>
                  <a:gd name="T33" fmla="*/ 152 h 461"/>
                  <a:gd name="T34" fmla="*/ 1801 w 3341"/>
                  <a:gd name="T35" fmla="*/ 153 h 461"/>
                  <a:gd name="T36" fmla="*/ 1832 w 3341"/>
                  <a:gd name="T37" fmla="*/ 142 h 461"/>
                  <a:gd name="T38" fmla="*/ 1925 w 3341"/>
                  <a:gd name="T39" fmla="*/ 125 h 461"/>
                  <a:gd name="T40" fmla="*/ 2072 w 3341"/>
                  <a:gd name="T41" fmla="*/ 111 h 461"/>
                  <a:gd name="T42" fmla="*/ 2183 w 3341"/>
                  <a:gd name="T43" fmla="*/ 102 h 461"/>
                  <a:gd name="T44" fmla="*/ 2302 w 3341"/>
                  <a:gd name="T45" fmla="*/ 97 h 461"/>
                  <a:gd name="T46" fmla="*/ 2404 w 3341"/>
                  <a:gd name="T47" fmla="*/ 94 h 461"/>
                  <a:gd name="T48" fmla="*/ 2551 w 3341"/>
                  <a:gd name="T49" fmla="*/ 94 h 461"/>
                  <a:gd name="T50" fmla="*/ 2705 w 3341"/>
                  <a:gd name="T51" fmla="*/ 101 h 461"/>
                  <a:gd name="T52" fmla="*/ 2823 w 3341"/>
                  <a:gd name="T53" fmla="*/ 111 h 461"/>
                  <a:gd name="T54" fmla="*/ 2957 w 3341"/>
                  <a:gd name="T55" fmla="*/ 128 h 461"/>
                  <a:gd name="T56" fmla="*/ 3060 w 3341"/>
                  <a:gd name="T57" fmla="*/ 148 h 461"/>
                  <a:gd name="T58" fmla="*/ 3119 w 3341"/>
                  <a:gd name="T59" fmla="*/ 156 h 461"/>
                  <a:gd name="T60" fmla="*/ 3247 w 3341"/>
                  <a:gd name="T61" fmla="*/ 152 h 461"/>
                  <a:gd name="T62" fmla="*/ 3417 w 3341"/>
                  <a:gd name="T63" fmla="*/ 150 h 461"/>
                  <a:gd name="T64" fmla="*/ 3622 w 3341"/>
                  <a:gd name="T65" fmla="*/ 145 h 461"/>
                  <a:gd name="T66" fmla="*/ 3833 w 3341"/>
                  <a:gd name="T67" fmla="*/ 142 h 461"/>
                  <a:gd name="T68" fmla="*/ 4056 w 3341"/>
                  <a:gd name="T69" fmla="*/ 138 h 461"/>
                  <a:gd name="T70" fmla="*/ 4247 w 3341"/>
                  <a:gd name="T71" fmla="*/ 136 h 461"/>
                  <a:gd name="T72" fmla="*/ 4390 w 3341"/>
                  <a:gd name="T73" fmla="*/ 134 h 461"/>
                  <a:gd name="T74" fmla="*/ 4442 w 3341"/>
                  <a:gd name="T75" fmla="*/ 0 h 461"/>
                  <a:gd name="T76" fmla="*/ 4330 w 3341"/>
                  <a:gd name="T77" fmla="*/ 5 h 461"/>
                  <a:gd name="T78" fmla="*/ 4171 w 3341"/>
                  <a:gd name="T79" fmla="*/ 6 h 461"/>
                  <a:gd name="T80" fmla="*/ 3938 w 3341"/>
                  <a:gd name="T81" fmla="*/ 13 h 461"/>
                  <a:gd name="T82" fmla="*/ 3671 w 3341"/>
                  <a:gd name="T83" fmla="*/ 20 h 461"/>
                  <a:gd name="T84" fmla="*/ 3337 w 3341"/>
                  <a:gd name="T85" fmla="*/ 26 h 461"/>
                  <a:gd name="T86" fmla="*/ 2982 w 3341"/>
                  <a:gd name="T87" fmla="*/ 32 h 461"/>
                  <a:gd name="T88" fmla="*/ 2594 w 3341"/>
                  <a:gd name="T89" fmla="*/ 36 h 461"/>
                  <a:gd name="T90" fmla="*/ 2203 w 3341"/>
                  <a:gd name="T91" fmla="*/ 39 h 461"/>
                  <a:gd name="T92" fmla="*/ 1806 w 3341"/>
                  <a:gd name="T93" fmla="*/ 39 h 461"/>
                  <a:gd name="T94" fmla="*/ 1436 w 3341"/>
                  <a:gd name="T95" fmla="*/ 37 h 461"/>
                  <a:gd name="T96" fmla="*/ 1104 w 3341"/>
                  <a:gd name="T97" fmla="*/ 33 h 461"/>
                  <a:gd name="T98" fmla="*/ 815 w 3341"/>
                  <a:gd name="T99" fmla="*/ 28 h 461"/>
                  <a:gd name="T100" fmla="*/ 564 w 3341"/>
                  <a:gd name="T101" fmla="*/ 23 h 461"/>
                  <a:gd name="T102" fmla="*/ 348 w 3341"/>
                  <a:gd name="T103" fmla="*/ 17 h 461"/>
                  <a:gd name="T104" fmla="*/ 192 w 3341"/>
                  <a:gd name="T105" fmla="*/ 12 h 461"/>
                  <a:gd name="T106" fmla="*/ 73 w 3341"/>
                  <a:gd name="T107" fmla="*/ 7 h 4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41"/>
                  <a:gd name="T163" fmla="*/ 0 h 461"/>
                  <a:gd name="T164" fmla="*/ 3341 w 3341"/>
                  <a:gd name="T165" fmla="*/ 461 h 4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41" h="461">
                    <a:moveTo>
                      <a:pt x="0" y="14"/>
                    </a:moveTo>
                    <a:lnTo>
                      <a:pt x="0" y="22"/>
                    </a:lnTo>
                    <a:lnTo>
                      <a:pt x="0" y="31"/>
                    </a:lnTo>
                    <a:lnTo>
                      <a:pt x="0" y="42"/>
                    </a:lnTo>
                    <a:lnTo>
                      <a:pt x="0" y="54"/>
                    </a:lnTo>
                    <a:lnTo>
                      <a:pt x="0" y="57"/>
                    </a:lnTo>
                    <a:lnTo>
                      <a:pt x="0" y="65"/>
                    </a:lnTo>
                    <a:lnTo>
                      <a:pt x="0" y="71"/>
                    </a:lnTo>
                    <a:lnTo>
                      <a:pt x="5" y="76"/>
                    </a:lnTo>
                    <a:lnTo>
                      <a:pt x="5" y="82"/>
                    </a:lnTo>
                    <a:lnTo>
                      <a:pt x="5" y="88"/>
                    </a:lnTo>
                    <a:lnTo>
                      <a:pt x="5" y="96"/>
                    </a:lnTo>
                    <a:lnTo>
                      <a:pt x="9" y="105"/>
                    </a:lnTo>
                    <a:lnTo>
                      <a:pt x="9" y="113"/>
                    </a:lnTo>
                    <a:lnTo>
                      <a:pt x="9" y="119"/>
                    </a:lnTo>
                    <a:lnTo>
                      <a:pt x="9" y="128"/>
                    </a:lnTo>
                    <a:lnTo>
                      <a:pt x="14" y="136"/>
                    </a:lnTo>
                    <a:lnTo>
                      <a:pt x="14" y="142"/>
                    </a:lnTo>
                    <a:lnTo>
                      <a:pt x="14" y="153"/>
                    </a:lnTo>
                    <a:lnTo>
                      <a:pt x="14" y="159"/>
                    </a:lnTo>
                    <a:lnTo>
                      <a:pt x="14" y="168"/>
                    </a:lnTo>
                    <a:lnTo>
                      <a:pt x="14" y="173"/>
                    </a:lnTo>
                    <a:lnTo>
                      <a:pt x="14" y="182"/>
                    </a:lnTo>
                    <a:lnTo>
                      <a:pt x="14" y="190"/>
                    </a:lnTo>
                    <a:lnTo>
                      <a:pt x="18" y="199"/>
                    </a:lnTo>
                    <a:lnTo>
                      <a:pt x="18" y="205"/>
                    </a:lnTo>
                    <a:lnTo>
                      <a:pt x="18" y="216"/>
                    </a:lnTo>
                    <a:lnTo>
                      <a:pt x="18" y="225"/>
                    </a:lnTo>
                    <a:lnTo>
                      <a:pt x="18" y="230"/>
                    </a:lnTo>
                    <a:lnTo>
                      <a:pt x="18" y="239"/>
                    </a:lnTo>
                    <a:lnTo>
                      <a:pt x="18" y="244"/>
                    </a:lnTo>
                    <a:lnTo>
                      <a:pt x="18" y="253"/>
                    </a:lnTo>
                    <a:lnTo>
                      <a:pt x="18" y="262"/>
                    </a:lnTo>
                    <a:lnTo>
                      <a:pt x="18" y="267"/>
                    </a:lnTo>
                    <a:lnTo>
                      <a:pt x="18" y="273"/>
                    </a:lnTo>
                    <a:lnTo>
                      <a:pt x="18" y="281"/>
                    </a:lnTo>
                    <a:lnTo>
                      <a:pt x="23" y="290"/>
                    </a:lnTo>
                    <a:lnTo>
                      <a:pt x="23" y="296"/>
                    </a:lnTo>
                    <a:lnTo>
                      <a:pt x="23" y="304"/>
                    </a:lnTo>
                    <a:lnTo>
                      <a:pt x="23" y="310"/>
                    </a:lnTo>
                    <a:lnTo>
                      <a:pt x="23" y="316"/>
                    </a:lnTo>
                    <a:lnTo>
                      <a:pt x="23" y="327"/>
                    </a:lnTo>
                    <a:lnTo>
                      <a:pt x="23" y="341"/>
                    </a:lnTo>
                    <a:lnTo>
                      <a:pt x="23" y="350"/>
                    </a:lnTo>
                    <a:lnTo>
                      <a:pt x="23" y="361"/>
                    </a:lnTo>
                    <a:lnTo>
                      <a:pt x="23" y="367"/>
                    </a:lnTo>
                    <a:lnTo>
                      <a:pt x="23" y="375"/>
                    </a:lnTo>
                    <a:lnTo>
                      <a:pt x="23" y="381"/>
                    </a:lnTo>
                    <a:lnTo>
                      <a:pt x="23" y="387"/>
                    </a:lnTo>
                    <a:lnTo>
                      <a:pt x="23" y="390"/>
                    </a:lnTo>
                    <a:lnTo>
                      <a:pt x="27" y="390"/>
                    </a:lnTo>
                    <a:lnTo>
                      <a:pt x="37" y="390"/>
                    </a:lnTo>
                    <a:lnTo>
                      <a:pt x="50" y="390"/>
                    </a:lnTo>
                    <a:lnTo>
                      <a:pt x="69" y="390"/>
                    </a:lnTo>
                    <a:lnTo>
                      <a:pt x="78" y="390"/>
                    </a:lnTo>
                    <a:lnTo>
                      <a:pt x="91" y="390"/>
                    </a:lnTo>
                    <a:lnTo>
                      <a:pt x="101" y="393"/>
                    </a:lnTo>
                    <a:lnTo>
                      <a:pt x="114" y="393"/>
                    </a:lnTo>
                    <a:lnTo>
                      <a:pt x="133" y="395"/>
                    </a:lnTo>
                    <a:lnTo>
                      <a:pt x="146" y="398"/>
                    </a:lnTo>
                    <a:lnTo>
                      <a:pt x="164" y="398"/>
                    </a:lnTo>
                    <a:lnTo>
                      <a:pt x="183" y="398"/>
                    </a:lnTo>
                    <a:lnTo>
                      <a:pt x="201" y="398"/>
                    </a:lnTo>
                    <a:lnTo>
                      <a:pt x="219" y="401"/>
                    </a:lnTo>
                    <a:lnTo>
                      <a:pt x="238" y="401"/>
                    </a:lnTo>
                    <a:lnTo>
                      <a:pt x="260" y="404"/>
                    </a:lnTo>
                    <a:lnTo>
                      <a:pt x="279" y="404"/>
                    </a:lnTo>
                    <a:lnTo>
                      <a:pt x="306" y="407"/>
                    </a:lnTo>
                    <a:lnTo>
                      <a:pt x="324" y="410"/>
                    </a:lnTo>
                    <a:lnTo>
                      <a:pt x="352" y="410"/>
                    </a:lnTo>
                    <a:lnTo>
                      <a:pt x="375" y="412"/>
                    </a:lnTo>
                    <a:lnTo>
                      <a:pt x="398" y="412"/>
                    </a:lnTo>
                    <a:lnTo>
                      <a:pt x="420" y="415"/>
                    </a:lnTo>
                    <a:lnTo>
                      <a:pt x="443" y="418"/>
                    </a:lnTo>
                    <a:lnTo>
                      <a:pt x="466" y="421"/>
                    </a:lnTo>
                    <a:lnTo>
                      <a:pt x="494" y="421"/>
                    </a:lnTo>
                    <a:lnTo>
                      <a:pt x="521" y="421"/>
                    </a:lnTo>
                    <a:lnTo>
                      <a:pt x="544" y="424"/>
                    </a:lnTo>
                    <a:lnTo>
                      <a:pt x="567" y="424"/>
                    </a:lnTo>
                    <a:lnTo>
                      <a:pt x="594" y="427"/>
                    </a:lnTo>
                    <a:lnTo>
                      <a:pt x="617" y="427"/>
                    </a:lnTo>
                    <a:lnTo>
                      <a:pt x="644" y="432"/>
                    </a:lnTo>
                    <a:lnTo>
                      <a:pt x="667" y="432"/>
                    </a:lnTo>
                    <a:lnTo>
                      <a:pt x="695" y="432"/>
                    </a:lnTo>
                    <a:lnTo>
                      <a:pt x="717" y="432"/>
                    </a:lnTo>
                    <a:lnTo>
                      <a:pt x="745" y="435"/>
                    </a:lnTo>
                    <a:lnTo>
                      <a:pt x="768" y="435"/>
                    </a:lnTo>
                    <a:lnTo>
                      <a:pt x="791" y="438"/>
                    </a:lnTo>
                    <a:lnTo>
                      <a:pt x="813" y="438"/>
                    </a:lnTo>
                    <a:lnTo>
                      <a:pt x="836" y="441"/>
                    </a:lnTo>
                    <a:lnTo>
                      <a:pt x="859" y="441"/>
                    </a:lnTo>
                    <a:lnTo>
                      <a:pt x="882" y="444"/>
                    </a:lnTo>
                    <a:lnTo>
                      <a:pt x="905" y="444"/>
                    </a:lnTo>
                    <a:lnTo>
                      <a:pt x="928" y="444"/>
                    </a:lnTo>
                    <a:lnTo>
                      <a:pt x="946" y="444"/>
                    </a:lnTo>
                    <a:lnTo>
                      <a:pt x="969" y="444"/>
                    </a:lnTo>
                    <a:lnTo>
                      <a:pt x="987" y="444"/>
                    </a:lnTo>
                    <a:lnTo>
                      <a:pt x="1005" y="447"/>
                    </a:lnTo>
                    <a:lnTo>
                      <a:pt x="1024" y="447"/>
                    </a:lnTo>
                    <a:lnTo>
                      <a:pt x="1042" y="449"/>
                    </a:lnTo>
                    <a:lnTo>
                      <a:pt x="1060" y="449"/>
                    </a:lnTo>
                    <a:lnTo>
                      <a:pt x="1074" y="452"/>
                    </a:lnTo>
                    <a:lnTo>
                      <a:pt x="1092" y="452"/>
                    </a:lnTo>
                    <a:lnTo>
                      <a:pt x="1106" y="452"/>
                    </a:lnTo>
                    <a:lnTo>
                      <a:pt x="1115" y="452"/>
                    </a:lnTo>
                    <a:lnTo>
                      <a:pt x="1129" y="452"/>
                    </a:lnTo>
                    <a:lnTo>
                      <a:pt x="1138" y="452"/>
                    </a:lnTo>
                    <a:lnTo>
                      <a:pt x="1147" y="452"/>
                    </a:lnTo>
                    <a:lnTo>
                      <a:pt x="1156" y="452"/>
                    </a:lnTo>
                    <a:lnTo>
                      <a:pt x="1165" y="452"/>
                    </a:lnTo>
                    <a:lnTo>
                      <a:pt x="1179" y="452"/>
                    </a:lnTo>
                    <a:lnTo>
                      <a:pt x="1188" y="452"/>
                    </a:lnTo>
                    <a:lnTo>
                      <a:pt x="1202" y="452"/>
                    </a:lnTo>
                    <a:lnTo>
                      <a:pt x="1211" y="452"/>
                    </a:lnTo>
                    <a:lnTo>
                      <a:pt x="1220" y="452"/>
                    </a:lnTo>
                    <a:lnTo>
                      <a:pt x="1234" y="452"/>
                    </a:lnTo>
                    <a:lnTo>
                      <a:pt x="1238" y="452"/>
                    </a:lnTo>
                    <a:lnTo>
                      <a:pt x="1252" y="452"/>
                    </a:lnTo>
                    <a:lnTo>
                      <a:pt x="1266" y="452"/>
                    </a:lnTo>
                    <a:lnTo>
                      <a:pt x="1280" y="452"/>
                    </a:lnTo>
                    <a:lnTo>
                      <a:pt x="1289" y="452"/>
                    </a:lnTo>
                    <a:lnTo>
                      <a:pt x="1302" y="452"/>
                    </a:lnTo>
                    <a:lnTo>
                      <a:pt x="1321" y="455"/>
                    </a:lnTo>
                    <a:lnTo>
                      <a:pt x="1334" y="455"/>
                    </a:lnTo>
                    <a:lnTo>
                      <a:pt x="1339" y="455"/>
                    </a:lnTo>
                    <a:lnTo>
                      <a:pt x="1344" y="458"/>
                    </a:lnTo>
                    <a:lnTo>
                      <a:pt x="1344" y="455"/>
                    </a:lnTo>
                    <a:lnTo>
                      <a:pt x="1344" y="452"/>
                    </a:lnTo>
                    <a:lnTo>
                      <a:pt x="1348" y="449"/>
                    </a:lnTo>
                    <a:lnTo>
                      <a:pt x="1353" y="444"/>
                    </a:lnTo>
                    <a:lnTo>
                      <a:pt x="1353" y="432"/>
                    </a:lnTo>
                    <a:lnTo>
                      <a:pt x="1366" y="424"/>
                    </a:lnTo>
                    <a:lnTo>
                      <a:pt x="1371" y="415"/>
                    </a:lnTo>
                    <a:lnTo>
                      <a:pt x="1389" y="404"/>
                    </a:lnTo>
                    <a:lnTo>
                      <a:pt x="1394" y="398"/>
                    </a:lnTo>
                    <a:lnTo>
                      <a:pt x="1403" y="393"/>
                    </a:lnTo>
                    <a:lnTo>
                      <a:pt x="1412" y="387"/>
                    </a:lnTo>
                    <a:lnTo>
                      <a:pt x="1421" y="381"/>
                    </a:lnTo>
                    <a:lnTo>
                      <a:pt x="1435" y="375"/>
                    </a:lnTo>
                    <a:lnTo>
                      <a:pt x="1449" y="367"/>
                    </a:lnTo>
                    <a:lnTo>
                      <a:pt x="1458" y="361"/>
                    </a:lnTo>
                    <a:lnTo>
                      <a:pt x="1476" y="356"/>
                    </a:lnTo>
                    <a:lnTo>
                      <a:pt x="1490" y="350"/>
                    </a:lnTo>
                    <a:lnTo>
                      <a:pt x="1508" y="341"/>
                    </a:lnTo>
                    <a:lnTo>
                      <a:pt x="1526" y="336"/>
                    </a:lnTo>
                    <a:lnTo>
                      <a:pt x="1545" y="327"/>
                    </a:lnTo>
                    <a:lnTo>
                      <a:pt x="1554" y="324"/>
                    </a:lnTo>
                    <a:lnTo>
                      <a:pt x="1568" y="321"/>
                    </a:lnTo>
                    <a:lnTo>
                      <a:pt x="1577" y="318"/>
                    </a:lnTo>
                    <a:lnTo>
                      <a:pt x="1590" y="316"/>
                    </a:lnTo>
                    <a:lnTo>
                      <a:pt x="1600" y="313"/>
                    </a:lnTo>
                    <a:lnTo>
                      <a:pt x="1613" y="310"/>
                    </a:lnTo>
                    <a:lnTo>
                      <a:pt x="1627" y="304"/>
                    </a:lnTo>
                    <a:lnTo>
                      <a:pt x="1641" y="304"/>
                    </a:lnTo>
                    <a:lnTo>
                      <a:pt x="1650" y="301"/>
                    </a:lnTo>
                    <a:lnTo>
                      <a:pt x="1663" y="296"/>
                    </a:lnTo>
                    <a:lnTo>
                      <a:pt x="1677" y="293"/>
                    </a:lnTo>
                    <a:lnTo>
                      <a:pt x="1686" y="293"/>
                    </a:lnTo>
                    <a:lnTo>
                      <a:pt x="1700" y="290"/>
                    </a:lnTo>
                    <a:lnTo>
                      <a:pt x="1714" y="287"/>
                    </a:lnTo>
                    <a:lnTo>
                      <a:pt x="1723" y="284"/>
                    </a:lnTo>
                    <a:lnTo>
                      <a:pt x="1732" y="284"/>
                    </a:lnTo>
                    <a:lnTo>
                      <a:pt x="1746" y="284"/>
                    </a:lnTo>
                    <a:lnTo>
                      <a:pt x="1755" y="281"/>
                    </a:lnTo>
                    <a:lnTo>
                      <a:pt x="1769" y="279"/>
                    </a:lnTo>
                    <a:lnTo>
                      <a:pt x="1782" y="279"/>
                    </a:lnTo>
                    <a:lnTo>
                      <a:pt x="1791" y="279"/>
                    </a:lnTo>
                    <a:lnTo>
                      <a:pt x="1801" y="279"/>
                    </a:lnTo>
                    <a:lnTo>
                      <a:pt x="1814" y="279"/>
                    </a:lnTo>
                    <a:lnTo>
                      <a:pt x="1823" y="279"/>
                    </a:lnTo>
                    <a:lnTo>
                      <a:pt x="1842" y="279"/>
                    </a:lnTo>
                    <a:lnTo>
                      <a:pt x="1860" y="279"/>
                    </a:lnTo>
                    <a:lnTo>
                      <a:pt x="1878" y="279"/>
                    </a:lnTo>
                    <a:lnTo>
                      <a:pt x="1901" y="281"/>
                    </a:lnTo>
                    <a:lnTo>
                      <a:pt x="1915" y="281"/>
                    </a:lnTo>
                    <a:lnTo>
                      <a:pt x="1933" y="284"/>
                    </a:lnTo>
                    <a:lnTo>
                      <a:pt x="1951" y="284"/>
                    </a:lnTo>
                    <a:lnTo>
                      <a:pt x="1970" y="290"/>
                    </a:lnTo>
                    <a:lnTo>
                      <a:pt x="1988" y="293"/>
                    </a:lnTo>
                    <a:lnTo>
                      <a:pt x="2002" y="296"/>
                    </a:lnTo>
                    <a:lnTo>
                      <a:pt x="2015" y="301"/>
                    </a:lnTo>
                    <a:lnTo>
                      <a:pt x="2034" y="304"/>
                    </a:lnTo>
                    <a:lnTo>
                      <a:pt x="2043" y="307"/>
                    </a:lnTo>
                    <a:lnTo>
                      <a:pt x="2057" y="313"/>
                    </a:lnTo>
                    <a:lnTo>
                      <a:pt x="2070" y="316"/>
                    </a:lnTo>
                    <a:lnTo>
                      <a:pt x="2084" y="321"/>
                    </a:lnTo>
                    <a:lnTo>
                      <a:pt x="2093" y="324"/>
                    </a:lnTo>
                    <a:lnTo>
                      <a:pt x="2102" y="330"/>
                    </a:lnTo>
                    <a:lnTo>
                      <a:pt x="2111" y="336"/>
                    </a:lnTo>
                    <a:lnTo>
                      <a:pt x="2125" y="338"/>
                    </a:lnTo>
                    <a:lnTo>
                      <a:pt x="2148" y="347"/>
                    </a:lnTo>
                    <a:lnTo>
                      <a:pt x="2162" y="356"/>
                    </a:lnTo>
                    <a:lnTo>
                      <a:pt x="2180" y="364"/>
                    </a:lnTo>
                    <a:lnTo>
                      <a:pt x="2189" y="373"/>
                    </a:lnTo>
                    <a:lnTo>
                      <a:pt x="2203" y="378"/>
                    </a:lnTo>
                    <a:lnTo>
                      <a:pt x="2216" y="390"/>
                    </a:lnTo>
                    <a:lnTo>
                      <a:pt x="2230" y="398"/>
                    </a:lnTo>
                    <a:lnTo>
                      <a:pt x="2239" y="404"/>
                    </a:lnTo>
                    <a:lnTo>
                      <a:pt x="2253" y="412"/>
                    </a:lnTo>
                    <a:lnTo>
                      <a:pt x="2262" y="424"/>
                    </a:lnTo>
                    <a:lnTo>
                      <a:pt x="2271" y="432"/>
                    </a:lnTo>
                    <a:lnTo>
                      <a:pt x="2280" y="438"/>
                    </a:lnTo>
                    <a:lnTo>
                      <a:pt x="2285" y="444"/>
                    </a:lnTo>
                    <a:lnTo>
                      <a:pt x="2290" y="449"/>
                    </a:lnTo>
                    <a:lnTo>
                      <a:pt x="2299" y="458"/>
                    </a:lnTo>
                    <a:lnTo>
                      <a:pt x="2299" y="461"/>
                    </a:lnTo>
                    <a:lnTo>
                      <a:pt x="2303" y="461"/>
                    </a:lnTo>
                    <a:lnTo>
                      <a:pt x="2312" y="461"/>
                    </a:lnTo>
                    <a:lnTo>
                      <a:pt x="2322" y="461"/>
                    </a:lnTo>
                    <a:lnTo>
                      <a:pt x="2340" y="458"/>
                    </a:lnTo>
                    <a:lnTo>
                      <a:pt x="2349" y="455"/>
                    </a:lnTo>
                    <a:lnTo>
                      <a:pt x="2363" y="455"/>
                    </a:lnTo>
                    <a:lnTo>
                      <a:pt x="2372" y="455"/>
                    </a:lnTo>
                    <a:lnTo>
                      <a:pt x="2386" y="455"/>
                    </a:lnTo>
                    <a:lnTo>
                      <a:pt x="2404" y="452"/>
                    </a:lnTo>
                    <a:lnTo>
                      <a:pt x="2418" y="452"/>
                    </a:lnTo>
                    <a:lnTo>
                      <a:pt x="2436" y="452"/>
                    </a:lnTo>
                    <a:lnTo>
                      <a:pt x="2454" y="452"/>
                    </a:lnTo>
                    <a:lnTo>
                      <a:pt x="2472" y="449"/>
                    </a:lnTo>
                    <a:lnTo>
                      <a:pt x="2486" y="447"/>
                    </a:lnTo>
                    <a:lnTo>
                      <a:pt x="2504" y="444"/>
                    </a:lnTo>
                    <a:lnTo>
                      <a:pt x="2523" y="444"/>
                    </a:lnTo>
                    <a:lnTo>
                      <a:pt x="2546" y="444"/>
                    </a:lnTo>
                    <a:lnTo>
                      <a:pt x="2564" y="444"/>
                    </a:lnTo>
                    <a:lnTo>
                      <a:pt x="2587" y="441"/>
                    </a:lnTo>
                    <a:lnTo>
                      <a:pt x="2610" y="441"/>
                    </a:lnTo>
                    <a:lnTo>
                      <a:pt x="2628" y="438"/>
                    </a:lnTo>
                    <a:lnTo>
                      <a:pt x="2651" y="438"/>
                    </a:lnTo>
                    <a:lnTo>
                      <a:pt x="2678" y="432"/>
                    </a:lnTo>
                    <a:lnTo>
                      <a:pt x="2696" y="432"/>
                    </a:lnTo>
                    <a:lnTo>
                      <a:pt x="2719" y="432"/>
                    </a:lnTo>
                    <a:lnTo>
                      <a:pt x="2747" y="432"/>
                    </a:lnTo>
                    <a:lnTo>
                      <a:pt x="2765" y="430"/>
                    </a:lnTo>
                    <a:lnTo>
                      <a:pt x="2792" y="430"/>
                    </a:lnTo>
                    <a:lnTo>
                      <a:pt x="2815" y="427"/>
                    </a:lnTo>
                    <a:lnTo>
                      <a:pt x="2838" y="424"/>
                    </a:lnTo>
                    <a:lnTo>
                      <a:pt x="2856" y="424"/>
                    </a:lnTo>
                    <a:lnTo>
                      <a:pt x="2884" y="421"/>
                    </a:lnTo>
                    <a:lnTo>
                      <a:pt x="2907" y="421"/>
                    </a:lnTo>
                    <a:lnTo>
                      <a:pt x="2929" y="421"/>
                    </a:lnTo>
                    <a:lnTo>
                      <a:pt x="2952" y="418"/>
                    </a:lnTo>
                    <a:lnTo>
                      <a:pt x="2980" y="415"/>
                    </a:lnTo>
                    <a:lnTo>
                      <a:pt x="2998" y="412"/>
                    </a:lnTo>
                    <a:lnTo>
                      <a:pt x="3021" y="412"/>
                    </a:lnTo>
                    <a:lnTo>
                      <a:pt x="3039" y="412"/>
                    </a:lnTo>
                    <a:lnTo>
                      <a:pt x="3062" y="410"/>
                    </a:lnTo>
                    <a:lnTo>
                      <a:pt x="3085" y="410"/>
                    </a:lnTo>
                    <a:lnTo>
                      <a:pt x="3103" y="410"/>
                    </a:lnTo>
                    <a:lnTo>
                      <a:pt x="3126" y="404"/>
                    </a:lnTo>
                    <a:lnTo>
                      <a:pt x="3144" y="404"/>
                    </a:lnTo>
                    <a:lnTo>
                      <a:pt x="3162" y="404"/>
                    </a:lnTo>
                    <a:lnTo>
                      <a:pt x="3181" y="401"/>
                    </a:lnTo>
                    <a:lnTo>
                      <a:pt x="3199" y="401"/>
                    </a:lnTo>
                    <a:lnTo>
                      <a:pt x="3213" y="401"/>
                    </a:lnTo>
                    <a:lnTo>
                      <a:pt x="3231" y="398"/>
                    </a:lnTo>
                    <a:lnTo>
                      <a:pt x="3245" y="398"/>
                    </a:lnTo>
                    <a:lnTo>
                      <a:pt x="3258" y="398"/>
                    </a:lnTo>
                    <a:lnTo>
                      <a:pt x="3272" y="398"/>
                    </a:lnTo>
                    <a:lnTo>
                      <a:pt x="3281" y="398"/>
                    </a:lnTo>
                    <a:lnTo>
                      <a:pt x="3295" y="398"/>
                    </a:lnTo>
                    <a:lnTo>
                      <a:pt x="3304" y="398"/>
                    </a:lnTo>
                    <a:lnTo>
                      <a:pt x="3313" y="398"/>
                    </a:lnTo>
                    <a:lnTo>
                      <a:pt x="3332" y="398"/>
                    </a:lnTo>
                    <a:lnTo>
                      <a:pt x="3341" y="398"/>
                    </a:lnTo>
                    <a:lnTo>
                      <a:pt x="3309" y="0"/>
                    </a:lnTo>
                    <a:lnTo>
                      <a:pt x="3304" y="0"/>
                    </a:lnTo>
                    <a:lnTo>
                      <a:pt x="3295" y="0"/>
                    </a:lnTo>
                    <a:lnTo>
                      <a:pt x="3281" y="0"/>
                    </a:lnTo>
                    <a:lnTo>
                      <a:pt x="3263" y="2"/>
                    </a:lnTo>
                    <a:lnTo>
                      <a:pt x="3254" y="2"/>
                    </a:lnTo>
                    <a:lnTo>
                      <a:pt x="3245" y="5"/>
                    </a:lnTo>
                    <a:lnTo>
                      <a:pt x="3226" y="8"/>
                    </a:lnTo>
                    <a:lnTo>
                      <a:pt x="3213" y="8"/>
                    </a:lnTo>
                    <a:lnTo>
                      <a:pt x="3199" y="11"/>
                    </a:lnTo>
                    <a:lnTo>
                      <a:pt x="3181" y="14"/>
                    </a:lnTo>
                    <a:lnTo>
                      <a:pt x="3162" y="14"/>
                    </a:lnTo>
                    <a:lnTo>
                      <a:pt x="3144" y="17"/>
                    </a:lnTo>
                    <a:lnTo>
                      <a:pt x="3126" y="19"/>
                    </a:lnTo>
                    <a:lnTo>
                      <a:pt x="3108" y="19"/>
                    </a:lnTo>
                    <a:lnTo>
                      <a:pt x="3085" y="22"/>
                    </a:lnTo>
                    <a:lnTo>
                      <a:pt x="3062" y="25"/>
                    </a:lnTo>
                    <a:lnTo>
                      <a:pt x="3039" y="25"/>
                    </a:lnTo>
                    <a:lnTo>
                      <a:pt x="3012" y="31"/>
                    </a:lnTo>
                    <a:lnTo>
                      <a:pt x="2989" y="34"/>
                    </a:lnTo>
                    <a:lnTo>
                      <a:pt x="2966" y="34"/>
                    </a:lnTo>
                    <a:lnTo>
                      <a:pt x="2934" y="37"/>
                    </a:lnTo>
                    <a:lnTo>
                      <a:pt x="2907" y="42"/>
                    </a:lnTo>
                    <a:lnTo>
                      <a:pt x="2879" y="45"/>
                    </a:lnTo>
                    <a:lnTo>
                      <a:pt x="2852" y="48"/>
                    </a:lnTo>
                    <a:lnTo>
                      <a:pt x="2820" y="48"/>
                    </a:lnTo>
                    <a:lnTo>
                      <a:pt x="2792" y="54"/>
                    </a:lnTo>
                    <a:lnTo>
                      <a:pt x="2760" y="57"/>
                    </a:lnTo>
                    <a:lnTo>
                      <a:pt x="2733" y="59"/>
                    </a:lnTo>
                    <a:lnTo>
                      <a:pt x="2696" y="62"/>
                    </a:lnTo>
                    <a:lnTo>
                      <a:pt x="2660" y="65"/>
                    </a:lnTo>
                    <a:lnTo>
                      <a:pt x="2628" y="68"/>
                    </a:lnTo>
                    <a:lnTo>
                      <a:pt x="2591" y="68"/>
                    </a:lnTo>
                    <a:lnTo>
                      <a:pt x="2559" y="71"/>
                    </a:lnTo>
                    <a:lnTo>
                      <a:pt x="2523" y="76"/>
                    </a:lnTo>
                    <a:lnTo>
                      <a:pt x="2486" y="76"/>
                    </a:lnTo>
                    <a:lnTo>
                      <a:pt x="2450" y="79"/>
                    </a:lnTo>
                    <a:lnTo>
                      <a:pt x="2413" y="79"/>
                    </a:lnTo>
                    <a:lnTo>
                      <a:pt x="2376" y="85"/>
                    </a:lnTo>
                    <a:lnTo>
                      <a:pt x="2335" y="85"/>
                    </a:lnTo>
                    <a:lnTo>
                      <a:pt x="2299" y="88"/>
                    </a:lnTo>
                    <a:lnTo>
                      <a:pt x="2258" y="88"/>
                    </a:lnTo>
                    <a:lnTo>
                      <a:pt x="2221" y="94"/>
                    </a:lnTo>
                    <a:lnTo>
                      <a:pt x="2180" y="96"/>
                    </a:lnTo>
                    <a:lnTo>
                      <a:pt x="2143" y="99"/>
                    </a:lnTo>
                    <a:lnTo>
                      <a:pt x="2098" y="99"/>
                    </a:lnTo>
                    <a:lnTo>
                      <a:pt x="2057" y="102"/>
                    </a:lnTo>
                    <a:lnTo>
                      <a:pt x="2015" y="102"/>
                    </a:lnTo>
                    <a:lnTo>
                      <a:pt x="1979" y="105"/>
                    </a:lnTo>
                    <a:lnTo>
                      <a:pt x="1933" y="108"/>
                    </a:lnTo>
                    <a:lnTo>
                      <a:pt x="1892" y="111"/>
                    </a:lnTo>
                    <a:lnTo>
                      <a:pt x="1855" y="111"/>
                    </a:lnTo>
                    <a:lnTo>
                      <a:pt x="1810" y="113"/>
                    </a:lnTo>
                    <a:lnTo>
                      <a:pt x="1769" y="113"/>
                    </a:lnTo>
                    <a:lnTo>
                      <a:pt x="1723" y="113"/>
                    </a:lnTo>
                    <a:lnTo>
                      <a:pt x="1682" y="113"/>
                    </a:lnTo>
                    <a:lnTo>
                      <a:pt x="1641" y="116"/>
                    </a:lnTo>
                    <a:lnTo>
                      <a:pt x="1595" y="116"/>
                    </a:lnTo>
                    <a:lnTo>
                      <a:pt x="1558" y="119"/>
                    </a:lnTo>
                    <a:lnTo>
                      <a:pt x="1513" y="119"/>
                    </a:lnTo>
                    <a:lnTo>
                      <a:pt x="1472" y="119"/>
                    </a:lnTo>
                    <a:lnTo>
                      <a:pt x="1426" y="119"/>
                    </a:lnTo>
                    <a:lnTo>
                      <a:pt x="1389" y="119"/>
                    </a:lnTo>
                    <a:lnTo>
                      <a:pt x="1344" y="116"/>
                    </a:lnTo>
                    <a:lnTo>
                      <a:pt x="1302" y="116"/>
                    </a:lnTo>
                    <a:lnTo>
                      <a:pt x="1266" y="113"/>
                    </a:lnTo>
                    <a:lnTo>
                      <a:pt x="1225" y="113"/>
                    </a:lnTo>
                    <a:lnTo>
                      <a:pt x="1184" y="113"/>
                    </a:lnTo>
                    <a:lnTo>
                      <a:pt x="1147" y="113"/>
                    </a:lnTo>
                    <a:lnTo>
                      <a:pt x="1111" y="111"/>
                    </a:lnTo>
                    <a:lnTo>
                      <a:pt x="1069" y="111"/>
                    </a:lnTo>
                    <a:lnTo>
                      <a:pt x="1033" y="108"/>
                    </a:lnTo>
                    <a:lnTo>
                      <a:pt x="996" y="108"/>
                    </a:lnTo>
                    <a:lnTo>
                      <a:pt x="964" y="102"/>
                    </a:lnTo>
                    <a:lnTo>
                      <a:pt x="928" y="102"/>
                    </a:lnTo>
                    <a:lnTo>
                      <a:pt x="891" y="102"/>
                    </a:lnTo>
                    <a:lnTo>
                      <a:pt x="855" y="102"/>
                    </a:lnTo>
                    <a:lnTo>
                      <a:pt x="823" y="99"/>
                    </a:lnTo>
                    <a:lnTo>
                      <a:pt x="791" y="96"/>
                    </a:lnTo>
                    <a:lnTo>
                      <a:pt x="759" y="94"/>
                    </a:lnTo>
                    <a:lnTo>
                      <a:pt x="727" y="91"/>
                    </a:lnTo>
                    <a:lnTo>
                      <a:pt x="695" y="88"/>
                    </a:lnTo>
                    <a:lnTo>
                      <a:pt x="667" y="88"/>
                    </a:lnTo>
                    <a:lnTo>
                      <a:pt x="635" y="85"/>
                    </a:lnTo>
                    <a:lnTo>
                      <a:pt x="608" y="85"/>
                    </a:lnTo>
                    <a:lnTo>
                      <a:pt x="580" y="79"/>
                    </a:lnTo>
                    <a:lnTo>
                      <a:pt x="544" y="76"/>
                    </a:lnTo>
                    <a:lnTo>
                      <a:pt x="521" y="76"/>
                    </a:lnTo>
                    <a:lnTo>
                      <a:pt x="494" y="76"/>
                    </a:lnTo>
                    <a:lnTo>
                      <a:pt x="466" y="71"/>
                    </a:lnTo>
                    <a:lnTo>
                      <a:pt x="443" y="68"/>
                    </a:lnTo>
                    <a:lnTo>
                      <a:pt x="420" y="68"/>
                    </a:lnTo>
                    <a:lnTo>
                      <a:pt x="398" y="68"/>
                    </a:lnTo>
                    <a:lnTo>
                      <a:pt x="366" y="65"/>
                    </a:lnTo>
                    <a:lnTo>
                      <a:pt x="347" y="59"/>
                    </a:lnTo>
                    <a:lnTo>
                      <a:pt x="324" y="57"/>
                    </a:lnTo>
                    <a:lnTo>
                      <a:pt x="306" y="57"/>
                    </a:lnTo>
                    <a:lnTo>
                      <a:pt x="279" y="54"/>
                    </a:lnTo>
                    <a:lnTo>
                      <a:pt x="260" y="51"/>
                    </a:lnTo>
                    <a:lnTo>
                      <a:pt x="238" y="48"/>
                    </a:lnTo>
                    <a:lnTo>
                      <a:pt x="224" y="45"/>
                    </a:lnTo>
                    <a:lnTo>
                      <a:pt x="201" y="42"/>
                    </a:lnTo>
                    <a:lnTo>
                      <a:pt x="187" y="42"/>
                    </a:lnTo>
                    <a:lnTo>
                      <a:pt x="169" y="37"/>
                    </a:lnTo>
                    <a:lnTo>
                      <a:pt x="160" y="37"/>
                    </a:lnTo>
                    <a:lnTo>
                      <a:pt x="142" y="34"/>
                    </a:lnTo>
                    <a:lnTo>
                      <a:pt x="128" y="34"/>
                    </a:lnTo>
                    <a:lnTo>
                      <a:pt x="114" y="31"/>
                    </a:lnTo>
                    <a:lnTo>
                      <a:pt x="101" y="31"/>
                    </a:lnTo>
                    <a:lnTo>
                      <a:pt x="87" y="25"/>
                    </a:lnTo>
                    <a:lnTo>
                      <a:pt x="78" y="25"/>
                    </a:lnTo>
                    <a:lnTo>
                      <a:pt x="64" y="25"/>
                    </a:lnTo>
                    <a:lnTo>
                      <a:pt x="55" y="22"/>
                    </a:lnTo>
                    <a:lnTo>
                      <a:pt x="37" y="19"/>
                    </a:lnTo>
                    <a:lnTo>
                      <a:pt x="23" y="19"/>
                    </a:lnTo>
                    <a:lnTo>
                      <a:pt x="14" y="14"/>
                    </a:lnTo>
                    <a:lnTo>
                      <a:pt x="0"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59" name="Freeform 73"/>
              <p:cNvSpPr>
                <a:spLocks/>
              </p:cNvSpPr>
              <p:nvPr>
                <p:custDataLst>
                  <p:tags r:id="rId102"/>
                </p:custDataLst>
              </p:nvPr>
            </p:nvSpPr>
            <p:spPr bwMode="gray">
              <a:xfrm>
                <a:off x="904" y="576"/>
                <a:ext cx="3795" cy="815"/>
              </a:xfrm>
              <a:custGeom>
                <a:avLst/>
                <a:gdLst>
                  <a:gd name="T0" fmla="*/ 2011 w 3702"/>
                  <a:gd name="T1" fmla="*/ 26 h 892"/>
                  <a:gd name="T2" fmla="*/ 1766 w 3702"/>
                  <a:gd name="T3" fmla="*/ 50 h 892"/>
                  <a:gd name="T4" fmla="*/ 1520 w 3702"/>
                  <a:gd name="T5" fmla="*/ 77 h 892"/>
                  <a:gd name="T6" fmla="*/ 1280 w 3702"/>
                  <a:gd name="T7" fmla="*/ 103 h 892"/>
                  <a:gd name="T8" fmla="*/ 1048 w 3702"/>
                  <a:gd name="T9" fmla="*/ 131 h 892"/>
                  <a:gd name="T10" fmla="*/ 824 w 3702"/>
                  <a:gd name="T11" fmla="*/ 159 h 892"/>
                  <a:gd name="T12" fmla="*/ 623 w 3702"/>
                  <a:gd name="T13" fmla="*/ 187 h 892"/>
                  <a:gd name="T14" fmla="*/ 437 w 3702"/>
                  <a:gd name="T15" fmla="*/ 210 h 892"/>
                  <a:gd name="T16" fmla="*/ 277 w 3702"/>
                  <a:gd name="T17" fmla="*/ 232 h 892"/>
                  <a:gd name="T18" fmla="*/ 153 w 3702"/>
                  <a:gd name="T19" fmla="*/ 252 h 892"/>
                  <a:gd name="T20" fmla="*/ 58 w 3702"/>
                  <a:gd name="T21" fmla="*/ 268 h 892"/>
                  <a:gd name="T22" fmla="*/ 0 w 3702"/>
                  <a:gd name="T23" fmla="*/ 280 h 892"/>
                  <a:gd name="T24" fmla="*/ 53 w 3702"/>
                  <a:gd name="T25" fmla="*/ 283 h 892"/>
                  <a:gd name="T26" fmla="*/ 141 w 3702"/>
                  <a:gd name="T27" fmla="*/ 285 h 892"/>
                  <a:gd name="T28" fmla="*/ 277 w 3702"/>
                  <a:gd name="T29" fmla="*/ 288 h 892"/>
                  <a:gd name="T30" fmla="*/ 437 w 3702"/>
                  <a:gd name="T31" fmla="*/ 291 h 892"/>
                  <a:gd name="T32" fmla="*/ 623 w 3702"/>
                  <a:gd name="T33" fmla="*/ 293 h 892"/>
                  <a:gd name="T34" fmla="*/ 844 w 3702"/>
                  <a:gd name="T35" fmla="*/ 295 h 892"/>
                  <a:gd name="T36" fmla="*/ 1078 w 3702"/>
                  <a:gd name="T37" fmla="*/ 299 h 892"/>
                  <a:gd name="T38" fmla="*/ 1329 w 3702"/>
                  <a:gd name="T39" fmla="*/ 300 h 892"/>
                  <a:gd name="T40" fmla="*/ 1594 w 3702"/>
                  <a:gd name="T41" fmla="*/ 302 h 892"/>
                  <a:gd name="T42" fmla="*/ 1865 w 3702"/>
                  <a:gd name="T43" fmla="*/ 302 h 892"/>
                  <a:gd name="T44" fmla="*/ 2141 w 3702"/>
                  <a:gd name="T45" fmla="*/ 301 h 892"/>
                  <a:gd name="T46" fmla="*/ 2413 w 3702"/>
                  <a:gd name="T47" fmla="*/ 299 h 892"/>
                  <a:gd name="T48" fmla="*/ 2685 w 3702"/>
                  <a:gd name="T49" fmla="*/ 295 h 892"/>
                  <a:gd name="T50" fmla="*/ 2961 w 3702"/>
                  <a:gd name="T51" fmla="*/ 291 h 892"/>
                  <a:gd name="T52" fmla="*/ 3236 w 3702"/>
                  <a:gd name="T53" fmla="*/ 287 h 892"/>
                  <a:gd name="T54" fmla="*/ 3508 w 3702"/>
                  <a:gd name="T55" fmla="*/ 280 h 892"/>
                  <a:gd name="T56" fmla="*/ 3760 w 3702"/>
                  <a:gd name="T57" fmla="*/ 277 h 892"/>
                  <a:gd name="T58" fmla="*/ 4015 w 3702"/>
                  <a:gd name="T59" fmla="*/ 272 h 892"/>
                  <a:gd name="T60" fmla="*/ 4245 w 3702"/>
                  <a:gd name="T61" fmla="*/ 268 h 892"/>
                  <a:gd name="T62" fmla="*/ 4449 w 3702"/>
                  <a:gd name="T63" fmla="*/ 261 h 892"/>
                  <a:gd name="T64" fmla="*/ 4629 w 3702"/>
                  <a:gd name="T65" fmla="*/ 256 h 892"/>
                  <a:gd name="T66" fmla="*/ 4775 w 3702"/>
                  <a:gd name="T67" fmla="*/ 252 h 892"/>
                  <a:gd name="T68" fmla="*/ 4887 w 3702"/>
                  <a:gd name="T69" fmla="*/ 247 h 892"/>
                  <a:gd name="T70" fmla="*/ 4968 w 3702"/>
                  <a:gd name="T71" fmla="*/ 245 h 892"/>
                  <a:gd name="T72" fmla="*/ 4942 w 3702"/>
                  <a:gd name="T73" fmla="*/ 238 h 892"/>
                  <a:gd name="T74" fmla="*/ 4849 w 3702"/>
                  <a:gd name="T75" fmla="*/ 228 h 892"/>
                  <a:gd name="T76" fmla="*/ 4716 w 3702"/>
                  <a:gd name="T77" fmla="*/ 215 h 892"/>
                  <a:gd name="T78" fmla="*/ 4547 w 3702"/>
                  <a:gd name="T79" fmla="*/ 198 h 892"/>
                  <a:gd name="T80" fmla="*/ 4358 w 3702"/>
                  <a:gd name="T81" fmla="*/ 177 h 892"/>
                  <a:gd name="T82" fmla="*/ 4141 w 3702"/>
                  <a:gd name="T83" fmla="*/ 157 h 892"/>
                  <a:gd name="T84" fmla="*/ 3927 w 3702"/>
                  <a:gd name="T85" fmla="*/ 132 h 892"/>
                  <a:gd name="T86" fmla="*/ 3699 w 3702"/>
                  <a:gd name="T87" fmla="*/ 111 h 892"/>
                  <a:gd name="T88" fmla="*/ 3488 w 3702"/>
                  <a:gd name="T89" fmla="*/ 88 h 892"/>
                  <a:gd name="T90" fmla="*/ 3287 w 3702"/>
                  <a:gd name="T91" fmla="*/ 65 h 892"/>
                  <a:gd name="T92" fmla="*/ 3107 w 3702"/>
                  <a:gd name="T93" fmla="*/ 48 h 892"/>
                  <a:gd name="T94" fmla="*/ 2968 w 3702"/>
                  <a:gd name="T95" fmla="*/ 34 h 892"/>
                  <a:gd name="T96" fmla="*/ 2862 w 3702"/>
                  <a:gd name="T97" fmla="*/ 22 h 892"/>
                  <a:gd name="T98" fmla="*/ 2776 w 3702"/>
                  <a:gd name="T99" fmla="*/ 15 h 892"/>
                  <a:gd name="T100" fmla="*/ 2701 w 3702"/>
                  <a:gd name="T101" fmla="*/ 8 h 892"/>
                  <a:gd name="T102" fmla="*/ 2622 w 3702"/>
                  <a:gd name="T103" fmla="*/ 5 h 892"/>
                  <a:gd name="T104" fmla="*/ 2549 w 3702"/>
                  <a:gd name="T105" fmla="*/ 5 h 892"/>
                  <a:gd name="T106" fmla="*/ 2418 w 3702"/>
                  <a:gd name="T107" fmla="*/ 0 h 892"/>
                  <a:gd name="T108" fmla="*/ 2313 w 3702"/>
                  <a:gd name="T109" fmla="*/ 5 h 892"/>
                  <a:gd name="T110" fmla="*/ 2229 w 3702"/>
                  <a:gd name="T111" fmla="*/ 6 h 8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02"/>
                  <a:gd name="T169" fmla="*/ 0 h 892"/>
                  <a:gd name="T170" fmla="*/ 3702 w 3702"/>
                  <a:gd name="T171" fmla="*/ 892 h 8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02" h="892">
                    <a:moveTo>
                      <a:pt x="1632" y="26"/>
                    </a:moveTo>
                    <a:lnTo>
                      <a:pt x="1595" y="35"/>
                    </a:lnTo>
                    <a:lnTo>
                      <a:pt x="1563" y="49"/>
                    </a:lnTo>
                    <a:lnTo>
                      <a:pt x="1526" y="63"/>
                    </a:lnTo>
                    <a:lnTo>
                      <a:pt x="1494" y="77"/>
                    </a:lnTo>
                    <a:lnTo>
                      <a:pt x="1453" y="89"/>
                    </a:lnTo>
                    <a:lnTo>
                      <a:pt x="1421" y="103"/>
                    </a:lnTo>
                    <a:lnTo>
                      <a:pt x="1380" y="117"/>
                    </a:lnTo>
                    <a:lnTo>
                      <a:pt x="1348" y="131"/>
                    </a:lnTo>
                    <a:lnTo>
                      <a:pt x="1312" y="149"/>
                    </a:lnTo>
                    <a:lnTo>
                      <a:pt x="1275" y="160"/>
                    </a:lnTo>
                    <a:lnTo>
                      <a:pt x="1239" y="174"/>
                    </a:lnTo>
                    <a:lnTo>
                      <a:pt x="1202" y="191"/>
                    </a:lnTo>
                    <a:lnTo>
                      <a:pt x="1165" y="208"/>
                    </a:lnTo>
                    <a:lnTo>
                      <a:pt x="1129" y="225"/>
                    </a:lnTo>
                    <a:lnTo>
                      <a:pt x="1097" y="240"/>
                    </a:lnTo>
                    <a:lnTo>
                      <a:pt x="1060" y="257"/>
                    </a:lnTo>
                    <a:lnTo>
                      <a:pt x="1024" y="274"/>
                    </a:lnTo>
                    <a:lnTo>
                      <a:pt x="987" y="288"/>
                    </a:lnTo>
                    <a:lnTo>
                      <a:pt x="951" y="305"/>
                    </a:lnTo>
                    <a:lnTo>
                      <a:pt x="919" y="322"/>
                    </a:lnTo>
                    <a:lnTo>
                      <a:pt x="877" y="339"/>
                    </a:lnTo>
                    <a:lnTo>
                      <a:pt x="846" y="354"/>
                    </a:lnTo>
                    <a:lnTo>
                      <a:pt x="814" y="371"/>
                    </a:lnTo>
                    <a:lnTo>
                      <a:pt x="777" y="388"/>
                    </a:lnTo>
                    <a:lnTo>
                      <a:pt x="745" y="408"/>
                    </a:lnTo>
                    <a:lnTo>
                      <a:pt x="713" y="422"/>
                    </a:lnTo>
                    <a:lnTo>
                      <a:pt x="681" y="439"/>
                    </a:lnTo>
                    <a:lnTo>
                      <a:pt x="644" y="456"/>
                    </a:lnTo>
                    <a:lnTo>
                      <a:pt x="612" y="470"/>
                    </a:lnTo>
                    <a:lnTo>
                      <a:pt x="580" y="487"/>
                    </a:lnTo>
                    <a:lnTo>
                      <a:pt x="548" y="504"/>
                    </a:lnTo>
                    <a:lnTo>
                      <a:pt x="526" y="519"/>
                    </a:lnTo>
                    <a:lnTo>
                      <a:pt x="494" y="536"/>
                    </a:lnTo>
                    <a:lnTo>
                      <a:pt x="462" y="550"/>
                    </a:lnTo>
                    <a:lnTo>
                      <a:pt x="434" y="564"/>
                    </a:lnTo>
                    <a:lnTo>
                      <a:pt x="407" y="579"/>
                    </a:lnTo>
                    <a:lnTo>
                      <a:pt x="379" y="593"/>
                    </a:lnTo>
                    <a:lnTo>
                      <a:pt x="352" y="607"/>
                    </a:lnTo>
                    <a:lnTo>
                      <a:pt x="325" y="621"/>
                    </a:lnTo>
                    <a:lnTo>
                      <a:pt x="302" y="638"/>
                    </a:lnTo>
                    <a:lnTo>
                      <a:pt x="274" y="650"/>
                    </a:lnTo>
                    <a:lnTo>
                      <a:pt x="251" y="664"/>
                    </a:lnTo>
                    <a:lnTo>
                      <a:pt x="229" y="675"/>
                    </a:lnTo>
                    <a:lnTo>
                      <a:pt x="206" y="687"/>
                    </a:lnTo>
                    <a:lnTo>
                      <a:pt x="187" y="701"/>
                    </a:lnTo>
                    <a:lnTo>
                      <a:pt x="169" y="712"/>
                    </a:lnTo>
                    <a:lnTo>
                      <a:pt x="146" y="724"/>
                    </a:lnTo>
                    <a:lnTo>
                      <a:pt x="133" y="735"/>
                    </a:lnTo>
                    <a:lnTo>
                      <a:pt x="114" y="744"/>
                    </a:lnTo>
                    <a:lnTo>
                      <a:pt x="101" y="755"/>
                    </a:lnTo>
                    <a:lnTo>
                      <a:pt x="82" y="764"/>
                    </a:lnTo>
                    <a:lnTo>
                      <a:pt x="69" y="772"/>
                    </a:lnTo>
                    <a:lnTo>
                      <a:pt x="59" y="781"/>
                    </a:lnTo>
                    <a:lnTo>
                      <a:pt x="46" y="789"/>
                    </a:lnTo>
                    <a:lnTo>
                      <a:pt x="37" y="798"/>
                    </a:lnTo>
                    <a:lnTo>
                      <a:pt x="27" y="803"/>
                    </a:lnTo>
                    <a:lnTo>
                      <a:pt x="14" y="815"/>
                    </a:lnTo>
                    <a:lnTo>
                      <a:pt x="5" y="826"/>
                    </a:lnTo>
                    <a:lnTo>
                      <a:pt x="0" y="829"/>
                    </a:lnTo>
                    <a:lnTo>
                      <a:pt x="5" y="832"/>
                    </a:lnTo>
                    <a:lnTo>
                      <a:pt x="9" y="832"/>
                    </a:lnTo>
                    <a:lnTo>
                      <a:pt x="23" y="835"/>
                    </a:lnTo>
                    <a:lnTo>
                      <a:pt x="32" y="835"/>
                    </a:lnTo>
                    <a:lnTo>
                      <a:pt x="41" y="835"/>
                    </a:lnTo>
                    <a:lnTo>
                      <a:pt x="55" y="838"/>
                    </a:lnTo>
                    <a:lnTo>
                      <a:pt x="64" y="838"/>
                    </a:lnTo>
                    <a:lnTo>
                      <a:pt x="78" y="838"/>
                    </a:lnTo>
                    <a:lnTo>
                      <a:pt x="91" y="841"/>
                    </a:lnTo>
                    <a:lnTo>
                      <a:pt x="105" y="841"/>
                    </a:lnTo>
                    <a:lnTo>
                      <a:pt x="123" y="846"/>
                    </a:lnTo>
                    <a:lnTo>
                      <a:pt x="142" y="846"/>
                    </a:lnTo>
                    <a:lnTo>
                      <a:pt x="160" y="846"/>
                    </a:lnTo>
                    <a:lnTo>
                      <a:pt x="183" y="849"/>
                    </a:lnTo>
                    <a:lnTo>
                      <a:pt x="206" y="852"/>
                    </a:lnTo>
                    <a:lnTo>
                      <a:pt x="224" y="852"/>
                    </a:lnTo>
                    <a:lnTo>
                      <a:pt x="247" y="852"/>
                    </a:lnTo>
                    <a:lnTo>
                      <a:pt x="270" y="855"/>
                    </a:lnTo>
                    <a:lnTo>
                      <a:pt x="297" y="858"/>
                    </a:lnTo>
                    <a:lnTo>
                      <a:pt x="325" y="858"/>
                    </a:lnTo>
                    <a:lnTo>
                      <a:pt x="347" y="860"/>
                    </a:lnTo>
                    <a:lnTo>
                      <a:pt x="375" y="860"/>
                    </a:lnTo>
                    <a:lnTo>
                      <a:pt x="407" y="863"/>
                    </a:lnTo>
                    <a:lnTo>
                      <a:pt x="434" y="863"/>
                    </a:lnTo>
                    <a:lnTo>
                      <a:pt x="462" y="866"/>
                    </a:lnTo>
                    <a:lnTo>
                      <a:pt x="494" y="866"/>
                    </a:lnTo>
                    <a:lnTo>
                      <a:pt x="530" y="869"/>
                    </a:lnTo>
                    <a:lnTo>
                      <a:pt x="558" y="869"/>
                    </a:lnTo>
                    <a:lnTo>
                      <a:pt x="590" y="875"/>
                    </a:lnTo>
                    <a:lnTo>
                      <a:pt x="626" y="875"/>
                    </a:lnTo>
                    <a:lnTo>
                      <a:pt x="663" y="878"/>
                    </a:lnTo>
                    <a:lnTo>
                      <a:pt x="695" y="878"/>
                    </a:lnTo>
                    <a:lnTo>
                      <a:pt x="727" y="880"/>
                    </a:lnTo>
                    <a:lnTo>
                      <a:pt x="763" y="880"/>
                    </a:lnTo>
                    <a:lnTo>
                      <a:pt x="800" y="880"/>
                    </a:lnTo>
                    <a:lnTo>
                      <a:pt x="836" y="880"/>
                    </a:lnTo>
                    <a:lnTo>
                      <a:pt x="873" y="883"/>
                    </a:lnTo>
                    <a:lnTo>
                      <a:pt x="909" y="883"/>
                    </a:lnTo>
                    <a:lnTo>
                      <a:pt x="946" y="886"/>
                    </a:lnTo>
                    <a:lnTo>
                      <a:pt x="987" y="886"/>
                    </a:lnTo>
                    <a:lnTo>
                      <a:pt x="1028" y="889"/>
                    </a:lnTo>
                    <a:lnTo>
                      <a:pt x="1065" y="889"/>
                    </a:lnTo>
                    <a:lnTo>
                      <a:pt x="1106" y="889"/>
                    </a:lnTo>
                    <a:lnTo>
                      <a:pt x="1143" y="889"/>
                    </a:lnTo>
                    <a:lnTo>
                      <a:pt x="1184" y="892"/>
                    </a:lnTo>
                    <a:lnTo>
                      <a:pt x="1225" y="892"/>
                    </a:lnTo>
                    <a:lnTo>
                      <a:pt x="1266" y="892"/>
                    </a:lnTo>
                    <a:lnTo>
                      <a:pt x="1303" y="892"/>
                    </a:lnTo>
                    <a:lnTo>
                      <a:pt x="1344" y="892"/>
                    </a:lnTo>
                    <a:lnTo>
                      <a:pt x="1385" y="892"/>
                    </a:lnTo>
                    <a:lnTo>
                      <a:pt x="1426" y="892"/>
                    </a:lnTo>
                    <a:lnTo>
                      <a:pt x="1462" y="889"/>
                    </a:lnTo>
                    <a:lnTo>
                      <a:pt x="1508" y="889"/>
                    </a:lnTo>
                    <a:lnTo>
                      <a:pt x="1549" y="889"/>
                    </a:lnTo>
                    <a:lnTo>
                      <a:pt x="1590" y="889"/>
                    </a:lnTo>
                    <a:lnTo>
                      <a:pt x="1627" y="889"/>
                    </a:lnTo>
                    <a:lnTo>
                      <a:pt x="1673" y="889"/>
                    </a:lnTo>
                    <a:lnTo>
                      <a:pt x="1714" y="886"/>
                    </a:lnTo>
                    <a:lnTo>
                      <a:pt x="1755" y="886"/>
                    </a:lnTo>
                    <a:lnTo>
                      <a:pt x="1792" y="880"/>
                    </a:lnTo>
                    <a:lnTo>
                      <a:pt x="1837" y="880"/>
                    </a:lnTo>
                    <a:lnTo>
                      <a:pt x="1874" y="880"/>
                    </a:lnTo>
                    <a:lnTo>
                      <a:pt x="1919" y="878"/>
                    </a:lnTo>
                    <a:lnTo>
                      <a:pt x="1956" y="875"/>
                    </a:lnTo>
                    <a:lnTo>
                      <a:pt x="1993" y="872"/>
                    </a:lnTo>
                    <a:lnTo>
                      <a:pt x="2038" y="869"/>
                    </a:lnTo>
                    <a:lnTo>
                      <a:pt x="2079" y="866"/>
                    </a:lnTo>
                    <a:lnTo>
                      <a:pt x="2116" y="866"/>
                    </a:lnTo>
                    <a:lnTo>
                      <a:pt x="2157" y="863"/>
                    </a:lnTo>
                    <a:lnTo>
                      <a:pt x="2198" y="860"/>
                    </a:lnTo>
                    <a:lnTo>
                      <a:pt x="2239" y="858"/>
                    </a:lnTo>
                    <a:lnTo>
                      <a:pt x="2281" y="855"/>
                    </a:lnTo>
                    <a:lnTo>
                      <a:pt x="2317" y="852"/>
                    </a:lnTo>
                    <a:lnTo>
                      <a:pt x="2363" y="849"/>
                    </a:lnTo>
                    <a:lnTo>
                      <a:pt x="2404" y="846"/>
                    </a:lnTo>
                    <a:lnTo>
                      <a:pt x="2440" y="843"/>
                    </a:lnTo>
                    <a:lnTo>
                      <a:pt x="2482" y="841"/>
                    </a:lnTo>
                    <a:lnTo>
                      <a:pt x="2523" y="838"/>
                    </a:lnTo>
                    <a:lnTo>
                      <a:pt x="2564" y="835"/>
                    </a:lnTo>
                    <a:lnTo>
                      <a:pt x="2605" y="832"/>
                    </a:lnTo>
                    <a:lnTo>
                      <a:pt x="2642" y="829"/>
                    </a:lnTo>
                    <a:lnTo>
                      <a:pt x="2683" y="826"/>
                    </a:lnTo>
                    <a:lnTo>
                      <a:pt x="2719" y="826"/>
                    </a:lnTo>
                    <a:lnTo>
                      <a:pt x="2760" y="821"/>
                    </a:lnTo>
                    <a:lnTo>
                      <a:pt x="2792" y="818"/>
                    </a:lnTo>
                    <a:lnTo>
                      <a:pt x="2834" y="815"/>
                    </a:lnTo>
                    <a:lnTo>
                      <a:pt x="2870" y="812"/>
                    </a:lnTo>
                    <a:lnTo>
                      <a:pt x="2907" y="809"/>
                    </a:lnTo>
                    <a:lnTo>
                      <a:pt x="2948" y="803"/>
                    </a:lnTo>
                    <a:lnTo>
                      <a:pt x="2980" y="803"/>
                    </a:lnTo>
                    <a:lnTo>
                      <a:pt x="3016" y="801"/>
                    </a:lnTo>
                    <a:lnTo>
                      <a:pt x="3048" y="798"/>
                    </a:lnTo>
                    <a:lnTo>
                      <a:pt x="3085" y="792"/>
                    </a:lnTo>
                    <a:lnTo>
                      <a:pt x="3117" y="789"/>
                    </a:lnTo>
                    <a:lnTo>
                      <a:pt x="3153" y="789"/>
                    </a:lnTo>
                    <a:lnTo>
                      <a:pt x="3185" y="784"/>
                    </a:lnTo>
                    <a:lnTo>
                      <a:pt x="3213" y="781"/>
                    </a:lnTo>
                    <a:lnTo>
                      <a:pt x="3245" y="778"/>
                    </a:lnTo>
                    <a:lnTo>
                      <a:pt x="3281" y="775"/>
                    </a:lnTo>
                    <a:lnTo>
                      <a:pt x="3304" y="772"/>
                    </a:lnTo>
                    <a:lnTo>
                      <a:pt x="3332" y="769"/>
                    </a:lnTo>
                    <a:lnTo>
                      <a:pt x="3359" y="766"/>
                    </a:lnTo>
                    <a:lnTo>
                      <a:pt x="3391" y="764"/>
                    </a:lnTo>
                    <a:lnTo>
                      <a:pt x="3414" y="761"/>
                    </a:lnTo>
                    <a:lnTo>
                      <a:pt x="3437" y="758"/>
                    </a:lnTo>
                    <a:lnTo>
                      <a:pt x="3464" y="755"/>
                    </a:lnTo>
                    <a:lnTo>
                      <a:pt x="3487" y="752"/>
                    </a:lnTo>
                    <a:lnTo>
                      <a:pt x="3505" y="749"/>
                    </a:lnTo>
                    <a:lnTo>
                      <a:pt x="3528" y="749"/>
                    </a:lnTo>
                    <a:lnTo>
                      <a:pt x="3546" y="744"/>
                    </a:lnTo>
                    <a:lnTo>
                      <a:pt x="3574" y="744"/>
                    </a:lnTo>
                    <a:lnTo>
                      <a:pt x="3588" y="741"/>
                    </a:lnTo>
                    <a:lnTo>
                      <a:pt x="3606" y="738"/>
                    </a:lnTo>
                    <a:lnTo>
                      <a:pt x="3615" y="735"/>
                    </a:lnTo>
                    <a:lnTo>
                      <a:pt x="3629" y="732"/>
                    </a:lnTo>
                    <a:lnTo>
                      <a:pt x="3642" y="732"/>
                    </a:lnTo>
                    <a:lnTo>
                      <a:pt x="3656" y="729"/>
                    </a:lnTo>
                    <a:lnTo>
                      <a:pt x="3665" y="727"/>
                    </a:lnTo>
                    <a:lnTo>
                      <a:pt x="3674" y="727"/>
                    </a:lnTo>
                    <a:lnTo>
                      <a:pt x="3688" y="721"/>
                    </a:lnTo>
                    <a:lnTo>
                      <a:pt x="3697" y="721"/>
                    </a:lnTo>
                    <a:lnTo>
                      <a:pt x="3702" y="718"/>
                    </a:lnTo>
                    <a:lnTo>
                      <a:pt x="3697" y="715"/>
                    </a:lnTo>
                    <a:lnTo>
                      <a:pt x="3688" y="712"/>
                    </a:lnTo>
                    <a:lnTo>
                      <a:pt x="3670" y="704"/>
                    </a:lnTo>
                    <a:lnTo>
                      <a:pt x="3661" y="698"/>
                    </a:lnTo>
                    <a:lnTo>
                      <a:pt x="3647" y="695"/>
                    </a:lnTo>
                    <a:lnTo>
                      <a:pt x="3633" y="687"/>
                    </a:lnTo>
                    <a:lnTo>
                      <a:pt x="3620" y="687"/>
                    </a:lnTo>
                    <a:lnTo>
                      <a:pt x="3601" y="675"/>
                    </a:lnTo>
                    <a:lnTo>
                      <a:pt x="3583" y="670"/>
                    </a:lnTo>
                    <a:lnTo>
                      <a:pt x="3565" y="661"/>
                    </a:lnTo>
                    <a:lnTo>
                      <a:pt x="3546" y="653"/>
                    </a:lnTo>
                    <a:lnTo>
                      <a:pt x="3524" y="644"/>
                    </a:lnTo>
                    <a:lnTo>
                      <a:pt x="3501" y="635"/>
                    </a:lnTo>
                    <a:lnTo>
                      <a:pt x="3482" y="627"/>
                    </a:lnTo>
                    <a:lnTo>
                      <a:pt x="3455" y="618"/>
                    </a:lnTo>
                    <a:lnTo>
                      <a:pt x="3432" y="607"/>
                    </a:lnTo>
                    <a:lnTo>
                      <a:pt x="3405" y="596"/>
                    </a:lnTo>
                    <a:lnTo>
                      <a:pt x="3377" y="584"/>
                    </a:lnTo>
                    <a:lnTo>
                      <a:pt x="3350" y="573"/>
                    </a:lnTo>
                    <a:lnTo>
                      <a:pt x="3323" y="561"/>
                    </a:lnTo>
                    <a:lnTo>
                      <a:pt x="3295" y="550"/>
                    </a:lnTo>
                    <a:lnTo>
                      <a:pt x="3263" y="539"/>
                    </a:lnTo>
                    <a:lnTo>
                      <a:pt x="3236" y="524"/>
                    </a:lnTo>
                    <a:lnTo>
                      <a:pt x="3204" y="513"/>
                    </a:lnTo>
                    <a:lnTo>
                      <a:pt x="3172" y="502"/>
                    </a:lnTo>
                    <a:lnTo>
                      <a:pt x="3140" y="487"/>
                    </a:lnTo>
                    <a:lnTo>
                      <a:pt x="3112" y="473"/>
                    </a:lnTo>
                    <a:lnTo>
                      <a:pt x="3076" y="462"/>
                    </a:lnTo>
                    <a:lnTo>
                      <a:pt x="3044" y="448"/>
                    </a:lnTo>
                    <a:lnTo>
                      <a:pt x="3016" y="433"/>
                    </a:lnTo>
                    <a:lnTo>
                      <a:pt x="2980" y="422"/>
                    </a:lnTo>
                    <a:lnTo>
                      <a:pt x="2948" y="408"/>
                    </a:lnTo>
                    <a:lnTo>
                      <a:pt x="2916" y="393"/>
                    </a:lnTo>
                    <a:lnTo>
                      <a:pt x="2884" y="379"/>
                    </a:lnTo>
                    <a:lnTo>
                      <a:pt x="2847" y="365"/>
                    </a:lnTo>
                    <a:lnTo>
                      <a:pt x="2815" y="351"/>
                    </a:lnTo>
                    <a:lnTo>
                      <a:pt x="2783" y="336"/>
                    </a:lnTo>
                    <a:lnTo>
                      <a:pt x="2747" y="325"/>
                    </a:lnTo>
                    <a:lnTo>
                      <a:pt x="2715" y="311"/>
                    </a:lnTo>
                    <a:lnTo>
                      <a:pt x="2683" y="297"/>
                    </a:lnTo>
                    <a:lnTo>
                      <a:pt x="2651" y="285"/>
                    </a:lnTo>
                    <a:lnTo>
                      <a:pt x="2619" y="271"/>
                    </a:lnTo>
                    <a:lnTo>
                      <a:pt x="2591" y="260"/>
                    </a:lnTo>
                    <a:lnTo>
                      <a:pt x="2559" y="245"/>
                    </a:lnTo>
                    <a:lnTo>
                      <a:pt x="2527" y="231"/>
                    </a:lnTo>
                    <a:lnTo>
                      <a:pt x="2500" y="220"/>
                    </a:lnTo>
                    <a:lnTo>
                      <a:pt x="2472" y="208"/>
                    </a:lnTo>
                    <a:lnTo>
                      <a:pt x="2440" y="194"/>
                    </a:lnTo>
                    <a:lnTo>
                      <a:pt x="2413" y="183"/>
                    </a:lnTo>
                    <a:lnTo>
                      <a:pt x="2386" y="171"/>
                    </a:lnTo>
                    <a:lnTo>
                      <a:pt x="2363" y="160"/>
                    </a:lnTo>
                    <a:lnTo>
                      <a:pt x="2335" y="151"/>
                    </a:lnTo>
                    <a:lnTo>
                      <a:pt x="2308" y="140"/>
                    </a:lnTo>
                    <a:lnTo>
                      <a:pt x="2285" y="131"/>
                    </a:lnTo>
                    <a:lnTo>
                      <a:pt x="2262" y="123"/>
                    </a:lnTo>
                    <a:lnTo>
                      <a:pt x="2244" y="112"/>
                    </a:lnTo>
                    <a:lnTo>
                      <a:pt x="2221" y="106"/>
                    </a:lnTo>
                    <a:lnTo>
                      <a:pt x="2203" y="97"/>
                    </a:lnTo>
                    <a:lnTo>
                      <a:pt x="2185" y="89"/>
                    </a:lnTo>
                    <a:lnTo>
                      <a:pt x="2166" y="83"/>
                    </a:lnTo>
                    <a:lnTo>
                      <a:pt x="2153" y="74"/>
                    </a:lnTo>
                    <a:lnTo>
                      <a:pt x="2134" y="69"/>
                    </a:lnTo>
                    <a:lnTo>
                      <a:pt x="2125" y="66"/>
                    </a:lnTo>
                    <a:lnTo>
                      <a:pt x="2116" y="60"/>
                    </a:lnTo>
                    <a:lnTo>
                      <a:pt x="2098" y="55"/>
                    </a:lnTo>
                    <a:lnTo>
                      <a:pt x="2089" y="49"/>
                    </a:lnTo>
                    <a:lnTo>
                      <a:pt x="2079" y="46"/>
                    </a:lnTo>
                    <a:lnTo>
                      <a:pt x="2061" y="43"/>
                    </a:lnTo>
                    <a:lnTo>
                      <a:pt x="2052" y="37"/>
                    </a:lnTo>
                    <a:lnTo>
                      <a:pt x="2043" y="35"/>
                    </a:lnTo>
                    <a:lnTo>
                      <a:pt x="2025" y="32"/>
                    </a:lnTo>
                    <a:lnTo>
                      <a:pt x="2015" y="26"/>
                    </a:lnTo>
                    <a:lnTo>
                      <a:pt x="2006" y="23"/>
                    </a:lnTo>
                    <a:lnTo>
                      <a:pt x="1993" y="20"/>
                    </a:lnTo>
                    <a:lnTo>
                      <a:pt x="1979" y="20"/>
                    </a:lnTo>
                    <a:lnTo>
                      <a:pt x="1970" y="15"/>
                    </a:lnTo>
                    <a:lnTo>
                      <a:pt x="1956" y="15"/>
                    </a:lnTo>
                    <a:lnTo>
                      <a:pt x="1947" y="12"/>
                    </a:lnTo>
                    <a:lnTo>
                      <a:pt x="1938" y="12"/>
                    </a:lnTo>
                    <a:lnTo>
                      <a:pt x="1924" y="9"/>
                    </a:lnTo>
                    <a:lnTo>
                      <a:pt x="1915" y="9"/>
                    </a:lnTo>
                    <a:lnTo>
                      <a:pt x="1901" y="6"/>
                    </a:lnTo>
                    <a:lnTo>
                      <a:pt x="1892" y="6"/>
                    </a:lnTo>
                    <a:lnTo>
                      <a:pt x="1869" y="0"/>
                    </a:lnTo>
                    <a:lnTo>
                      <a:pt x="1856" y="0"/>
                    </a:lnTo>
                    <a:lnTo>
                      <a:pt x="1833" y="0"/>
                    </a:lnTo>
                    <a:lnTo>
                      <a:pt x="1814" y="0"/>
                    </a:lnTo>
                    <a:lnTo>
                      <a:pt x="1796" y="0"/>
                    </a:lnTo>
                    <a:lnTo>
                      <a:pt x="1782" y="3"/>
                    </a:lnTo>
                    <a:lnTo>
                      <a:pt x="1764" y="3"/>
                    </a:lnTo>
                    <a:lnTo>
                      <a:pt x="1750" y="6"/>
                    </a:lnTo>
                    <a:lnTo>
                      <a:pt x="1732" y="6"/>
                    </a:lnTo>
                    <a:lnTo>
                      <a:pt x="1718" y="9"/>
                    </a:lnTo>
                    <a:lnTo>
                      <a:pt x="1700" y="9"/>
                    </a:lnTo>
                    <a:lnTo>
                      <a:pt x="1696" y="9"/>
                    </a:lnTo>
                    <a:lnTo>
                      <a:pt x="1682" y="12"/>
                    </a:lnTo>
                    <a:lnTo>
                      <a:pt x="1673" y="15"/>
                    </a:lnTo>
                    <a:lnTo>
                      <a:pt x="1654" y="20"/>
                    </a:lnTo>
                    <a:lnTo>
                      <a:pt x="1641" y="20"/>
                    </a:lnTo>
                    <a:lnTo>
                      <a:pt x="1636" y="23"/>
                    </a:lnTo>
                    <a:lnTo>
                      <a:pt x="1632" y="2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0" name="Freeform 74"/>
              <p:cNvSpPr>
                <a:spLocks/>
              </p:cNvSpPr>
              <p:nvPr>
                <p:custDataLst>
                  <p:tags r:id="rId103"/>
                </p:custDataLst>
              </p:nvPr>
            </p:nvSpPr>
            <p:spPr bwMode="gray">
              <a:xfrm>
                <a:off x="1358" y="666"/>
                <a:ext cx="1270" cy="535"/>
              </a:xfrm>
              <a:custGeom>
                <a:avLst/>
                <a:gdLst>
                  <a:gd name="T0" fmla="*/ 1470 w 1239"/>
                  <a:gd name="T1" fmla="*/ 9 h 587"/>
                  <a:gd name="T2" fmla="*/ 1384 w 1239"/>
                  <a:gd name="T3" fmla="*/ 15 h 587"/>
                  <a:gd name="T4" fmla="*/ 1298 w 1239"/>
                  <a:gd name="T5" fmla="*/ 24 h 587"/>
                  <a:gd name="T6" fmla="*/ 1213 w 1239"/>
                  <a:gd name="T7" fmla="*/ 33 h 587"/>
                  <a:gd name="T8" fmla="*/ 1132 w 1239"/>
                  <a:gd name="T9" fmla="*/ 42 h 587"/>
                  <a:gd name="T10" fmla="*/ 1053 w 1239"/>
                  <a:gd name="T11" fmla="*/ 50 h 587"/>
                  <a:gd name="T12" fmla="*/ 971 w 1239"/>
                  <a:gd name="T13" fmla="*/ 59 h 587"/>
                  <a:gd name="T14" fmla="*/ 898 w 1239"/>
                  <a:gd name="T15" fmla="*/ 67 h 587"/>
                  <a:gd name="T16" fmla="*/ 818 w 1239"/>
                  <a:gd name="T17" fmla="*/ 77 h 587"/>
                  <a:gd name="T18" fmla="*/ 744 w 1239"/>
                  <a:gd name="T19" fmla="*/ 87 h 587"/>
                  <a:gd name="T20" fmla="*/ 669 w 1239"/>
                  <a:gd name="T21" fmla="*/ 95 h 587"/>
                  <a:gd name="T22" fmla="*/ 602 w 1239"/>
                  <a:gd name="T23" fmla="*/ 104 h 587"/>
                  <a:gd name="T24" fmla="*/ 542 w 1239"/>
                  <a:gd name="T25" fmla="*/ 113 h 587"/>
                  <a:gd name="T26" fmla="*/ 473 w 1239"/>
                  <a:gd name="T27" fmla="*/ 120 h 587"/>
                  <a:gd name="T28" fmla="*/ 418 w 1239"/>
                  <a:gd name="T29" fmla="*/ 129 h 587"/>
                  <a:gd name="T30" fmla="*/ 363 w 1239"/>
                  <a:gd name="T31" fmla="*/ 136 h 587"/>
                  <a:gd name="T32" fmla="*/ 302 w 1239"/>
                  <a:gd name="T33" fmla="*/ 145 h 587"/>
                  <a:gd name="T34" fmla="*/ 258 w 1239"/>
                  <a:gd name="T35" fmla="*/ 152 h 587"/>
                  <a:gd name="T36" fmla="*/ 215 w 1239"/>
                  <a:gd name="T37" fmla="*/ 159 h 587"/>
                  <a:gd name="T38" fmla="*/ 172 w 1239"/>
                  <a:gd name="T39" fmla="*/ 165 h 587"/>
                  <a:gd name="T40" fmla="*/ 130 w 1239"/>
                  <a:gd name="T41" fmla="*/ 170 h 587"/>
                  <a:gd name="T42" fmla="*/ 97 w 1239"/>
                  <a:gd name="T43" fmla="*/ 175 h 587"/>
                  <a:gd name="T44" fmla="*/ 66 w 1239"/>
                  <a:gd name="T45" fmla="*/ 181 h 587"/>
                  <a:gd name="T46" fmla="*/ 44 w 1239"/>
                  <a:gd name="T47" fmla="*/ 183 h 587"/>
                  <a:gd name="T48" fmla="*/ 14 w 1239"/>
                  <a:gd name="T49" fmla="*/ 190 h 587"/>
                  <a:gd name="T50" fmla="*/ 0 w 1239"/>
                  <a:gd name="T51" fmla="*/ 191 h 587"/>
                  <a:gd name="T52" fmla="*/ 0 w 1239"/>
                  <a:gd name="T53" fmla="*/ 191 h 587"/>
                  <a:gd name="T54" fmla="*/ 35 w 1239"/>
                  <a:gd name="T55" fmla="*/ 190 h 587"/>
                  <a:gd name="T56" fmla="*/ 66 w 1239"/>
                  <a:gd name="T57" fmla="*/ 183 h 587"/>
                  <a:gd name="T58" fmla="*/ 97 w 1239"/>
                  <a:gd name="T59" fmla="*/ 178 h 587"/>
                  <a:gd name="T60" fmla="*/ 141 w 1239"/>
                  <a:gd name="T61" fmla="*/ 173 h 587"/>
                  <a:gd name="T62" fmla="*/ 185 w 1239"/>
                  <a:gd name="T63" fmla="*/ 167 h 587"/>
                  <a:gd name="T64" fmla="*/ 234 w 1239"/>
                  <a:gd name="T65" fmla="*/ 160 h 587"/>
                  <a:gd name="T66" fmla="*/ 284 w 1239"/>
                  <a:gd name="T67" fmla="*/ 154 h 587"/>
                  <a:gd name="T68" fmla="*/ 344 w 1239"/>
                  <a:gd name="T69" fmla="*/ 148 h 587"/>
                  <a:gd name="T70" fmla="*/ 407 w 1239"/>
                  <a:gd name="T71" fmla="*/ 140 h 587"/>
                  <a:gd name="T72" fmla="*/ 461 w 1239"/>
                  <a:gd name="T73" fmla="*/ 132 h 587"/>
                  <a:gd name="T74" fmla="*/ 529 w 1239"/>
                  <a:gd name="T75" fmla="*/ 126 h 587"/>
                  <a:gd name="T76" fmla="*/ 602 w 1239"/>
                  <a:gd name="T77" fmla="*/ 117 h 587"/>
                  <a:gd name="T78" fmla="*/ 664 w 1239"/>
                  <a:gd name="T79" fmla="*/ 109 h 587"/>
                  <a:gd name="T80" fmla="*/ 739 w 1239"/>
                  <a:gd name="T81" fmla="*/ 102 h 587"/>
                  <a:gd name="T82" fmla="*/ 812 w 1239"/>
                  <a:gd name="T83" fmla="*/ 94 h 587"/>
                  <a:gd name="T84" fmla="*/ 879 w 1239"/>
                  <a:gd name="T85" fmla="*/ 87 h 587"/>
                  <a:gd name="T86" fmla="*/ 955 w 1239"/>
                  <a:gd name="T87" fmla="*/ 78 h 587"/>
                  <a:gd name="T88" fmla="*/ 1020 w 1239"/>
                  <a:gd name="T89" fmla="*/ 70 h 587"/>
                  <a:gd name="T90" fmla="*/ 1094 w 1239"/>
                  <a:gd name="T91" fmla="*/ 61 h 587"/>
                  <a:gd name="T92" fmla="*/ 1162 w 1239"/>
                  <a:gd name="T93" fmla="*/ 55 h 587"/>
                  <a:gd name="T94" fmla="*/ 1224 w 1239"/>
                  <a:gd name="T95" fmla="*/ 46 h 587"/>
                  <a:gd name="T96" fmla="*/ 1293 w 1239"/>
                  <a:gd name="T97" fmla="*/ 40 h 587"/>
                  <a:gd name="T98" fmla="*/ 1352 w 1239"/>
                  <a:gd name="T99" fmla="*/ 34 h 587"/>
                  <a:gd name="T100" fmla="*/ 1414 w 1239"/>
                  <a:gd name="T101" fmla="*/ 27 h 587"/>
                  <a:gd name="T102" fmla="*/ 1464 w 1239"/>
                  <a:gd name="T103" fmla="*/ 22 h 587"/>
                  <a:gd name="T104" fmla="*/ 1518 w 1239"/>
                  <a:gd name="T105" fmla="*/ 15 h 587"/>
                  <a:gd name="T106" fmla="*/ 1556 w 1239"/>
                  <a:gd name="T107" fmla="*/ 12 h 587"/>
                  <a:gd name="T108" fmla="*/ 1599 w 1239"/>
                  <a:gd name="T109" fmla="*/ 6 h 587"/>
                  <a:gd name="T110" fmla="*/ 1635 w 1239"/>
                  <a:gd name="T111" fmla="*/ 5 h 587"/>
                  <a:gd name="T112" fmla="*/ 1668 w 1239"/>
                  <a:gd name="T113" fmla="*/ 0 h 587"/>
                  <a:gd name="T114" fmla="*/ 1518 w 1239"/>
                  <a:gd name="T115" fmla="*/ 5 h 5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9"/>
                  <a:gd name="T175" fmla="*/ 0 h 587"/>
                  <a:gd name="T176" fmla="*/ 1239 w 1239"/>
                  <a:gd name="T177" fmla="*/ 587 h 5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9" h="587">
                    <a:moveTo>
                      <a:pt x="1129" y="14"/>
                    </a:moveTo>
                    <a:lnTo>
                      <a:pt x="1093" y="26"/>
                    </a:lnTo>
                    <a:lnTo>
                      <a:pt x="1061" y="34"/>
                    </a:lnTo>
                    <a:lnTo>
                      <a:pt x="1029" y="46"/>
                    </a:lnTo>
                    <a:lnTo>
                      <a:pt x="997" y="60"/>
                    </a:lnTo>
                    <a:lnTo>
                      <a:pt x="965" y="74"/>
                    </a:lnTo>
                    <a:lnTo>
                      <a:pt x="933" y="86"/>
                    </a:lnTo>
                    <a:lnTo>
                      <a:pt x="901" y="100"/>
                    </a:lnTo>
                    <a:lnTo>
                      <a:pt x="873" y="114"/>
                    </a:lnTo>
                    <a:lnTo>
                      <a:pt x="841" y="125"/>
                    </a:lnTo>
                    <a:lnTo>
                      <a:pt x="814" y="140"/>
                    </a:lnTo>
                    <a:lnTo>
                      <a:pt x="782" y="151"/>
                    </a:lnTo>
                    <a:lnTo>
                      <a:pt x="750" y="165"/>
                    </a:lnTo>
                    <a:lnTo>
                      <a:pt x="722" y="179"/>
                    </a:lnTo>
                    <a:lnTo>
                      <a:pt x="690" y="194"/>
                    </a:lnTo>
                    <a:lnTo>
                      <a:pt x="668" y="208"/>
                    </a:lnTo>
                    <a:lnTo>
                      <a:pt x="636" y="219"/>
                    </a:lnTo>
                    <a:lnTo>
                      <a:pt x="608" y="234"/>
                    </a:lnTo>
                    <a:lnTo>
                      <a:pt x="585" y="251"/>
                    </a:lnTo>
                    <a:lnTo>
                      <a:pt x="553" y="262"/>
                    </a:lnTo>
                    <a:lnTo>
                      <a:pt x="530" y="276"/>
                    </a:lnTo>
                    <a:lnTo>
                      <a:pt x="498" y="288"/>
                    </a:lnTo>
                    <a:lnTo>
                      <a:pt x="476" y="302"/>
                    </a:lnTo>
                    <a:lnTo>
                      <a:pt x="448" y="316"/>
                    </a:lnTo>
                    <a:lnTo>
                      <a:pt x="430" y="330"/>
                    </a:lnTo>
                    <a:lnTo>
                      <a:pt x="403" y="342"/>
                    </a:lnTo>
                    <a:lnTo>
                      <a:pt x="380" y="356"/>
                    </a:lnTo>
                    <a:lnTo>
                      <a:pt x="352" y="367"/>
                    </a:lnTo>
                    <a:lnTo>
                      <a:pt x="329" y="382"/>
                    </a:lnTo>
                    <a:lnTo>
                      <a:pt x="311" y="393"/>
                    </a:lnTo>
                    <a:lnTo>
                      <a:pt x="288" y="404"/>
                    </a:lnTo>
                    <a:lnTo>
                      <a:pt x="270" y="416"/>
                    </a:lnTo>
                    <a:lnTo>
                      <a:pt x="247" y="430"/>
                    </a:lnTo>
                    <a:lnTo>
                      <a:pt x="224" y="441"/>
                    </a:lnTo>
                    <a:lnTo>
                      <a:pt x="206" y="450"/>
                    </a:lnTo>
                    <a:lnTo>
                      <a:pt x="192" y="461"/>
                    </a:lnTo>
                    <a:lnTo>
                      <a:pt x="174" y="473"/>
                    </a:lnTo>
                    <a:lnTo>
                      <a:pt x="160" y="484"/>
                    </a:lnTo>
                    <a:lnTo>
                      <a:pt x="142" y="493"/>
                    </a:lnTo>
                    <a:lnTo>
                      <a:pt x="128" y="504"/>
                    </a:lnTo>
                    <a:lnTo>
                      <a:pt x="115" y="513"/>
                    </a:lnTo>
                    <a:lnTo>
                      <a:pt x="96" y="518"/>
                    </a:lnTo>
                    <a:lnTo>
                      <a:pt x="87" y="530"/>
                    </a:lnTo>
                    <a:lnTo>
                      <a:pt x="73" y="535"/>
                    </a:lnTo>
                    <a:lnTo>
                      <a:pt x="60" y="541"/>
                    </a:lnTo>
                    <a:lnTo>
                      <a:pt x="51" y="550"/>
                    </a:lnTo>
                    <a:lnTo>
                      <a:pt x="41" y="555"/>
                    </a:lnTo>
                    <a:lnTo>
                      <a:pt x="32" y="561"/>
                    </a:lnTo>
                    <a:lnTo>
                      <a:pt x="23" y="567"/>
                    </a:lnTo>
                    <a:lnTo>
                      <a:pt x="14" y="575"/>
                    </a:lnTo>
                    <a:lnTo>
                      <a:pt x="5" y="581"/>
                    </a:lnTo>
                    <a:lnTo>
                      <a:pt x="0" y="584"/>
                    </a:lnTo>
                    <a:lnTo>
                      <a:pt x="0" y="587"/>
                    </a:lnTo>
                    <a:lnTo>
                      <a:pt x="0" y="584"/>
                    </a:lnTo>
                    <a:lnTo>
                      <a:pt x="14" y="581"/>
                    </a:lnTo>
                    <a:lnTo>
                      <a:pt x="23" y="575"/>
                    </a:lnTo>
                    <a:lnTo>
                      <a:pt x="41" y="564"/>
                    </a:lnTo>
                    <a:lnTo>
                      <a:pt x="51" y="555"/>
                    </a:lnTo>
                    <a:lnTo>
                      <a:pt x="64" y="550"/>
                    </a:lnTo>
                    <a:lnTo>
                      <a:pt x="73" y="541"/>
                    </a:lnTo>
                    <a:lnTo>
                      <a:pt x="92" y="535"/>
                    </a:lnTo>
                    <a:lnTo>
                      <a:pt x="105" y="524"/>
                    </a:lnTo>
                    <a:lnTo>
                      <a:pt x="119" y="518"/>
                    </a:lnTo>
                    <a:lnTo>
                      <a:pt x="137" y="507"/>
                    </a:lnTo>
                    <a:lnTo>
                      <a:pt x="156" y="498"/>
                    </a:lnTo>
                    <a:lnTo>
                      <a:pt x="174" y="490"/>
                    </a:lnTo>
                    <a:lnTo>
                      <a:pt x="192" y="481"/>
                    </a:lnTo>
                    <a:lnTo>
                      <a:pt x="211" y="470"/>
                    </a:lnTo>
                    <a:lnTo>
                      <a:pt x="238" y="461"/>
                    </a:lnTo>
                    <a:lnTo>
                      <a:pt x="256" y="450"/>
                    </a:lnTo>
                    <a:lnTo>
                      <a:pt x="275" y="439"/>
                    </a:lnTo>
                    <a:lnTo>
                      <a:pt x="302" y="427"/>
                    </a:lnTo>
                    <a:lnTo>
                      <a:pt x="325" y="416"/>
                    </a:lnTo>
                    <a:lnTo>
                      <a:pt x="343" y="404"/>
                    </a:lnTo>
                    <a:lnTo>
                      <a:pt x="371" y="393"/>
                    </a:lnTo>
                    <a:lnTo>
                      <a:pt x="393" y="382"/>
                    </a:lnTo>
                    <a:lnTo>
                      <a:pt x="421" y="370"/>
                    </a:lnTo>
                    <a:lnTo>
                      <a:pt x="448" y="356"/>
                    </a:lnTo>
                    <a:lnTo>
                      <a:pt x="476" y="347"/>
                    </a:lnTo>
                    <a:lnTo>
                      <a:pt x="494" y="333"/>
                    </a:lnTo>
                    <a:lnTo>
                      <a:pt x="526" y="322"/>
                    </a:lnTo>
                    <a:lnTo>
                      <a:pt x="549" y="310"/>
                    </a:lnTo>
                    <a:lnTo>
                      <a:pt x="576" y="299"/>
                    </a:lnTo>
                    <a:lnTo>
                      <a:pt x="604" y="285"/>
                    </a:lnTo>
                    <a:lnTo>
                      <a:pt x="631" y="273"/>
                    </a:lnTo>
                    <a:lnTo>
                      <a:pt x="654" y="262"/>
                    </a:lnTo>
                    <a:lnTo>
                      <a:pt x="681" y="251"/>
                    </a:lnTo>
                    <a:lnTo>
                      <a:pt x="709" y="236"/>
                    </a:lnTo>
                    <a:lnTo>
                      <a:pt x="741" y="228"/>
                    </a:lnTo>
                    <a:lnTo>
                      <a:pt x="759" y="214"/>
                    </a:lnTo>
                    <a:lnTo>
                      <a:pt x="786" y="202"/>
                    </a:lnTo>
                    <a:lnTo>
                      <a:pt x="814" y="188"/>
                    </a:lnTo>
                    <a:lnTo>
                      <a:pt x="841" y="179"/>
                    </a:lnTo>
                    <a:lnTo>
                      <a:pt x="864" y="165"/>
                    </a:lnTo>
                    <a:lnTo>
                      <a:pt x="892" y="154"/>
                    </a:lnTo>
                    <a:lnTo>
                      <a:pt x="910" y="142"/>
                    </a:lnTo>
                    <a:lnTo>
                      <a:pt x="937" y="134"/>
                    </a:lnTo>
                    <a:lnTo>
                      <a:pt x="960" y="123"/>
                    </a:lnTo>
                    <a:lnTo>
                      <a:pt x="983" y="111"/>
                    </a:lnTo>
                    <a:lnTo>
                      <a:pt x="1006" y="103"/>
                    </a:lnTo>
                    <a:lnTo>
                      <a:pt x="1029" y="91"/>
                    </a:lnTo>
                    <a:lnTo>
                      <a:pt x="1051" y="83"/>
                    </a:lnTo>
                    <a:lnTo>
                      <a:pt x="1070" y="74"/>
                    </a:lnTo>
                    <a:lnTo>
                      <a:pt x="1088" y="66"/>
                    </a:lnTo>
                    <a:lnTo>
                      <a:pt x="1111" y="57"/>
                    </a:lnTo>
                    <a:lnTo>
                      <a:pt x="1129" y="48"/>
                    </a:lnTo>
                    <a:lnTo>
                      <a:pt x="1143" y="40"/>
                    </a:lnTo>
                    <a:lnTo>
                      <a:pt x="1157" y="34"/>
                    </a:lnTo>
                    <a:lnTo>
                      <a:pt x="1175" y="26"/>
                    </a:lnTo>
                    <a:lnTo>
                      <a:pt x="1189" y="20"/>
                    </a:lnTo>
                    <a:lnTo>
                      <a:pt x="1202" y="14"/>
                    </a:lnTo>
                    <a:lnTo>
                      <a:pt x="1216" y="9"/>
                    </a:lnTo>
                    <a:lnTo>
                      <a:pt x="1230" y="3"/>
                    </a:lnTo>
                    <a:lnTo>
                      <a:pt x="1239" y="0"/>
                    </a:lnTo>
                    <a:lnTo>
                      <a:pt x="1129"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1" name="Freeform 75"/>
              <p:cNvSpPr>
                <a:spLocks/>
              </p:cNvSpPr>
              <p:nvPr>
                <p:custDataLst>
                  <p:tags r:id="rId104"/>
                </p:custDataLst>
              </p:nvPr>
            </p:nvSpPr>
            <p:spPr bwMode="gray">
              <a:xfrm>
                <a:off x="1799" y="813"/>
                <a:ext cx="740" cy="393"/>
              </a:xfrm>
              <a:custGeom>
                <a:avLst/>
                <a:gdLst>
                  <a:gd name="T0" fmla="*/ 787 w 722"/>
                  <a:gd name="T1" fmla="*/ 13 h 430"/>
                  <a:gd name="T2" fmla="*/ 732 w 722"/>
                  <a:gd name="T3" fmla="*/ 20 h 430"/>
                  <a:gd name="T4" fmla="*/ 682 w 722"/>
                  <a:gd name="T5" fmla="*/ 26 h 430"/>
                  <a:gd name="T6" fmla="*/ 633 w 722"/>
                  <a:gd name="T7" fmla="*/ 34 h 430"/>
                  <a:gd name="T8" fmla="*/ 589 w 722"/>
                  <a:gd name="T9" fmla="*/ 40 h 430"/>
                  <a:gd name="T10" fmla="*/ 541 w 722"/>
                  <a:gd name="T11" fmla="*/ 47 h 430"/>
                  <a:gd name="T12" fmla="*/ 496 w 722"/>
                  <a:gd name="T13" fmla="*/ 53 h 430"/>
                  <a:gd name="T14" fmla="*/ 455 w 722"/>
                  <a:gd name="T15" fmla="*/ 59 h 430"/>
                  <a:gd name="T16" fmla="*/ 412 w 722"/>
                  <a:gd name="T17" fmla="*/ 67 h 430"/>
                  <a:gd name="T18" fmla="*/ 369 w 722"/>
                  <a:gd name="T19" fmla="*/ 73 h 430"/>
                  <a:gd name="T20" fmla="*/ 325 w 722"/>
                  <a:gd name="T21" fmla="*/ 80 h 430"/>
                  <a:gd name="T22" fmla="*/ 294 w 722"/>
                  <a:gd name="T23" fmla="*/ 85 h 430"/>
                  <a:gd name="T24" fmla="*/ 258 w 722"/>
                  <a:gd name="T25" fmla="*/ 92 h 430"/>
                  <a:gd name="T26" fmla="*/ 227 w 722"/>
                  <a:gd name="T27" fmla="*/ 98 h 430"/>
                  <a:gd name="T28" fmla="*/ 192 w 722"/>
                  <a:gd name="T29" fmla="*/ 103 h 430"/>
                  <a:gd name="T30" fmla="*/ 159 w 722"/>
                  <a:gd name="T31" fmla="*/ 110 h 430"/>
                  <a:gd name="T32" fmla="*/ 135 w 722"/>
                  <a:gd name="T33" fmla="*/ 115 h 430"/>
                  <a:gd name="T34" fmla="*/ 108 w 722"/>
                  <a:gd name="T35" fmla="*/ 120 h 430"/>
                  <a:gd name="T36" fmla="*/ 88 w 722"/>
                  <a:gd name="T37" fmla="*/ 122 h 430"/>
                  <a:gd name="T38" fmla="*/ 63 w 722"/>
                  <a:gd name="T39" fmla="*/ 127 h 430"/>
                  <a:gd name="T40" fmla="*/ 44 w 722"/>
                  <a:gd name="T41" fmla="*/ 133 h 430"/>
                  <a:gd name="T42" fmla="*/ 14 w 722"/>
                  <a:gd name="T43" fmla="*/ 139 h 430"/>
                  <a:gd name="T44" fmla="*/ 0 w 722"/>
                  <a:gd name="T45" fmla="*/ 144 h 430"/>
                  <a:gd name="T46" fmla="*/ 4 w 722"/>
                  <a:gd name="T47" fmla="*/ 145 h 430"/>
                  <a:gd name="T48" fmla="*/ 18 w 722"/>
                  <a:gd name="T49" fmla="*/ 142 h 430"/>
                  <a:gd name="T50" fmla="*/ 58 w 722"/>
                  <a:gd name="T51" fmla="*/ 138 h 430"/>
                  <a:gd name="T52" fmla="*/ 97 w 722"/>
                  <a:gd name="T53" fmla="*/ 133 h 430"/>
                  <a:gd name="T54" fmla="*/ 122 w 722"/>
                  <a:gd name="T55" fmla="*/ 129 h 430"/>
                  <a:gd name="T56" fmla="*/ 159 w 722"/>
                  <a:gd name="T57" fmla="*/ 126 h 430"/>
                  <a:gd name="T58" fmla="*/ 183 w 722"/>
                  <a:gd name="T59" fmla="*/ 121 h 430"/>
                  <a:gd name="T60" fmla="*/ 214 w 722"/>
                  <a:gd name="T61" fmla="*/ 115 h 430"/>
                  <a:gd name="T62" fmla="*/ 252 w 722"/>
                  <a:gd name="T63" fmla="*/ 109 h 430"/>
                  <a:gd name="T64" fmla="*/ 294 w 722"/>
                  <a:gd name="T65" fmla="*/ 102 h 430"/>
                  <a:gd name="T66" fmla="*/ 325 w 722"/>
                  <a:gd name="T67" fmla="*/ 97 h 430"/>
                  <a:gd name="T68" fmla="*/ 369 w 722"/>
                  <a:gd name="T69" fmla="*/ 92 h 430"/>
                  <a:gd name="T70" fmla="*/ 412 w 722"/>
                  <a:gd name="T71" fmla="*/ 84 h 430"/>
                  <a:gd name="T72" fmla="*/ 455 w 722"/>
                  <a:gd name="T73" fmla="*/ 78 h 430"/>
                  <a:gd name="T74" fmla="*/ 492 w 722"/>
                  <a:gd name="T75" fmla="*/ 71 h 430"/>
                  <a:gd name="T76" fmla="*/ 534 w 722"/>
                  <a:gd name="T77" fmla="*/ 65 h 430"/>
                  <a:gd name="T78" fmla="*/ 578 w 722"/>
                  <a:gd name="T79" fmla="*/ 59 h 430"/>
                  <a:gd name="T80" fmla="*/ 621 w 722"/>
                  <a:gd name="T81" fmla="*/ 53 h 430"/>
                  <a:gd name="T82" fmla="*/ 656 w 722"/>
                  <a:gd name="T83" fmla="*/ 47 h 430"/>
                  <a:gd name="T84" fmla="*/ 694 w 722"/>
                  <a:gd name="T85" fmla="*/ 40 h 430"/>
                  <a:gd name="T86" fmla="*/ 736 w 722"/>
                  <a:gd name="T87" fmla="*/ 34 h 430"/>
                  <a:gd name="T88" fmla="*/ 773 w 722"/>
                  <a:gd name="T89" fmla="*/ 28 h 430"/>
                  <a:gd name="T90" fmla="*/ 810 w 722"/>
                  <a:gd name="T91" fmla="*/ 24 h 430"/>
                  <a:gd name="T92" fmla="*/ 841 w 722"/>
                  <a:gd name="T93" fmla="*/ 18 h 430"/>
                  <a:gd name="T94" fmla="*/ 877 w 722"/>
                  <a:gd name="T95" fmla="*/ 14 h 430"/>
                  <a:gd name="T96" fmla="*/ 910 w 722"/>
                  <a:gd name="T97" fmla="*/ 9 h 430"/>
                  <a:gd name="T98" fmla="*/ 935 w 722"/>
                  <a:gd name="T99" fmla="*/ 5 h 430"/>
                  <a:gd name="T100" fmla="*/ 969 w 722"/>
                  <a:gd name="T101" fmla="*/ 0 h 430"/>
                  <a:gd name="T102" fmla="*/ 810 w 722"/>
                  <a:gd name="T103" fmla="*/ 11 h 4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2"/>
                  <a:gd name="T157" fmla="*/ 0 h 430"/>
                  <a:gd name="T158" fmla="*/ 722 w 722"/>
                  <a:gd name="T159" fmla="*/ 430 h 4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2" h="430">
                    <a:moveTo>
                      <a:pt x="603" y="29"/>
                    </a:moveTo>
                    <a:lnTo>
                      <a:pt x="585" y="37"/>
                    </a:lnTo>
                    <a:lnTo>
                      <a:pt x="567" y="46"/>
                    </a:lnTo>
                    <a:lnTo>
                      <a:pt x="544" y="57"/>
                    </a:lnTo>
                    <a:lnTo>
                      <a:pt x="525" y="66"/>
                    </a:lnTo>
                    <a:lnTo>
                      <a:pt x="507" y="77"/>
                    </a:lnTo>
                    <a:lnTo>
                      <a:pt x="489" y="89"/>
                    </a:lnTo>
                    <a:lnTo>
                      <a:pt x="471" y="97"/>
                    </a:lnTo>
                    <a:lnTo>
                      <a:pt x="457" y="109"/>
                    </a:lnTo>
                    <a:lnTo>
                      <a:pt x="439" y="117"/>
                    </a:lnTo>
                    <a:lnTo>
                      <a:pt x="420" y="129"/>
                    </a:lnTo>
                    <a:lnTo>
                      <a:pt x="402" y="137"/>
                    </a:lnTo>
                    <a:lnTo>
                      <a:pt x="388" y="148"/>
                    </a:lnTo>
                    <a:lnTo>
                      <a:pt x="370" y="157"/>
                    </a:lnTo>
                    <a:lnTo>
                      <a:pt x="352" y="168"/>
                    </a:lnTo>
                    <a:lnTo>
                      <a:pt x="338" y="177"/>
                    </a:lnTo>
                    <a:lnTo>
                      <a:pt x="320" y="188"/>
                    </a:lnTo>
                    <a:lnTo>
                      <a:pt x="306" y="197"/>
                    </a:lnTo>
                    <a:lnTo>
                      <a:pt x="288" y="205"/>
                    </a:lnTo>
                    <a:lnTo>
                      <a:pt x="274" y="217"/>
                    </a:lnTo>
                    <a:lnTo>
                      <a:pt x="260" y="225"/>
                    </a:lnTo>
                    <a:lnTo>
                      <a:pt x="242" y="234"/>
                    </a:lnTo>
                    <a:lnTo>
                      <a:pt x="233" y="242"/>
                    </a:lnTo>
                    <a:lnTo>
                      <a:pt x="219" y="254"/>
                    </a:lnTo>
                    <a:lnTo>
                      <a:pt x="206" y="262"/>
                    </a:lnTo>
                    <a:lnTo>
                      <a:pt x="192" y="271"/>
                    </a:lnTo>
                    <a:lnTo>
                      <a:pt x="178" y="279"/>
                    </a:lnTo>
                    <a:lnTo>
                      <a:pt x="169" y="288"/>
                    </a:lnTo>
                    <a:lnTo>
                      <a:pt x="155" y="297"/>
                    </a:lnTo>
                    <a:lnTo>
                      <a:pt x="142" y="305"/>
                    </a:lnTo>
                    <a:lnTo>
                      <a:pt x="132" y="314"/>
                    </a:lnTo>
                    <a:lnTo>
                      <a:pt x="119" y="322"/>
                    </a:lnTo>
                    <a:lnTo>
                      <a:pt x="114" y="331"/>
                    </a:lnTo>
                    <a:lnTo>
                      <a:pt x="100" y="336"/>
                    </a:lnTo>
                    <a:lnTo>
                      <a:pt x="91" y="345"/>
                    </a:lnTo>
                    <a:lnTo>
                      <a:pt x="82" y="351"/>
                    </a:lnTo>
                    <a:lnTo>
                      <a:pt x="73" y="356"/>
                    </a:lnTo>
                    <a:lnTo>
                      <a:pt x="64" y="362"/>
                    </a:lnTo>
                    <a:lnTo>
                      <a:pt x="55" y="368"/>
                    </a:lnTo>
                    <a:lnTo>
                      <a:pt x="50" y="376"/>
                    </a:lnTo>
                    <a:lnTo>
                      <a:pt x="46" y="382"/>
                    </a:lnTo>
                    <a:lnTo>
                      <a:pt x="32" y="391"/>
                    </a:lnTo>
                    <a:lnTo>
                      <a:pt x="18" y="402"/>
                    </a:lnTo>
                    <a:lnTo>
                      <a:pt x="14" y="408"/>
                    </a:lnTo>
                    <a:lnTo>
                      <a:pt x="4" y="416"/>
                    </a:lnTo>
                    <a:lnTo>
                      <a:pt x="0" y="425"/>
                    </a:lnTo>
                    <a:lnTo>
                      <a:pt x="0" y="430"/>
                    </a:lnTo>
                    <a:lnTo>
                      <a:pt x="4" y="428"/>
                    </a:lnTo>
                    <a:lnTo>
                      <a:pt x="14" y="425"/>
                    </a:lnTo>
                    <a:lnTo>
                      <a:pt x="18" y="419"/>
                    </a:lnTo>
                    <a:lnTo>
                      <a:pt x="36" y="413"/>
                    </a:lnTo>
                    <a:lnTo>
                      <a:pt x="46" y="405"/>
                    </a:lnTo>
                    <a:lnTo>
                      <a:pt x="64" y="396"/>
                    </a:lnTo>
                    <a:lnTo>
                      <a:pt x="73" y="391"/>
                    </a:lnTo>
                    <a:lnTo>
                      <a:pt x="82" y="385"/>
                    </a:lnTo>
                    <a:lnTo>
                      <a:pt x="91" y="379"/>
                    </a:lnTo>
                    <a:lnTo>
                      <a:pt x="105" y="373"/>
                    </a:lnTo>
                    <a:lnTo>
                      <a:pt x="119" y="368"/>
                    </a:lnTo>
                    <a:lnTo>
                      <a:pt x="128" y="356"/>
                    </a:lnTo>
                    <a:lnTo>
                      <a:pt x="137" y="353"/>
                    </a:lnTo>
                    <a:lnTo>
                      <a:pt x="151" y="345"/>
                    </a:lnTo>
                    <a:lnTo>
                      <a:pt x="160" y="336"/>
                    </a:lnTo>
                    <a:lnTo>
                      <a:pt x="174" y="328"/>
                    </a:lnTo>
                    <a:lnTo>
                      <a:pt x="187" y="319"/>
                    </a:lnTo>
                    <a:lnTo>
                      <a:pt x="206" y="314"/>
                    </a:lnTo>
                    <a:lnTo>
                      <a:pt x="219" y="302"/>
                    </a:lnTo>
                    <a:lnTo>
                      <a:pt x="233" y="297"/>
                    </a:lnTo>
                    <a:lnTo>
                      <a:pt x="242" y="285"/>
                    </a:lnTo>
                    <a:lnTo>
                      <a:pt x="260" y="277"/>
                    </a:lnTo>
                    <a:lnTo>
                      <a:pt x="274" y="268"/>
                    </a:lnTo>
                    <a:lnTo>
                      <a:pt x="292" y="260"/>
                    </a:lnTo>
                    <a:lnTo>
                      <a:pt x="306" y="248"/>
                    </a:lnTo>
                    <a:lnTo>
                      <a:pt x="320" y="240"/>
                    </a:lnTo>
                    <a:lnTo>
                      <a:pt x="338" y="228"/>
                    </a:lnTo>
                    <a:lnTo>
                      <a:pt x="352" y="220"/>
                    </a:lnTo>
                    <a:lnTo>
                      <a:pt x="366" y="211"/>
                    </a:lnTo>
                    <a:lnTo>
                      <a:pt x="384" y="205"/>
                    </a:lnTo>
                    <a:lnTo>
                      <a:pt x="398" y="194"/>
                    </a:lnTo>
                    <a:lnTo>
                      <a:pt x="416" y="185"/>
                    </a:lnTo>
                    <a:lnTo>
                      <a:pt x="430" y="174"/>
                    </a:lnTo>
                    <a:lnTo>
                      <a:pt x="448" y="166"/>
                    </a:lnTo>
                    <a:lnTo>
                      <a:pt x="462" y="154"/>
                    </a:lnTo>
                    <a:lnTo>
                      <a:pt x="480" y="146"/>
                    </a:lnTo>
                    <a:lnTo>
                      <a:pt x="489" y="137"/>
                    </a:lnTo>
                    <a:lnTo>
                      <a:pt x="507" y="129"/>
                    </a:lnTo>
                    <a:lnTo>
                      <a:pt x="516" y="117"/>
                    </a:lnTo>
                    <a:lnTo>
                      <a:pt x="535" y="109"/>
                    </a:lnTo>
                    <a:lnTo>
                      <a:pt x="548" y="100"/>
                    </a:lnTo>
                    <a:lnTo>
                      <a:pt x="567" y="94"/>
                    </a:lnTo>
                    <a:lnTo>
                      <a:pt x="576" y="83"/>
                    </a:lnTo>
                    <a:lnTo>
                      <a:pt x="589" y="77"/>
                    </a:lnTo>
                    <a:lnTo>
                      <a:pt x="603" y="69"/>
                    </a:lnTo>
                    <a:lnTo>
                      <a:pt x="617" y="60"/>
                    </a:lnTo>
                    <a:lnTo>
                      <a:pt x="626" y="54"/>
                    </a:lnTo>
                    <a:lnTo>
                      <a:pt x="640" y="46"/>
                    </a:lnTo>
                    <a:lnTo>
                      <a:pt x="653" y="40"/>
                    </a:lnTo>
                    <a:lnTo>
                      <a:pt x="663" y="35"/>
                    </a:lnTo>
                    <a:lnTo>
                      <a:pt x="676" y="26"/>
                    </a:lnTo>
                    <a:lnTo>
                      <a:pt x="685" y="20"/>
                    </a:lnTo>
                    <a:lnTo>
                      <a:pt x="695" y="12"/>
                    </a:lnTo>
                    <a:lnTo>
                      <a:pt x="704" y="9"/>
                    </a:lnTo>
                    <a:lnTo>
                      <a:pt x="722" y="0"/>
                    </a:lnTo>
                    <a:lnTo>
                      <a:pt x="603" y="2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2" name="Freeform 76"/>
              <p:cNvSpPr>
                <a:spLocks/>
              </p:cNvSpPr>
              <p:nvPr>
                <p:custDataLst>
                  <p:tags r:id="rId105"/>
                </p:custDataLst>
              </p:nvPr>
            </p:nvSpPr>
            <p:spPr bwMode="gray">
              <a:xfrm>
                <a:off x="2900" y="679"/>
                <a:ext cx="1128" cy="487"/>
              </a:xfrm>
              <a:custGeom>
                <a:avLst/>
                <a:gdLst>
                  <a:gd name="T0" fmla="*/ 225 w 1101"/>
                  <a:gd name="T1" fmla="*/ 18 h 533"/>
                  <a:gd name="T2" fmla="*/ 318 w 1101"/>
                  <a:gd name="T3" fmla="*/ 28 h 533"/>
                  <a:gd name="T4" fmla="*/ 416 w 1101"/>
                  <a:gd name="T5" fmla="*/ 38 h 533"/>
                  <a:gd name="T6" fmla="*/ 507 w 1101"/>
                  <a:gd name="T7" fmla="*/ 48 h 533"/>
                  <a:gd name="T8" fmla="*/ 604 w 1101"/>
                  <a:gd name="T9" fmla="*/ 60 h 533"/>
                  <a:gd name="T10" fmla="*/ 703 w 1101"/>
                  <a:gd name="T11" fmla="*/ 72 h 533"/>
                  <a:gd name="T12" fmla="*/ 795 w 1101"/>
                  <a:gd name="T13" fmla="*/ 84 h 533"/>
                  <a:gd name="T14" fmla="*/ 881 w 1101"/>
                  <a:gd name="T15" fmla="*/ 94 h 533"/>
                  <a:gd name="T16" fmla="*/ 958 w 1101"/>
                  <a:gd name="T17" fmla="*/ 105 h 533"/>
                  <a:gd name="T18" fmla="*/ 1045 w 1101"/>
                  <a:gd name="T19" fmla="*/ 117 h 533"/>
                  <a:gd name="T20" fmla="*/ 1125 w 1101"/>
                  <a:gd name="T21" fmla="*/ 127 h 533"/>
                  <a:gd name="T22" fmla="*/ 1192 w 1101"/>
                  <a:gd name="T23" fmla="*/ 137 h 533"/>
                  <a:gd name="T24" fmla="*/ 1254 w 1101"/>
                  <a:gd name="T25" fmla="*/ 145 h 533"/>
                  <a:gd name="T26" fmla="*/ 1314 w 1101"/>
                  <a:gd name="T27" fmla="*/ 154 h 533"/>
                  <a:gd name="T28" fmla="*/ 1369 w 1101"/>
                  <a:gd name="T29" fmla="*/ 162 h 533"/>
                  <a:gd name="T30" fmla="*/ 1406 w 1101"/>
                  <a:gd name="T31" fmla="*/ 169 h 533"/>
                  <a:gd name="T32" fmla="*/ 1455 w 1101"/>
                  <a:gd name="T33" fmla="*/ 176 h 533"/>
                  <a:gd name="T34" fmla="*/ 1472 w 1101"/>
                  <a:gd name="T35" fmla="*/ 181 h 533"/>
                  <a:gd name="T36" fmla="*/ 1442 w 1101"/>
                  <a:gd name="T37" fmla="*/ 177 h 533"/>
                  <a:gd name="T38" fmla="*/ 1413 w 1101"/>
                  <a:gd name="T39" fmla="*/ 172 h 533"/>
                  <a:gd name="T40" fmla="*/ 1364 w 1101"/>
                  <a:gd name="T41" fmla="*/ 166 h 533"/>
                  <a:gd name="T42" fmla="*/ 1301 w 1101"/>
                  <a:gd name="T43" fmla="*/ 160 h 533"/>
                  <a:gd name="T44" fmla="*/ 1241 w 1101"/>
                  <a:gd name="T45" fmla="*/ 152 h 533"/>
                  <a:gd name="T46" fmla="*/ 1167 w 1101"/>
                  <a:gd name="T47" fmla="*/ 143 h 533"/>
                  <a:gd name="T48" fmla="*/ 1086 w 1101"/>
                  <a:gd name="T49" fmla="*/ 132 h 533"/>
                  <a:gd name="T50" fmla="*/ 1001 w 1101"/>
                  <a:gd name="T51" fmla="*/ 123 h 533"/>
                  <a:gd name="T52" fmla="*/ 911 w 1101"/>
                  <a:gd name="T53" fmla="*/ 112 h 533"/>
                  <a:gd name="T54" fmla="*/ 813 w 1101"/>
                  <a:gd name="T55" fmla="*/ 101 h 533"/>
                  <a:gd name="T56" fmla="*/ 721 w 1101"/>
                  <a:gd name="T57" fmla="*/ 92 h 533"/>
                  <a:gd name="T58" fmla="*/ 624 w 1101"/>
                  <a:gd name="T59" fmla="*/ 80 h 533"/>
                  <a:gd name="T60" fmla="*/ 538 w 1101"/>
                  <a:gd name="T61" fmla="*/ 69 h 533"/>
                  <a:gd name="T62" fmla="*/ 446 w 1101"/>
                  <a:gd name="T63" fmla="*/ 58 h 533"/>
                  <a:gd name="T64" fmla="*/ 361 w 1101"/>
                  <a:gd name="T65" fmla="*/ 48 h 533"/>
                  <a:gd name="T66" fmla="*/ 281 w 1101"/>
                  <a:gd name="T67" fmla="*/ 37 h 533"/>
                  <a:gd name="T68" fmla="*/ 207 w 1101"/>
                  <a:gd name="T69" fmla="*/ 31 h 533"/>
                  <a:gd name="T70" fmla="*/ 141 w 1101"/>
                  <a:gd name="T71" fmla="*/ 22 h 533"/>
                  <a:gd name="T72" fmla="*/ 92 w 1101"/>
                  <a:gd name="T73" fmla="*/ 15 h 533"/>
                  <a:gd name="T74" fmla="*/ 44 w 1101"/>
                  <a:gd name="T75" fmla="*/ 8 h 533"/>
                  <a:gd name="T76" fmla="*/ 9 w 1101"/>
                  <a:gd name="T77" fmla="*/ 5 h 533"/>
                  <a:gd name="T78" fmla="*/ 0 w 1101"/>
                  <a:gd name="T79" fmla="*/ 0 h 533"/>
                  <a:gd name="T80" fmla="*/ 39 w 1101"/>
                  <a:gd name="T81" fmla="*/ 3 h 533"/>
                  <a:gd name="T82" fmla="*/ 92 w 1101"/>
                  <a:gd name="T83" fmla="*/ 5 h 533"/>
                  <a:gd name="T84" fmla="*/ 135 w 1101"/>
                  <a:gd name="T85" fmla="*/ 10 h 533"/>
                  <a:gd name="T86" fmla="*/ 164 w 1101"/>
                  <a:gd name="T87" fmla="*/ 13 h 5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01"/>
                  <a:gd name="T133" fmla="*/ 0 h 533"/>
                  <a:gd name="T134" fmla="*/ 1101 w 1101"/>
                  <a:gd name="T135" fmla="*/ 533 h 5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01" h="533">
                    <a:moveTo>
                      <a:pt x="128" y="37"/>
                    </a:moveTo>
                    <a:lnTo>
                      <a:pt x="151" y="46"/>
                    </a:lnTo>
                    <a:lnTo>
                      <a:pt x="169" y="54"/>
                    </a:lnTo>
                    <a:lnTo>
                      <a:pt x="192" y="63"/>
                    </a:lnTo>
                    <a:lnTo>
                      <a:pt x="215" y="74"/>
                    </a:lnTo>
                    <a:lnTo>
                      <a:pt x="238" y="83"/>
                    </a:lnTo>
                    <a:lnTo>
                      <a:pt x="265" y="91"/>
                    </a:lnTo>
                    <a:lnTo>
                      <a:pt x="283" y="103"/>
                    </a:lnTo>
                    <a:lnTo>
                      <a:pt x="311" y="114"/>
                    </a:lnTo>
                    <a:lnTo>
                      <a:pt x="334" y="126"/>
                    </a:lnTo>
                    <a:lnTo>
                      <a:pt x="352" y="137"/>
                    </a:lnTo>
                    <a:lnTo>
                      <a:pt x="379" y="146"/>
                    </a:lnTo>
                    <a:lnTo>
                      <a:pt x="407" y="157"/>
                    </a:lnTo>
                    <a:lnTo>
                      <a:pt x="425" y="165"/>
                    </a:lnTo>
                    <a:lnTo>
                      <a:pt x="452" y="180"/>
                    </a:lnTo>
                    <a:lnTo>
                      <a:pt x="475" y="191"/>
                    </a:lnTo>
                    <a:lnTo>
                      <a:pt x="503" y="202"/>
                    </a:lnTo>
                    <a:lnTo>
                      <a:pt x="525" y="214"/>
                    </a:lnTo>
                    <a:lnTo>
                      <a:pt x="548" y="222"/>
                    </a:lnTo>
                    <a:lnTo>
                      <a:pt x="571" y="237"/>
                    </a:lnTo>
                    <a:lnTo>
                      <a:pt x="594" y="245"/>
                    </a:lnTo>
                    <a:lnTo>
                      <a:pt x="612" y="257"/>
                    </a:lnTo>
                    <a:lnTo>
                      <a:pt x="635" y="268"/>
                    </a:lnTo>
                    <a:lnTo>
                      <a:pt x="658" y="279"/>
                    </a:lnTo>
                    <a:lnTo>
                      <a:pt x="681" y="291"/>
                    </a:lnTo>
                    <a:lnTo>
                      <a:pt x="699" y="299"/>
                    </a:lnTo>
                    <a:lnTo>
                      <a:pt x="717" y="311"/>
                    </a:lnTo>
                    <a:lnTo>
                      <a:pt x="740" y="322"/>
                    </a:lnTo>
                    <a:lnTo>
                      <a:pt x="763" y="333"/>
                    </a:lnTo>
                    <a:lnTo>
                      <a:pt x="781" y="345"/>
                    </a:lnTo>
                    <a:lnTo>
                      <a:pt x="800" y="353"/>
                    </a:lnTo>
                    <a:lnTo>
                      <a:pt x="823" y="365"/>
                    </a:lnTo>
                    <a:lnTo>
                      <a:pt x="841" y="376"/>
                    </a:lnTo>
                    <a:lnTo>
                      <a:pt x="859" y="385"/>
                    </a:lnTo>
                    <a:lnTo>
                      <a:pt x="877" y="393"/>
                    </a:lnTo>
                    <a:lnTo>
                      <a:pt x="891" y="405"/>
                    </a:lnTo>
                    <a:lnTo>
                      <a:pt x="909" y="413"/>
                    </a:lnTo>
                    <a:lnTo>
                      <a:pt x="923" y="422"/>
                    </a:lnTo>
                    <a:lnTo>
                      <a:pt x="937" y="430"/>
                    </a:lnTo>
                    <a:lnTo>
                      <a:pt x="955" y="439"/>
                    </a:lnTo>
                    <a:lnTo>
                      <a:pt x="969" y="450"/>
                    </a:lnTo>
                    <a:lnTo>
                      <a:pt x="982" y="456"/>
                    </a:lnTo>
                    <a:lnTo>
                      <a:pt x="996" y="464"/>
                    </a:lnTo>
                    <a:lnTo>
                      <a:pt x="1010" y="473"/>
                    </a:lnTo>
                    <a:lnTo>
                      <a:pt x="1024" y="479"/>
                    </a:lnTo>
                    <a:lnTo>
                      <a:pt x="1028" y="484"/>
                    </a:lnTo>
                    <a:lnTo>
                      <a:pt x="1042" y="493"/>
                    </a:lnTo>
                    <a:lnTo>
                      <a:pt x="1051" y="499"/>
                    </a:lnTo>
                    <a:lnTo>
                      <a:pt x="1060" y="504"/>
                    </a:lnTo>
                    <a:lnTo>
                      <a:pt x="1078" y="516"/>
                    </a:lnTo>
                    <a:lnTo>
                      <a:pt x="1088" y="521"/>
                    </a:lnTo>
                    <a:lnTo>
                      <a:pt x="1097" y="527"/>
                    </a:lnTo>
                    <a:lnTo>
                      <a:pt x="1101" y="530"/>
                    </a:lnTo>
                    <a:lnTo>
                      <a:pt x="1101" y="533"/>
                    </a:lnTo>
                    <a:lnTo>
                      <a:pt x="1097" y="533"/>
                    </a:lnTo>
                    <a:lnTo>
                      <a:pt x="1092" y="527"/>
                    </a:lnTo>
                    <a:lnTo>
                      <a:pt x="1078" y="524"/>
                    </a:lnTo>
                    <a:lnTo>
                      <a:pt x="1074" y="521"/>
                    </a:lnTo>
                    <a:lnTo>
                      <a:pt x="1065" y="516"/>
                    </a:lnTo>
                    <a:lnTo>
                      <a:pt x="1056" y="510"/>
                    </a:lnTo>
                    <a:lnTo>
                      <a:pt x="1042" y="504"/>
                    </a:lnTo>
                    <a:lnTo>
                      <a:pt x="1033" y="501"/>
                    </a:lnTo>
                    <a:lnTo>
                      <a:pt x="1019" y="493"/>
                    </a:lnTo>
                    <a:lnTo>
                      <a:pt x="1005" y="487"/>
                    </a:lnTo>
                    <a:lnTo>
                      <a:pt x="992" y="482"/>
                    </a:lnTo>
                    <a:lnTo>
                      <a:pt x="973" y="473"/>
                    </a:lnTo>
                    <a:lnTo>
                      <a:pt x="960" y="467"/>
                    </a:lnTo>
                    <a:lnTo>
                      <a:pt x="941" y="459"/>
                    </a:lnTo>
                    <a:lnTo>
                      <a:pt x="928" y="450"/>
                    </a:lnTo>
                    <a:lnTo>
                      <a:pt x="909" y="442"/>
                    </a:lnTo>
                    <a:lnTo>
                      <a:pt x="891" y="433"/>
                    </a:lnTo>
                    <a:lnTo>
                      <a:pt x="873" y="425"/>
                    </a:lnTo>
                    <a:lnTo>
                      <a:pt x="855" y="416"/>
                    </a:lnTo>
                    <a:lnTo>
                      <a:pt x="832" y="405"/>
                    </a:lnTo>
                    <a:lnTo>
                      <a:pt x="813" y="393"/>
                    </a:lnTo>
                    <a:lnTo>
                      <a:pt x="791" y="385"/>
                    </a:lnTo>
                    <a:lnTo>
                      <a:pt x="768" y="376"/>
                    </a:lnTo>
                    <a:lnTo>
                      <a:pt x="749" y="365"/>
                    </a:lnTo>
                    <a:lnTo>
                      <a:pt x="722" y="353"/>
                    </a:lnTo>
                    <a:lnTo>
                      <a:pt x="699" y="342"/>
                    </a:lnTo>
                    <a:lnTo>
                      <a:pt x="681" y="333"/>
                    </a:lnTo>
                    <a:lnTo>
                      <a:pt x="658" y="322"/>
                    </a:lnTo>
                    <a:lnTo>
                      <a:pt x="631" y="311"/>
                    </a:lnTo>
                    <a:lnTo>
                      <a:pt x="608" y="299"/>
                    </a:lnTo>
                    <a:lnTo>
                      <a:pt x="589" y="291"/>
                    </a:lnTo>
                    <a:lnTo>
                      <a:pt x="562" y="279"/>
                    </a:lnTo>
                    <a:lnTo>
                      <a:pt x="539" y="268"/>
                    </a:lnTo>
                    <a:lnTo>
                      <a:pt x="516" y="257"/>
                    </a:lnTo>
                    <a:lnTo>
                      <a:pt x="493" y="248"/>
                    </a:lnTo>
                    <a:lnTo>
                      <a:pt x="466" y="237"/>
                    </a:lnTo>
                    <a:lnTo>
                      <a:pt x="443" y="225"/>
                    </a:lnTo>
                    <a:lnTo>
                      <a:pt x="425" y="214"/>
                    </a:lnTo>
                    <a:lnTo>
                      <a:pt x="402" y="202"/>
                    </a:lnTo>
                    <a:lnTo>
                      <a:pt x="375" y="194"/>
                    </a:lnTo>
                    <a:lnTo>
                      <a:pt x="352" y="183"/>
                    </a:lnTo>
                    <a:lnTo>
                      <a:pt x="334" y="171"/>
                    </a:lnTo>
                    <a:lnTo>
                      <a:pt x="315" y="160"/>
                    </a:lnTo>
                    <a:lnTo>
                      <a:pt x="292" y="151"/>
                    </a:lnTo>
                    <a:lnTo>
                      <a:pt x="270" y="140"/>
                    </a:lnTo>
                    <a:lnTo>
                      <a:pt x="247" y="128"/>
                    </a:lnTo>
                    <a:lnTo>
                      <a:pt x="228" y="123"/>
                    </a:lnTo>
                    <a:lnTo>
                      <a:pt x="210" y="111"/>
                    </a:lnTo>
                    <a:lnTo>
                      <a:pt x="187" y="103"/>
                    </a:lnTo>
                    <a:lnTo>
                      <a:pt x="174" y="94"/>
                    </a:lnTo>
                    <a:lnTo>
                      <a:pt x="155" y="89"/>
                    </a:lnTo>
                    <a:lnTo>
                      <a:pt x="142" y="77"/>
                    </a:lnTo>
                    <a:lnTo>
                      <a:pt x="123" y="69"/>
                    </a:lnTo>
                    <a:lnTo>
                      <a:pt x="105" y="63"/>
                    </a:lnTo>
                    <a:lnTo>
                      <a:pt x="96" y="54"/>
                    </a:lnTo>
                    <a:lnTo>
                      <a:pt x="78" y="49"/>
                    </a:lnTo>
                    <a:lnTo>
                      <a:pt x="68" y="43"/>
                    </a:lnTo>
                    <a:lnTo>
                      <a:pt x="59" y="34"/>
                    </a:lnTo>
                    <a:lnTo>
                      <a:pt x="46" y="32"/>
                    </a:lnTo>
                    <a:lnTo>
                      <a:pt x="32" y="23"/>
                    </a:lnTo>
                    <a:lnTo>
                      <a:pt x="27" y="20"/>
                    </a:lnTo>
                    <a:lnTo>
                      <a:pt x="18" y="17"/>
                    </a:lnTo>
                    <a:lnTo>
                      <a:pt x="9" y="12"/>
                    </a:lnTo>
                    <a:lnTo>
                      <a:pt x="4" y="9"/>
                    </a:lnTo>
                    <a:lnTo>
                      <a:pt x="0" y="3"/>
                    </a:lnTo>
                    <a:lnTo>
                      <a:pt x="0" y="0"/>
                    </a:lnTo>
                    <a:lnTo>
                      <a:pt x="9" y="0"/>
                    </a:lnTo>
                    <a:lnTo>
                      <a:pt x="18" y="0"/>
                    </a:lnTo>
                    <a:lnTo>
                      <a:pt x="27" y="3"/>
                    </a:lnTo>
                    <a:lnTo>
                      <a:pt x="46" y="6"/>
                    </a:lnTo>
                    <a:lnTo>
                      <a:pt x="59" y="12"/>
                    </a:lnTo>
                    <a:lnTo>
                      <a:pt x="68" y="15"/>
                    </a:lnTo>
                    <a:lnTo>
                      <a:pt x="78" y="20"/>
                    </a:lnTo>
                    <a:lnTo>
                      <a:pt x="91" y="23"/>
                    </a:lnTo>
                    <a:lnTo>
                      <a:pt x="100" y="29"/>
                    </a:lnTo>
                    <a:lnTo>
                      <a:pt x="114" y="32"/>
                    </a:lnTo>
                    <a:lnTo>
                      <a:pt x="119" y="34"/>
                    </a:lnTo>
                    <a:lnTo>
                      <a:pt x="123" y="37"/>
                    </a:lnTo>
                    <a:lnTo>
                      <a:pt x="128"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3" name="Freeform 77"/>
              <p:cNvSpPr>
                <a:spLocks/>
              </p:cNvSpPr>
              <p:nvPr>
                <p:custDataLst>
                  <p:tags r:id="rId106"/>
                </p:custDataLst>
              </p:nvPr>
            </p:nvSpPr>
            <p:spPr bwMode="gray">
              <a:xfrm>
                <a:off x="1476" y="993"/>
                <a:ext cx="2230" cy="143"/>
              </a:xfrm>
              <a:custGeom>
                <a:avLst/>
                <a:gdLst>
                  <a:gd name="T0" fmla="*/ 338 w 2175"/>
                  <a:gd name="T1" fmla="*/ 19 h 156"/>
                  <a:gd name="T2" fmla="*/ 559 w 2175"/>
                  <a:gd name="T3" fmla="*/ 28 h 156"/>
                  <a:gd name="T4" fmla="*/ 776 w 2175"/>
                  <a:gd name="T5" fmla="*/ 37 h 156"/>
                  <a:gd name="T6" fmla="*/ 994 w 2175"/>
                  <a:gd name="T7" fmla="*/ 42 h 156"/>
                  <a:gd name="T8" fmla="*/ 1195 w 2175"/>
                  <a:gd name="T9" fmla="*/ 47 h 156"/>
                  <a:gd name="T10" fmla="*/ 1400 w 2175"/>
                  <a:gd name="T11" fmla="*/ 51 h 156"/>
                  <a:gd name="T12" fmla="*/ 1591 w 2175"/>
                  <a:gd name="T13" fmla="*/ 53 h 156"/>
                  <a:gd name="T14" fmla="*/ 1762 w 2175"/>
                  <a:gd name="T15" fmla="*/ 56 h 156"/>
                  <a:gd name="T16" fmla="*/ 1935 w 2175"/>
                  <a:gd name="T17" fmla="*/ 56 h 156"/>
                  <a:gd name="T18" fmla="*/ 2094 w 2175"/>
                  <a:gd name="T19" fmla="*/ 56 h 156"/>
                  <a:gd name="T20" fmla="*/ 2249 w 2175"/>
                  <a:gd name="T21" fmla="*/ 56 h 156"/>
                  <a:gd name="T22" fmla="*/ 2386 w 2175"/>
                  <a:gd name="T23" fmla="*/ 52 h 156"/>
                  <a:gd name="T24" fmla="*/ 2503 w 2175"/>
                  <a:gd name="T25" fmla="*/ 51 h 156"/>
                  <a:gd name="T26" fmla="*/ 2612 w 2175"/>
                  <a:gd name="T27" fmla="*/ 48 h 156"/>
                  <a:gd name="T28" fmla="*/ 2713 w 2175"/>
                  <a:gd name="T29" fmla="*/ 47 h 156"/>
                  <a:gd name="T30" fmla="*/ 2793 w 2175"/>
                  <a:gd name="T31" fmla="*/ 44 h 156"/>
                  <a:gd name="T32" fmla="*/ 2849 w 2175"/>
                  <a:gd name="T33" fmla="*/ 41 h 156"/>
                  <a:gd name="T34" fmla="*/ 2900 w 2175"/>
                  <a:gd name="T35" fmla="*/ 39 h 156"/>
                  <a:gd name="T36" fmla="*/ 2928 w 2175"/>
                  <a:gd name="T37" fmla="*/ 39 h 156"/>
                  <a:gd name="T38" fmla="*/ 2911 w 2175"/>
                  <a:gd name="T39" fmla="*/ 39 h 156"/>
                  <a:gd name="T40" fmla="*/ 2867 w 2175"/>
                  <a:gd name="T41" fmla="*/ 39 h 156"/>
                  <a:gd name="T42" fmla="*/ 2817 w 2175"/>
                  <a:gd name="T43" fmla="*/ 39 h 156"/>
                  <a:gd name="T44" fmla="*/ 2769 w 2175"/>
                  <a:gd name="T45" fmla="*/ 39 h 156"/>
                  <a:gd name="T46" fmla="*/ 2706 w 2175"/>
                  <a:gd name="T47" fmla="*/ 39 h 156"/>
                  <a:gd name="T48" fmla="*/ 2638 w 2175"/>
                  <a:gd name="T49" fmla="*/ 39 h 156"/>
                  <a:gd name="T50" fmla="*/ 2565 w 2175"/>
                  <a:gd name="T51" fmla="*/ 41 h 156"/>
                  <a:gd name="T52" fmla="*/ 2484 w 2175"/>
                  <a:gd name="T53" fmla="*/ 41 h 156"/>
                  <a:gd name="T54" fmla="*/ 2398 w 2175"/>
                  <a:gd name="T55" fmla="*/ 42 h 156"/>
                  <a:gd name="T56" fmla="*/ 2312 w 2175"/>
                  <a:gd name="T57" fmla="*/ 42 h 156"/>
                  <a:gd name="T58" fmla="*/ 2226 w 2175"/>
                  <a:gd name="T59" fmla="*/ 42 h 156"/>
                  <a:gd name="T60" fmla="*/ 2133 w 2175"/>
                  <a:gd name="T61" fmla="*/ 42 h 156"/>
                  <a:gd name="T62" fmla="*/ 2038 w 2175"/>
                  <a:gd name="T63" fmla="*/ 42 h 156"/>
                  <a:gd name="T64" fmla="*/ 1935 w 2175"/>
                  <a:gd name="T65" fmla="*/ 42 h 156"/>
                  <a:gd name="T66" fmla="*/ 1841 w 2175"/>
                  <a:gd name="T67" fmla="*/ 42 h 156"/>
                  <a:gd name="T68" fmla="*/ 1745 w 2175"/>
                  <a:gd name="T69" fmla="*/ 41 h 156"/>
                  <a:gd name="T70" fmla="*/ 1653 w 2175"/>
                  <a:gd name="T71" fmla="*/ 41 h 156"/>
                  <a:gd name="T72" fmla="*/ 1553 w 2175"/>
                  <a:gd name="T73" fmla="*/ 39 h 156"/>
                  <a:gd name="T74" fmla="*/ 1454 w 2175"/>
                  <a:gd name="T75" fmla="*/ 39 h 156"/>
                  <a:gd name="T76" fmla="*/ 1369 w 2175"/>
                  <a:gd name="T77" fmla="*/ 37 h 156"/>
                  <a:gd name="T78" fmla="*/ 1276 w 2175"/>
                  <a:gd name="T79" fmla="*/ 36 h 156"/>
                  <a:gd name="T80" fmla="*/ 1195 w 2175"/>
                  <a:gd name="T81" fmla="*/ 35 h 156"/>
                  <a:gd name="T82" fmla="*/ 1117 w 2175"/>
                  <a:gd name="T83" fmla="*/ 32 h 156"/>
                  <a:gd name="T84" fmla="*/ 1029 w 2175"/>
                  <a:gd name="T85" fmla="*/ 29 h 156"/>
                  <a:gd name="T86" fmla="*/ 949 w 2175"/>
                  <a:gd name="T87" fmla="*/ 28 h 156"/>
                  <a:gd name="T88" fmla="*/ 868 w 2175"/>
                  <a:gd name="T89" fmla="*/ 24 h 156"/>
                  <a:gd name="T90" fmla="*/ 790 w 2175"/>
                  <a:gd name="T91" fmla="*/ 23 h 156"/>
                  <a:gd name="T92" fmla="*/ 708 w 2175"/>
                  <a:gd name="T93" fmla="*/ 20 h 156"/>
                  <a:gd name="T94" fmla="*/ 633 w 2175"/>
                  <a:gd name="T95" fmla="*/ 17 h 156"/>
                  <a:gd name="T96" fmla="*/ 559 w 2175"/>
                  <a:gd name="T97" fmla="*/ 15 h 156"/>
                  <a:gd name="T98" fmla="*/ 492 w 2175"/>
                  <a:gd name="T99" fmla="*/ 15 h 156"/>
                  <a:gd name="T100" fmla="*/ 424 w 2175"/>
                  <a:gd name="T101" fmla="*/ 13 h 156"/>
                  <a:gd name="T102" fmla="*/ 364 w 2175"/>
                  <a:gd name="T103" fmla="*/ 12 h 156"/>
                  <a:gd name="T104" fmla="*/ 302 w 2175"/>
                  <a:gd name="T105" fmla="*/ 8 h 156"/>
                  <a:gd name="T106" fmla="*/ 246 w 2175"/>
                  <a:gd name="T107" fmla="*/ 7 h 156"/>
                  <a:gd name="T108" fmla="*/ 191 w 2175"/>
                  <a:gd name="T109" fmla="*/ 6 h 156"/>
                  <a:gd name="T110" fmla="*/ 147 w 2175"/>
                  <a:gd name="T111" fmla="*/ 5 h 156"/>
                  <a:gd name="T112" fmla="*/ 102 w 2175"/>
                  <a:gd name="T113" fmla="*/ 5 h 156"/>
                  <a:gd name="T114" fmla="*/ 53 w 2175"/>
                  <a:gd name="T115" fmla="*/ 5 h 156"/>
                  <a:gd name="T116" fmla="*/ 4 w 2175"/>
                  <a:gd name="T117" fmla="*/ 0 h 156"/>
                  <a:gd name="T118" fmla="*/ 191 w 2175"/>
                  <a:gd name="T119" fmla="*/ 13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75"/>
                  <a:gd name="T181" fmla="*/ 0 h 156"/>
                  <a:gd name="T182" fmla="*/ 2175 w 2175"/>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75" h="156">
                    <a:moveTo>
                      <a:pt x="141" y="34"/>
                    </a:moveTo>
                    <a:lnTo>
                      <a:pt x="196" y="43"/>
                    </a:lnTo>
                    <a:lnTo>
                      <a:pt x="251" y="54"/>
                    </a:lnTo>
                    <a:lnTo>
                      <a:pt x="306" y="63"/>
                    </a:lnTo>
                    <a:lnTo>
                      <a:pt x="361" y="74"/>
                    </a:lnTo>
                    <a:lnTo>
                      <a:pt x="415" y="80"/>
                    </a:lnTo>
                    <a:lnTo>
                      <a:pt x="470" y="88"/>
                    </a:lnTo>
                    <a:lnTo>
                      <a:pt x="521" y="97"/>
                    </a:lnTo>
                    <a:lnTo>
                      <a:pt x="575" y="105"/>
                    </a:lnTo>
                    <a:lnTo>
                      <a:pt x="630" y="111"/>
                    </a:lnTo>
                    <a:lnTo>
                      <a:pt x="685" y="117"/>
                    </a:lnTo>
                    <a:lnTo>
                      <a:pt x="735" y="119"/>
                    </a:lnTo>
                    <a:lnTo>
                      <a:pt x="786" y="128"/>
                    </a:lnTo>
                    <a:lnTo>
                      <a:pt x="836" y="128"/>
                    </a:lnTo>
                    <a:lnTo>
                      <a:pt x="886" y="134"/>
                    </a:lnTo>
                    <a:lnTo>
                      <a:pt x="936" y="137"/>
                    </a:lnTo>
                    <a:lnTo>
                      <a:pt x="991" y="142"/>
                    </a:lnTo>
                    <a:lnTo>
                      <a:pt x="1037" y="145"/>
                    </a:lnTo>
                    <a:lnTo>
                      <a:pt x="1083" y="148"/>
                    </a:lnTo>
                    <a:lnTo>
                      <a:pt x="1128" y="148"/>
                    </a:lnTo>
                    <a:lnTo>
                      <a:pt x="1179" y="151"/>
                    </a:lnTo>
                    <a:lnTo>
                      <a:pt x="1220" y="154"/>
                    </a:lnTo>
                    <a:lnTo>
                      <a:pt x="1266" y="156"/>
                    </a:lnTo>
                    <a:lnTo>
                      <a:pt x="1307" y="156"/>
                    </a:lnTo>
                    <a:lnTo>
                      <a:pt x="1352" y="156"/>
                    </a:lnTo>
                    <a:lnTo>
                      <a:pt x="1398" y="156"/>
                    </a:lnTo>
                    <a:lnTo>
                      <a:pt x="1435" y="156"/>
                    </a:lnTo>
                    <a:lnTo>
                      <a:pt x="1476" y="156"/>
                    </a:lnTo>
                    <a:lnTo>
                      <a:pt x="1517" y="156"/>
                    </a:lnTo>
                    <a:lnTo>
                      <a:pt x="1553" y="156"/>
                    </a:lnTo>
                    <a:lnTo>
                      <a:pt x="1590" y="156"/>
                    </a:lnTo>
                    <a:lnTo>
                      <a:pt x="1631" y="156"/>
                    </a:lnTo>
                    <a:lnTo>
                      <a:pt x="1668" y="156"/>
                    </a:lnTo>
                    <a:lnTo>
                      <a:pt x="1704" y="151"/>
                    </a:lnTo>
                    <a:lnTo>
                      <a:pt x="1732" y="148"/>
                    </a:lnTo>
                    <a:lnTo>
                      <a:pt x="1768" y="148"/>
                    </a:lnTo>
                    <a:lnTo>
                      <a:pt x="1796" y="148"/>
                    </a:lnTo>
                    <a:lnTo>
                      <a:pt x="1828" y="145"/>
                    </a:lnTo>
                    <a:lnTo>
                      <a:pt x="1855" y="145"/>
                    </a:lnTo>
                    <a:lnTo>
                      <a:pt x="1887" y="139"/>
                    </a:lnTo>
                    <a:lnTo>
                      <a:pt x="1914" y="139"/>
                    </a:lnTo>
                    <a:lnTo>
                      <a:pt x="1937" y="137"/>
                    </a:lnTo>
                    <a:lnTo>
                      <a:pt x="1965" y="137"/>
                    </a:lnTo>
                    <a:lnTo>
                      <a:pt x="1988" y="134"/>
                    </a:lnTo>
                    <a:lnTo>
                      <a:pt x="2010" y="131"/>
                    </a:lnTo>
                    <a:lnTo>
                      <a:pt x="2029" y="128"/>
                    </a:lnTo>
                    <a:lnTo>
                      <a:pt x="2052" y="128"/>
                    </a:lnTo>
                    <a:lnTo>
                      <a:pt x="2070" y="125"/>
                    </a:lnTo>
                    <a:lnTo>
                      <a:pt x="2088" y="122"/>
                    </a:lnTo>
                    <a:lnTo>
                      <a:pt x="2102" y="119"/>
                    </a:lnTo>
                    <a:lnTo>
                      <a:pt x="2111" y="117"/>
                    </a:lnTo>
                    <a:lnTo>
                      <a:pt x="2125" y="117"/>
                    </a:lnTo>
                    <a:lnTo>
                      <a:pt x="2138" y="114"/>
                    </a:lnTo>
                    <a:lnTo>
                      <a:pt x="2148" y="114"/>
                    </a:lnTo>
                    <a:lnTo>
                      <a:pt x="2157" y="111"/>
                    </a:lnTo>
                    <a:lnTo>
                      <a:pt x="2161" y="111"/>
                    </a:lnTo>
                    <a:lnTo>
                      <a:pt x="2170" y="111"/>
                    </a:lnTo>
                    <a:lnTo>
                      <a:pt x="2175" y="105"/>
                    </a:lnTo>
                    <a:lnTo>
                      <a:pt x="2170" y="105"/>
                    </a:lnTo>
                    <a:lnTo>
                      <a:pt x="2157" y="108"/>
                    </a:lnTo>
                    <a:lnTo>
                      <a:pt x="2148" y="108"/>
                    </a:lnTo>
                    <a:lnTo>
                      <a:pt x="2138" y="108"/>
                    </a:lnTo>
                    <a:lnTo>
                      <a:pt x="2125" y="108"/>
                    </a:lnTo>
                    <a:lnTo>
                      <a:pt x="2116" y="108"/>
                    </a:lnTo>
                    <a:lnTo>
                      <a:pt x="2102" y="108"/>
                    </a:lnTo>
                    <a:lnTo>
                      <a:pt x="2088" y="111"/>
                    </a:lnTo>
                    <a:lnTo>
                      <a:pt x="2079" y="111"/>
                    </a:lnTo>
                    <a:lnTo>
                      <a:pt x="2070" y="111"/>
                    </a:lnTo>
                    <a:lnTo>
                      <a:pt x="2052" y="111"/>
                    </a:lnTo>
                    <a:lnTo>
                      <a:pt x="2033" y="111"/>
                    </a:lnTo>
                    <a:lnTo>
                      <a:pt x="2020" y="114"/>
                    </a:lnTo>
                    <a:lnTo>
                      <a:pt x="2006" y="114"/>
                    </a:lnTo>
                    <a:lnTo>
                      <a:pt x="1988" y="114"/>
                    </a:lnTo>
                    <a:lnTo>
                      <a:pt x="1969" y="114"/>
                    </a:lnTo>
                    <a:lnTo>
                      <a:pt x="1956" y="114"/>
                    </a:lnTo>
                    <a:lnTo>
                      <a:pt x="1942" y="117"/>
                    </a:lnTo>
                    <a:lnTo>
                      <a:pt x="1919" y="117"/>
                    </a:lnTo>
                    <a:lnTo>
                      <a:pt x="1901" y="117"/>
                    </a:lnTo>
                    <a:lnTo>
                      <a:pt x="1882" y="117"/>
                    </a:lnTo>
                    <a:lnTo>
                      <a:pt x="1864" y="117"/>
                    </a:lnTo>
                    <a:lnTo>
                      <a:pt x="1841" y="117"/>
                    </a:lnTo>
                    <a:lnTo>
                      <a:pt x="1823" y="117"/>
                    </a:lnTo>
                    <a:lnTo>
                      <a:pt x="1800" y="117"/>
                    </a:lnTo>
                    <a:lnTo>
                      <a:pt x="1777" y="119"/>
                    </a:lnTo>
                    <a:lnTo>
                      <a:pt x="1759" y="119"/>
                    </a:lnTo>
                    <a:lnTo>
                      <a:pt x="1741" y="119"/>
                    </a:lnTo>
                    <a:lnTo>
                      <a:pt x="1713" y="119"/>
                    </a:lnTo>
                    <a:lnTo>
                      <a:pt x="1695" y="119"/>
                    </a:lnTo>
                    <a:lnTo>
                      <a:pt x="1672" y="119"/>
                    </a:lnTo>
                    <a:lnTo>
                      <a:pt x="1649" y="119"/>
                    </a:lnTo>
                    <a:lnTo>
                      <a:pt x="1627" y="119"/>
                    </a:lnTo>
                    <a:lnTo>
                      <a:pt x="1604" y="122"/>
                    </a:lnTo>
                    <a:lnTo>
                      <a:pt x="1581" y="119"/>
                    </a:lnTo>
                    <a:lnTo>
                      <a:pt x="1558" y="119"/>
                    </a:lnTo>
                    <a:lnTo>
                      <a:pt x="1535" y="119"/>
                    </a:lnTo>
                    <a:lnTo>
                      <a:pt x="1512" y="119"/>
                    </a:lnTo>
                    <a:lnTo>
                      <a:pt x="1485" y="119"/>
                    </a:lnTo>
                    <a:lnTo>
                      <a:pt x="1462" y="119"/>
                    </a:lnTo>
                    <a:lnTo>
                      <a:pt x="1435" y="119"/>
                    </a:lnTo>
                    <a:lnTo>
                      <a:pt x="1416" y="119"/>
                    </a:lnTo>
                    <a:lnTo>
                      <a:pt x="1389" y="119"/>
                    </a:lnTo>
                    <a:lnTo>
                      <a:pt x="1366" y="119"/>
                    </a:lnTo>
                    <a:lnTo>
                      <a:pt x="1343" y="117"/>
                    </a:lnTo>
                    <a:lnTo>
                      <a:pt x="1316" y="117"/>
                    </a:lnTo>
                    <a:lnTo>
                      <a:pt x="1293" y="117"/>
                    </a:lnTo>
                    <a:lnTo>
                      <a:pt x="1270" y="117"/>
                    </a:lnTo>
                    <a:lnTo>
                      <a:pt x="1247" y="117"/>
                    </a:lnTo>
                    <a:lnTo>
                      <a:pt x="1224" y="117"/>
                    </a:lnTo>
                    <a:lnTo>
                      <a:pt x="1197" y="114"/>
                    </a:lnTo>
                    <a:lnTo>
                      <a:pt x="1174" y="114"/>
                    </a:lnTo>
                    <a:lnTo>
                      <a:pt x="1151" y="114"/>
                    </a:lnTo>
                    <a:lnTo>
                      <a:pt x="1124" y="114"/>
                    </a:lnTo>
                    <a:lnTo>
                      <a:pt x="1101" y="111"/>
                    </a:lnTo>
                    <a:lnTo>
                      <a:pt x="1078" y="111"/>
                    </a:lnTo>
                    <a:lnTo>
                      <a:pt x="1055" y="108"/>
                    </a:lnTo>
                    <a:lnTo>
                      <a:pt x="1037" y="108"/>
                    </a:lnTo>
                    <a:lnTo>
                      <a:pt x="1014" y="105"/>
                    </a:lnTo>
                    <a:lnTo>
                      <a:pt x="991" y="105"/>
                    </a:lnTo>
                    <a:lnTo>
                      <a:pt x="968" y="102"/>
                    </a:lnTo>
                    <a:lnTo>
                      <a:pt x="946" y="100"/>
                    </a:lnTo>
                    <a:lnTo>
                      <a:pt x="923" y="100"/>
                    </a:lnTo>
                    <a:lnTo>
                      <a:pt x="904" y="97"/>
                    </a:lnTo>
                    <a:lnTo>
                      <a:pt x="886" y="97"/>
                    </a:lnTo>
                    <a:lnTo>
                      <a:pt x="868" y="94"/>
                    </a:lnTo>
                    <a:lnTo>
                      <a:pt x="845" y="91"/>
                    </a:lnTo>
                    <a:lnTo>
                      <a:pt x="827" y="91"/>
                    </a:lnTo>
                    <a:lnTo>
                      <a:pt x="804" y="85"/>
                    </a:lnTo>
                    <a:lnTo>
                      <a:pt x="786" y="85"/>
                    </a:lnTo>
                    <a:lnTo>
                      <a:pt x="763" y="82"/>
                    </a:lnTo>
                    <a:lnTo>
                      <a:pt x="745" y="80"/>
                    </a:lnTo>
                    <a:lnTo>
                      <a:pt x="726" y="77"/>
                    </a:lnTo>
                    <a:lnTo>
                      <a:pt x="703" y="77"/>
                    </a:lnTo>
                    <a:lnTo>
                      <a:pt x="681" y="74"/>
                    </a:lnTo>
                    <a:lnTo>
                      <a:pt x="662" y="71"/>
                    </a:lnTo>
                    <a:lnTo>
                      <a:pt x="644" y="68"/>
                    </a:lnTo>
                    <a:lnTo>
                      <a:pt x="626" y="68"/>
                    </a:lnTo>
                    <a:lnTo>
                      <a:pt x="603" y="65"/>
                    </a:lnTo>
                    <a:lnTo>
                      <a:pt x="585" y="63"/>
                    </a:lnTo>
                    <a:lnTo>
                      <a:pt x="566" y="60"/>
                    </a:lnTo>
                    <a:lnTo>
                      <a:pt x="548" y="60"/>
                    </a:lnTo>
                    <a:lnTo>
                      <a:pt x="525" y="57"/>
                    </a:lnTo>
                    <a:lnTo>
                      <a:pt x="507" y="54"/>
                    </a:lnTo>
                    <a:lnTo>
                      <a:pt x="489" y="51"/>
                    </a:lnTo>
                    <a:lnTo>
                      <a:pt x="470" y="51"/>
                    </a:lnTo>
                    <a:lnTo>
                      <a:pt x="452" y="48"/>
                    </a:lnTo>
                    <a:lnTo>
                      <a:pt x="434" y="45"/>
                    </a:lnTo>
                    <a:lnTo>
                      <a:pt x="415" y="43"/>
                    </a:lnTo>
                    <a:lnTo>
                      <a:pt x="402" y="43"/>
                    </a:lnTo>
                    <a:lnTo>
                      <a:pt x="383" y="40"/>
                    </a:lnTo>
                    <a:lnTo>
                      <a:pt x="365" y="40"/>
                    </a:lnTo>
                    <a:lnTo>
                      <a:pt x="351" y="37"/>
                    </a:lnTo>
                    <a:lnTo>
                      <a:pt x="333" y="34"/>
                    </a:lnTo>
                    <a:lnTo>
                      <a:pt x="315" y="34"/>
                    </a:lnTo>
                    <a:lnTo>
                      <a:pt x="301" y="31"/>
                    </a:lnTo>
                    <a:lnTo>
                      <a:pt x="283" y="31"/>
                    </a:lnTo>
                    <a:lnTo>
                      <a:pt x="269" y="31"/>
                    </a:lnTo>
                    <a:lnTo>
                      <a:pt x="256" y="28"/>
                    </a:lnTo>
                    <a:lnTo>
                      <a:pt x="237" y="28"/>
                    </a:lnTo>
                    <a:lnTo>
                      <a:pt x="224" y="23"/>
                    </a:lnTo>
                    <a:lnTo>
                      <a:pt x="210" y="23"/>
                    </a:lnTo>
                    <a:lnTo>
                      <a:pt x="196" y="20"/>
                    </a:lnTo>
                    <a:lnTo>
                      <a:pt x="182" y="20"/>
                    </a:lnTo>
                    <a:lnTo>
                      <a:pt x="169" y="17"/>
                    </a:lnTo>
                    <a:lnTo>
                      <a:pt x="160" y="17"/>
                    </a:lnTo>
                    <a:lnTo>
                      <a:pt x="141" y="17"/>
                    </a:lnTo>
                    <a:lnTo>
                      <a:pt x="132" y="14"/>
                    </a:lnTo>
                    <a:lnTo>
                      <a:pt x="123" y="11"/>
                    </a:lnTo>
                    <a:lnTo>
                      <a:pt x="109" y="11"/>
                    </a:lnTo>
                    <a:lnTo>
                      <a:pt x="100" y="11"/>
                    </a:lnTo>
                    <a:lnTo>
                      <a:pt x="86" y="8"/>
                    </a:lnTo>
                    <a:lnTo>
                      <a:pt x="77" y="8"/>
                    </a:lnTo>
                    <a:lnTo>
                      <a:pt x="73" y="8"/>
                    </a:lnTo>
                    <a:lnTo>
                      <a:pt x="54" y="8"/>
                    </a:lnTo>
                    <a:lnTo>
                      <a:pt x="41" y="8"/>
                    </a:lnTo>
                    <a:lnTo>
                      <a:pt x="27" y="3"/>
                    </a:lnTo>
                    <a:lnTo>
                      <a:pt x="18" y="3"/>
                    </a:lnTo>
                    <a:lnTo>
                      <a:pt x="4" y="0"/>
                    </a:lnTo>
                    <a:lnTo>
                      <a:pt x="0" y="0"/>
                    </a:lnTo>
                    <a:lnTo>
                      <a:pt x="141" y="3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4" name="Freeform 78"/>
              <p:cNvSpPr>
                <a:spLocks/>
              </p:cNvSpPr>
              <p:nvPr>
                <p:custDataLst>
                  <p:tags r:id="rId107"/>
                </p:custDataLst>
              </p:nvPr>
            </p:nvSpPr>
            <p:spPr bwMode="gray">
              <a:xfrm>
                <a:off x="1775" y="917"/>
                <a:ext cx="1172" cy="102"/>
              </a:xfrm>
              <a:custGeom>
                <a:avLst/>
                <a:gdLst>
                  <a:gd name="T0" fmla="*/ 148 w 1143"/>
                  <a:gd name="T1" fmla="*/ 6 h 111"/>
                  <a:gd name="T2" fmla="*/ 221 w 1143"/>
                  <a:gd name="T3" fmla="*/ 6 h 111"/>
                  <a:gd name="T4" fmla="*/ 309 w 1143"/>
                  <a:gd name="T5" fmla="*/ 10 h 111"/>
                  <a:gd name="T6" fmla="*/ 388 w 1143"/>
                  <a:gd name="T7" fmla="*/ 13 h 111"/>
                  <a:gd name="T8" fmla="*/ 483 w 1143"/>
                  <a:gd name="T9" fmla="*/ 15 h 111"/>
                  <a:gd name="T10" fmla="*/ 575 w 1143"/>
                  <a:gd name="T11" fmla="*/ 17 h 111"/>
                  <a:gd name="T12" fmla="*/ 669 w 1143"/>
                  <a:gd name="T13" fmla="*/ 18 h 111"/>
                  <a:gd name="T14" fmla="*/ 759 w 1143"/>
                  <a:gd name="T15" fmla="*/ 20 h 111"/>
                  <a:gd name="T16" fmla="*/ 853 w 1143"/>
                  <a:gd name="T17" fmla="*/ 22 h 111"/>
                  <a:gd name="T18" fmla="*/ 945 w 1143"/>
                  <a:gd name="T19" fmla="*/ 23 h 111"/>
                  <a:gd name="T20" fmla="*/ 1029 w 1143"/>
                  <a:gd name="T21" fmla="*/ 25 h 111"/>
                  <a:gd name="T22" fmla="*/ 1118 w 1143"/>
                  <a:gd name="T23" fmla="*/ 25 h 111"/>
                  <a:gd name="T24" fmla="*/ 1200 w 1143"/>
                  <a:gd name="T25" fmla="*/ 26 h 111"/>
                  <a:gd name="T26" fmla="*/ 1272 w 1143"/>
                  <a:gd name="T27" fmla="*/ 26 h 111"/>
                  <a:gd name="T28" fmla="*/ 1333 w 1143"/>
                  <a:gd name="T29" fmla="*/ 26 h 111"/>
                  <a:gd name="T30" fmla="*/ 1396 w 1143"/>
                  <a:gd name="T31" fmla="*/ 26 h 111"/>
                  <a:gd name="T32" fmla="*/ 1450 w 1143"/>
                  <a:gd name="T33" fmla="*/ 26 h 111"/>
                  <a:gd name="T34" fmla="*/ 1494 w 1143"/>
                  <a:gd name="T35" fmla="*/ 28 h 111"/>
                  <a:gd name="T36" fmla="*/ 1543 w 1143"/>
                  <a:gd name="T37" fmla="*/ 28 h 111"/>
                  <a:gd name="T38" fmla="*/ 1520 w 1143"/>
                  <a:gd name="T39" fmla="*/ 32 h 111"/>
                  <a:gd name="T40" fmla="*/ 1470 w 1143"/>
                  <a:gd name="T41" fmla="*/ 34 h 111"/>
                  <a:gd name="T42" fmla="*/ 1414 w 1143"/>
                  <a:gd name="T43" fmla="*/ 37 h 111"/>
                  <a:gd name="T44" fmla="*/ 1352 w 1143"/>
                  <a:gd name="T45" fmla="*/ 37 h 111"/>
                  <a:gd name="T46" fmla="*/ 1279 w 1143"/>
                  <a:gd name="T47" fmla="*/ 38 h 111"/>
                  <a:gd name="T48" fmla="*/ 1230 w 1143"/>
                  <a:gd name="T49" fmla="*/ 40 h 111"/>
                  <a:gd name="T50" fmla="*/ 1186 w 1143"/>
                  <a:gd name="T51" fmla="*/ 40 h 111"/>
                  <a:gd name="T52" fmla="*/ 1143 w 1143"/>
                  <a:gd name="T53" fmla="*/ 40 h 111"/>
                  <a:gd name="T54" fmla="*/ 1100 w 1143"/>
                  <a:gd name="T55" fmla="*/ 40 h 111"/>
                  <a:gd name="T56" fmla="*/ 1049 w 1143"/>
                  <a:gd name="T57" fmla="*/ 40 h 111"/>
                  <a:gd name="T58" fmla="*/ 1006 w 1143"/>
                  <a:gd name="T59" fmla="*/ 40 h 111"/>
                  <a:gd name="T60" fmla="*/ 951 w 1143"/>
                  <a:gd name="T61" fmla="*/ 38 h 111"/>
                  <a:gd name="T62" fmla="*/ 897 w 1143"/>
                  <a:gd name="T63" fmla="*/ 38 h 111"/>
                  <a:gd name="T64" fmla="*/ 845 w 1143"/>
                  <a:gd name="T65" fmla="*/ 37 h 111"/>
                  <a:gd name="T66" fmla="*/ 791 w 1143"/>
                  <a:gd name="T67" fmla="*/ 37 h 111"/>
                  <a:gd name="T68" fmla="*/ 729 w 1143"/>
                  <a:gd name="T69" fmla="*/ 37 h 111"/>
                  <a:gd name="T70" fmla="*/ 673 w 1143"/>
                  <a:gd name="T71" fmla="*/ 34 h 111"/>
                  <a:gd name="T72" fmla="*/ 611 w 1143"/>
                  <a:gd name="T73" fmla="*/ 32 h 111"/>
                  <a:gd name="T74" fmla="*/ 555 w 1143"/>
                  <a:gd name="T75" fmla="*/ 28 h 111"/>
                  <a:gd name="T76" fmla="*/ 499 w 1143"/>
                  <a:gd name="T77" fmla="*/ 28 h 111"/>
                  <a:gd name="T78" fmla="*/ 439 w 1143"/>
                  <a:gd name="T79" fmla="*/ 26 h 111"/>
                  <a:gd name="T80" fmla="*/ 382 w 1143"/>
                  <a:gd name="T81" fmla="*/ 23 h 111"/>
                  <a:gd name="T82" fmla="*/ 333 w 1143"/>
                  <a:gd name="T83" fmla="*/ 20 h 111"/>
                  <a:gd name="T84" fmla="*/ 278 w 1143"/>
                  <a:gd name="T85" fmla="*/ 17 h 111"/>
                  <a:gd name="T86" fmla="*/ 221 w 1143"/>
                  <a:gd name="T87" fmla="*/ 15 h 111"/>
                  <a:gd name="T88" fmla="*/ 179 w 1143"/>
                  <a:gd name="T89" fmla="*/ 13 h 111"/>
                  <a:gd name="T90" fmla="*/ 137 w 1143"/>
                  <a:gd name="T91" fmla="*/ 11 h 111"/>
                  <a:gd name="T92" fmla="*/ 93 w 1143"/>
                  <a:gd name="T93" fmla="*/ 7 h 111"/>
                  <a:gd name="T94" fmla="*/ 14 w 1143"/>
                  <a:gd name="T95" fmla="*/ 6 h 111"/>
                  <a:gd name="T96" fmla="*/ 14 w 1143"/>
                  <a:gd name="T97" fmla="*/ 0 h 111"/>
                  <a:gd name="T98" fmla="*/ 58 w 1143"/>
                  <a:gd name="T99" fmla="*/ 0 h 111"/>
                  <a:gd name="T100" fmla="*/ 97 w 1143"/>
                  <a:gd name="T101" fmla="*/ 0 h 1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3"/>
                  <a:gd name="T154" fmla="*/ 0 h 111"/>
                  <a:gd name="T155" fmla="*/ 1143 w 1143"/>
                  <a:gd name="T156" fmla="*/ 111 h 1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3" h="111">
                    <a:moveTo>
                      <a:pt x="78" y="0"/>
                    </a:moveTo>
                    <a:lnTo>
                      <a:pt x="96" y="3"/>
                    </a:lnTo>
                    <a:lnTo>
                      <a:pt x="110" y="6"/>
                    </a:lnTo>
                    <a:lnTo>
                      <a:pt x="133" y="12"/>
                    </a:lnTo>
                    <a:lnTo>
                      <a:pt x="151" y="15"/>
                    </a:lnTo>
                    <a:lnTo>
                      <a:pt x="165" y="17"/>
                    </a:lnTo>
                    <a:lnTo>
                      <a:pt x="187" y="20"/>
                    </a:lnTo>
                    <a:lnTo>
                      <a:pt x="206" y="23"/>
                    </a:lnTo>
                    <a:lnTo>
                      <a:pt x="229" y="26"/>
                    </a:lnTo>
                    <a:lnTo>
                      <a:pt x="247" y="29"/>
                    </a:lnTo>
                    <a:lnTo>
                      <a:pt x="265" y="29"/>
                    </a:lnTo>
                    <a:lnTo>
                      <a:pt x="288" y="34"/>
                    </a:lnTo>
                    <a:lnTo>
                      <a:pt x="311" y="34"/>
                    </a:lnTo>
                    <a:lnTo>
                      <a:pt x="334" y="37"/>
                    </a:lnTo>
                    <a:lnTo>
                      <a:pt x="357" y="40"/>
                    </a:lnTo>
                    <a:lnTo>
                      <a:pt x="379" y="43"/>
                    </a:lnTo>
                    <a:lnTo>
                      <a:pt x="402" y="46"/>
                    </a:lnTo>
                    <a:lnTo>
                      <a:pt x="425" y="46"/>
                    </a:lnTo>
                    <a:lnTo>
                      <a:pt x="448" y="49"/>
                    </a:lnTo>
                    <a:lnTo>
                      <a:pt x="471" y="49"/>
                    </a:lnTo>
                    <a:lnTo>
                      <a:pt x="494" y="52"/>
                    </a:lnTo>
                    <a:lnTo>
                      <a:pt x="517" y="52"/>
                    </a:lnTo>
                    <a:lnTo>
                      <a:pt x="539" y="54"/>
                    </a:lnTo>
                    <a:lnTo>
                      <a:pt x="562" y="54"/>
                    </a:lnTo>
                    <a:lnTo>
                      <a:pt x="590" y="57"/>
                    </a:lnTo>
                    <a:lnTo>
                      <a:pt x="608" y="57"/>
                    </a:lnTo>
                    <a:lnTo>
                      <a:pt x="631" y="60"/>
                    </a:lnTo>
                    <a:lnTo>
                      <a:pt x="654" y="60"/>
                    </a:lnTo>
                    <a:lnTo>
                      <a:pt x="676" y="63"/>
                    </a:lnTo>
                    <a:lnTo>
                      <a:pt x="699" y="63"/>
                    </a:lnTo>
                    <a:lnTo>
                      <a:pt x="722" y="63"/>
                    </a:lnTo>
                    <a:lnTo>
                      <a:pt x="745" y="63"/>
                    </a:lnTo>
                    <a:lnTo>
                      <a:pt x="763" y="69"/>
                    </a:lnTo>
                    <a:lnTo>
                      <a:pt x="786" y="69"/>
                    </a:lnTo>
                    <a:lnTo>
                      <a:pt x="809" y="69"/>
                    </a:lnTo>
                    <a:lnTo>
                      <a:pt x="827" y="69"/>
                    </a:lnTo>
                    <a:lnTo>
                      <a:pt x="850" y="69"/>
                    </a:lnTo>
                    <a:lnTo>
                      <a:pt x="864" y="69"/>
                    </a:lnTo>
                    <a:lnTo>
                      <a:pt x="887" y="71"/>
                    </a:lnTo>
                    <a:lnTo>
                      <a:pt x="905" y="71"/>
                    </a:lnTo>
                    <a:lnTo>
                      <a:pt x="923" y="71"/>
                    </a:lnTo>
                    <a:lnTo>
                      <a:pt x="942" y="71"/>
                    </a:lnTo>
                    <a:lnTo>
                      <a:pt x="955" y="71"/>
                    </a:lnTo>
                    <a:lnTo>
                      <a:pt x="974" y="71"/>
                    </a:lnTo>
                    <a:lnTo>
                      <a:pt x="987" y="71"/>
                    </a:lnTo>
                    <a:lnTo>
                      <a:pt x="1006" y="71"/>
                    </a:lnTo>
                    <a:lnTo>
                      <a:pt x="1019" y="74"/>
                    </a:lnTo>
                    <a:lnTo>
                      <a:pt x="1033" y="74"/>
                    </a:lnTo>
                    <a:lnTo>
                      <a:pt x="1051" y="74"/>
                    </a:lnTo>
                    <a:lnTo>
                      <a:pt x="1060" y="74"/>
                    </a:lnTo>
                    <a:lnTo>
                      <a:pt x="1074" y="74"/>
                    </a:lnTo>
                    <a:lnTo>
                      <a:pt x="1083" y="74"/>
                    </a:lnTo>
                    <a:lnTo>
                      <a:pt x="1092" y="77"/>
                    </a:lnTo>
                    <a:lnTo>
                      <a:pt x="1106" y="77"/>
                    </a:lnTo>
                    <a:lnTo>
                      <a:pt x="1124" y="80"/>
                    </a:lnTo>
                    <a:lnTo>
                      <a:pt x="1133" y="80"/>
                    </a:lnTo>
                    <a:lnTo>
                      <a:pt x="1143" y="80"/>
                    </a:lnTo>
                    <a:lnTo>
                      <a:pt x="1143" y="83"/>
                    </a:lnTo>
                    <a:lnTo>
                      <a:pt x="1124" y="89"/>
                    </a:lnTo>
                    <a:lnTo>
                      <a:pt x="1106" y="91"/>
                    </a:lnTo>
                    <a:lnTo>
                      <a:pt x="1097" y="91"/>
                    </a:lnTo>
                    <a:lnTo>
                      <a:pt x="1088" y="94"/>
                    </a:lnTo>
                    <a:lnTo>
                      <a:pt x="1074" y="94"/>
                    </a:lnTo>
                    <a:lnTo>
                      <a:pt x="1060" y="100"/>
                    </a:lnTo>
                    <a:lnTo>
                      <a:pt x="1047" y="100"/>
                    </a:lnTo>
                    <a:lnTo>
                      <a:pt x="1033" y="100"/>
                    </a:lnTo>
                    <a:lnTo>
                      <a:pt x="1015" y="103"/>
                    </a:lnTo>
                    <a:lnTo>
                      <a:pt x="1001" y="103"/>
                    </a:lnTo>
                    <a:lnTo>
                      <a:pt x="983" y="103"/>
                    </a:lnTo>
                    <a:lnTo>
                      <a:pt x="964" y="106"/>
                    </a:lnTo>
                    <a:lnTo>
                      <a:pt x="946" y="106"/>
                    </a:lnTo>
                    <a:lnTo>
                      <a:pt x="932" y="109"/>
                    </a:lnTo>
                    <a:lnTo>
                      <a:pt x="919" y="109"/>
                    </a:lnTo>
                    <a:lnTo>
                      <a:pt x="910" y="109"/>
                    </a:lnTo>
                    <a:lnTo>
                      <a:pt x="900" y="109"/>
                    </a:lnTo>
                    <a:lnTo>
                      <a:pt x="887" y="109"/>
                    </a:lnTo>
                    <a:lnTo>
                      <a:pt x="878" y="109"/>
                    </a:lnTo>
                    <a:lnTo>
                      <a:pt x="864" y="109"/>
                    </a:lnTo>
                    <a:lnTo>
                      <a:pt x="855" y="109"/>
                    </a:lnTo>
                    <a:lnTo>
                      <a:pt x="846" y="111"/>
                    </a:lnTo>
                    <a:lnTo>
                      <a:pt x="832" y="111"/>
                    </a:lnTo>
                    <a:lnTo>
                      <a:pt x="823" y="111"/>
                    </a:lnTo>
                    <a:lnTo>
                      <a:pt x="814" y="111"/>
                    </a:lnTo>
                    <a:lnTo>
                      <a:pt x="800" y="111"/>
                    </a:lnTo>
                    <a:lnTo>
                      <a:pt x="786" y="111"/>
                    </a:lnTo>
                    <a:lnTo>
                      <a:pt x="777" y="111"/>
                    </a:lnTo>
                    <a:lnTo>
                      <a:pt x="763" y="111"/>
                    </a:lnTo>
                    <a:lnTo>
                      <a:pt x="754" y="111"/>
                    </a:lnTo>
                    <a:lnTo>
                      <a:pt x="745" y="109"/>
                    </a:lnTo>
                    <a:lnTo>
                      <a:pt x="727" y="106"/>
                    </a:lnTo>
                    <a:lnTo>
                      <a:pt x="718" y="106"/>
                    </a:lnTo>
                    <a:lnTo>
                      <a:pt x="704" y="106"/>
                    </a:lnTo>
                    <a:lnTo>
                      <a:pt x="686" y="106"/>
                    </a:lnTo>
                    <a:lnTo>
                      <a:pt x="676" y="106"/>
                    </a:lnTo>
                    <a:lnTo>
                      <a:pt x="663" y="106"/>
                    </a:lnTo>
                    <a:lnTo>
                      <a:pt x="654" y="106"/>
                    </a:lnTo>
                    <a:lnTo>
                      <a:pt x="635" y="103"/>
                    </a:lnTo>
                    <a:lnTo>
                      <a:pt x="626" y="103"/>
                    </a:lnTo>
                    <a:lnTo>
                      <a:pt x="608" y="103"/>
                    </a:lnTo>
                    <a:lnTo>
                      <a:pt x="599" y="103"/>
                    </a:lnTo>
                    <a:lnTo>
                      <a:pt x="585" y="100"/>
                    </a:lnTo>
                    <a:lnTo>
                      <a:pt x="571" y="100"/>
                    </a:lnTo>
                    <a:lnTo>
                      <a:pt x="558" y="100"/>
                    </a:lnTo>
                    <a:lnTo>
                      <a:pt x="539" y="100"/>
                    </a:lnTo>
                    <a:lnTo>
                      <a:pt x="526" y="94"/>
                    </a:lnTo>
                    <a:lnTo>
                      <a:pt x="512" y="94"/>
                    </a:lnTo>
                    <a:lnTo>
                      <a:pt x="498" y="91"/>
                    </a:lnTo>
                    <a:lnTo>
                      <a:pt x="485" y="91"/>
                    </a:lnTo>
                    <a:lnTo>
                      <a:pt x="471" y="91"/>
                    </a:lnTo>
                    <a:lnTo>
                      <a:pt x="453" y="89"/>
                    </a:lnTo>
                    <a:lnTo>
                      <a:pt x="443" y="83"/>
                    </a:lnTo>
                    <a:lnTo>
                      <a:pt x="430" y="83"/>
                    </a:lnTo>
                    <a:lnTo>
                      <a:pt x="411" y="80"/>
                    </a:lnTo>
                    <a:lnTo>
                      <a:pt x="398" y="80"/>
                    </a:lnTo>
                    <a:lnTo>
                      <a:pt x="384" y="77"/>
                    </a:lnTo>
                    <a:lnTo>
                      <a:pt x="370" y="77"/>
                    </a:lnTo>
                    <a:lnTo>
                      <a:pt x="352" y="74"/>
                    </a:lnTo>
                    <a:lnTo>
                      <a:pt x="343" y="71"/>
                    </a:lnTo>
                    <a:lnTo>
                      <a:pt x="325" y="71"/>
                    </a:lnTo>
                    <a:lnTo>
                      <a:pt x="315" y="69"/>
                    </a:lnTo>
                    <a:lnTo>
                      <a:pt x="297" y="63"/>
                    </a:lnTo>
                    <a:lnTo>
                      <a:pt x="283" y="63"/>
                    </a:lnTo>
                    <a:lnTo>
                      <a:pt x="270" y="60"/>
                    </a:lnTo>
                    <a:lnTo>
                      <a:pt x="256" y="57"/>
                    </a:lnTo>
                    <a:lnTo>
                      <a:pt x="247" y="54"/>
                    </a:lnTo>
                    <a:lnTo>
                      <a:pt x="229" y="52"/>
                    </a:lnTo>
                    <a:lnTo>
                      <a:pt x="215" y="49"/>
                    </a:lnTo>
                    <a:lnTo>
                      <a:pt x="206" y="49"/>
                    </a:lnTo>
                    <a:lnTo>
                      <a:pt x="192" y="46"/>
                    </a:lnTo>
                    <a:lnTo>
                      <a:pt x="178" y="43"/>
                    </a:lnTo>
                    <a:lnTo>
                      <a:pt x="165" y="40"/>
                    </a:lnTo>
                    <a:lnTo>
                      <a:pt x="155" y="37"/>
                    </a:lnTo>
                    <a:lnTo>
                      <a:pt x="142" y="34"/>
                    </a:lnTo>
                    <a:lnTo>
                      <a:pt x="133" y="34"/>
                    </a:lnTo>
                    <a:lnTo>
                      <a:pt x="123" y="32"/>
                    </a:lnTo>
                    <a:lnTo>
                      <a:pt x="110" y="29"/>
                    </a:lnTo>
                    <a:lnTo>
                      <a:pt x="101" y="29"/>
                    </a:lnTo>
                    <a:lnTo>
                      <a:pt x="87" y="23"/>
                    </a:lnTo>
                    <a:lnTo>
                      <a:pt x="78" y="23"/>
                    </a:lnTo>
                    <a:lnTo>
                      <a:pt x="69" y="20"/>
                    </a:lnTo>
                    <a:lnTo>
                      <a:pt x="50" y="17"/>
                    </a:lnTo>
                    <a:lnTo>
                      <a:pt x="32" y="15"/>
                    </a:lnTo>
                    <a:lnTo>
                      <a:pt x="14" y="6"/>
                    </a:lnTo>
                    <a:lnTo>
                      <a:pt x="0" y="6"/>
                    </a:lnTo>
                    <a:lnTo>
                      <a:pt x="5" y="0"/>
                    </a:lnTo>
                    <a:lnTo>
                      <a:pt x="14" y="0"/>
                    </a:lnTo>
                    <a:lnTo>
                      <a:pt x="23" y="0"/>
                    </a:lnTo>
                    <a:lnTo>
                      <a:pt x="37" y="0"/>
                    </a:lnTo>
                    <a:lnTo>
                      <a:pt x="46" y="0"/>
                    </a:lnTo>
                    <a:lnTo>
                      <a:pt x="55" y="0"/>
                    </a:lnTo>
                    <a:lnTo>
                      <a:pt x="64" y="0"/>
                    </a:lnTo>
                    <a:lnTo>
                      <a:pt x="73" y="0"/>
                    </a:lnTo>
                    <a:lnTo>
                      <a:pt x="7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5" name="Freeform 79"/>
              <p:cNvSpPr>
                <a:spLocks/>
              </p:cNvSpPr>
              <p:nvPr>
                <p:custDataLst>
                  <p:tags r:id="rId108"/>
                </p:custDataLst>
              </p:nvPr>
            </p:nvSpPr>
            <p:spPr bwMode="gray">
              <a:xfrm>
                <a:off x="632" y="1094"/>
                <a:ext cx="750" cy="290"/>
              </a:xfrm>
              <a:custGeom>
                <a:avLst/>
                <a:gdLst>
                  <a:gd name="T0" fmla="*/ 548 w 731"/>
                  <a:gd name="T1" fmla="*/ 6 h 316"/>
                  <a:gd name="T2" fmla="*/ 472 w 731"/>
                  <a:gd name="T3" fmla="*/ 16 h 316"/>
                  <a:gd name="T4" fmla="*/ 391 w 731"/>
                  <a:gd name="T5" fmla="*/ 28 h 316"/>
                  <a:gd name="T6" fmla="*/ 310 w 731"/>
                  <a:gd name="T7" fmla="*/ 39 h 316"/>
                  <a:gd name="T8" fmla="*/ 243 w 731"/>
                  <a:gd name="T9" fmla="*/ 50 h 316"/>
                  <a:gd name="T10" fmla="*/ 173 w 731"/>
                  <a:gd name="T11" fmla="*/ 60 h 316"/>
                  <a:gd name="T12" fmla="*/ 118 w 731"/>
                  <a:gd name="T13" fmla="*/ 70 h 316"/>
                  <a:gd name="T14" fmla="*/ 66 w 731"/>
                  <a:gd name="T15" fmla="*/ 77 h 316"/>
                  <a:gd name="T16" fmla="*/ 14 w 731"/>
                  <a:gd name="T17" fmla="*/ 87 h 316"/>
                  <a:gd name="T18" fmla="*/ 5 w 731"/>
                  <a:gd name="T19" fmla="*/ 90 h 316"/>
                  <a:gd name="T20" fmla="*/ 49 w 731"/>
                  <a:gd name="T21" fmla="*/ 90 h 316"/>
                  <a:gd name="T22" fmla="*/ 93 w 731"/>
                  <a:gd name="T23" fmla="*/ 92 h 316"/>
                  <a:gd name="T24" fmla="*/ 143 w 731"/>
                  <a:gd name="T25" fmla="*/ 95 h 316"/>
                  <a:gd name="T26" fmla="*/ 194 w 731"/>
                  <a:gd name="T27" fmla="*/ 96 h 316"/>
                  <a:gd name="T28" fmla="*/ 249 w 731"/>
                  <a:gd name="T29" fmla="*/ 98 h 316"/>
                  <a:gd name="T30" fmla="*/ 305 w 731"/>
                  <a:gd name="T31" fmla="*/ 98 h 316"/>
                  <a:gd name="T32" fmla="*/ 353 w 731"/>
                  <a:gd name="T33" fmla="*/ 100 h 316"/>
                  <a:gd name="T34" fmla="*/ 404 w 731"/>
                  <a:gd name="T35" fmla="*/ 103 h 316"/>
                  <a:gd name="T36" fmla="*/ 448 w 731"/>
                  <a:gd name="T37" fmla="*/ 104 h 316"/>
                  <a:gd name="T38" fmla="*/ 499 w 731"/>
                  <a:gd name="T39" fmla="*/ 106 h 316"/>
                  <a:gd name="T40" fmla="*/ 559 w 731"/>
                  <a:gd name="T41" fmla="*/ 106 h 316"/>
                  <a:gd name="T42" fmla="*/ 629 w 731"/>
                  <a:gd name="T43" fmla="*/ 107 h 316"/>
                  <a:gd name="T44" fmla="*/ 710 w 731"/>
                  <a:gd name="T45" fmla="*/ 108 h 316"/>
                  <a:gd name="T46" fmla="*/ 789 w 731"/>
                  <a:gd name="T47" fmla="*/ 110 h 316"/>
                  <a:gd name="T48" fmla="*/ 864 w 731"/>
                  <a:gd name="T49" fmla="*/ 110 h 316"/>
                  <a:gd name="T50" fmla="*/ 927 w 731"/>
                  <a:gd name="T51" fmla="*/ 111 h 316"/>
                  <a:gd name="T52" fmla="*/ 982 w 731"/>
                  <a:gd name="T53" fmla="*/ 113 h 316"/>
                  <a:gd name="T54" fmla="*/ 972 w 731"/>
                  <a:gd name="T55" fmla="*/ 110 h 316"/>
                  <a:gd name="T56" fmla="*/ 921 w 731"/>
                  <a:gd name="T57" fmla="*/ 107 h 316"/>
                  <a:gd name="T58" fmla="*/ 878 w 731"/>
                  <a:gd name="T59" fmla="*/ 107 h 316"/>
                  <a:gd name="T60" fmla="*/ 827 w 731"/>
                  <a:gd name="T61" fmla="*/ 104 h 316"/>
                  <a:gd name="T62" fmla="*/ 773 w 731"/>
                  <a:gd name="T63" fmla="*/ 101 h 316"/>
                  <a:gd name="T64" fmla="*/ 716 w 731"/>
                  <a:gd name="T65" fmla="*/ 98 h 316"/>
                  <a:gd name="T66" fmla="*/ 659 w 731"/>
                  <a:gd name="T67" fmla="*/ 97 h 316"/>
                  <a:gd name="T68" fmla="*/ 603 w 731"/>
                  <a:gd name="T69" fmla="*/ 95 h 316"/>
                  <a:gd name="T70" fmla="*/ 541 w 731"/>
                  <a:gd name="T71" fmla="*/ 90 h 316"/>
                  <a:gd name="T72" fmla="*/ 484 w 731"/>
                  <a:gd name="T73" fmla="*/ 89 h 316"/>
                  <a:gd name="T74" fmla="*/ 422 w 731"/>
                  <a:gd name="T75" fmla="*/ 84 h 316"/>
                  <a:gd name="T76" fmla="*/ 379 w 731"/>
                  <a:gd name="T77" fmla="*/ 83 h 316"/>
                  <a:gd name="T78" fmla="*/ 329 w 731"/>
                  <a:gd name="T79" fmla="*/ 82 h 316"/>
                  <a:gd name="T80" fmla="*/ 286 w 731"/>
                  <a:gd name="T81" fmla="*/ 80 h 316"/>
                  <a:gd name="T82" fmla="*/ 243 w 731"/>
                  <a:gd name="T83" fmla="*/ 76 h 316"/>
                  <a:gd name="T84" fmla="*/ 199 w 731"/>
                  <a:gd name="T85" fmla="*/ 76 h 316"/>
                  <a:gd name="T86" fmla="*/ 603 w 731"/>
                  <a:gd name="T87" fmla="*/ 0 h 3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1"/>
                  <a:gd name="T133" fmla="*/ 0 h 316"/>
                  <a:gd name="T134" fmla="*/ 731 w 731"/>
                  <a:gd name="T135" fmla="*/ 316 h 3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1" h="316">
                    <a:moveTo>
                      <a:pt x="443" y="0"/>
                    </a:moveTo>
                    <a:lnTo>
                      <a:pt x="425" y="6"/>
                    </a:lnTo>
                    <a:lnTo>
                      <a:pt x="402" y="17"/>
                    </a:lnTo>
                    <a:lnTo>
                      <a:pt x="384" y="26"/>
                    </a:lnTo>
                    <a:lnTo>
                      <a:pt x="366" y="37"/>
                    </a:lnTo>
                    <a:lnTo>
                      <a:pt x="347" y="45"/>
                    </a:lnTo>
                    <a:lnTo>
                      <a:pt x="329" y="57"/>
                    </a:lnTo>
                    <a:lnTo>
                      <a:pt x="306" y="65"/>
                    </a:lnTo>
                    <a:lnTo>
                      <a:pt x="288" y="77"/>
                    </a:lnTo>
                    <a:lnTo>
                      <a:pt x="265" y="88"/>
                    </a:lnTo>
                    <a:lnTo>
                      <a:pt x="247" y="100"/>
                    </a:lnTo>
                    <a:lnTo>
                      <a:pt x="228" y="108"/>
                    </a:lnTo>
                    <a:lnTo>
                      <a:pt x="210" y="120"/>
                    </a:lnTo>
                    <a:lnTo>
                      <a:pt x="192" y="128"/>
                    </a:lnTo>
                    <a:lnTo>
                      <a:pt x="178" y="139"/>
                    </a:lnTo>
                    <a:lnTo>
                      <a:pt x="160" y="148"/>
                    </a:lnTo>
                    <a:lnTo>
                      <a:pt x="142" y="159"/>
                    </a:lnTo>
                    <a:lnTo>
                      <a:pt x="128" y="168"/>
                    </a:lnTo>
                    <a:lnTo>
                      <a:pt x="114" y="176"/>
                    </a:lnTo>
                    <a:lnTo>
                      <a:pt x="96" y="188"/>
                    </a:lnTo>
                    <a:lnTo>
                      <a:pt x="87" y="196"/>
                    </a:lnTo>
                    <a:lnTo>
                      <a:pt x="73" y="202"/>
                    </a:lnTo>
                    <a:lnTo>
                      <a:pt x="59" y="211"/>
                    </a:lnTo>
                    <a:lnTo>
                      <a:pt x="50" y="219"/>
                    </a:lnTo>
                    <a:lnTo>
                      <a:pt x="41" y="225"/>
                    </a:lnTo>
                    <a:lnTo>
                      <a:pt x="23" y="233"/>
                    </a:lnTo>
                    <a:lnTo>
                      <a:pt x="14" y="242"/>
                    </a:lnTo>
                    <a:lnTo>
                      <a:pt x="5" y="248"/>
                    </a:lnTo>
                    <a:lnTo>
                      <a:pt x="0" y="251"/>
                    </a:lnTo>
                    <a:lnTo>
                      <a:pt x="5" y="251"/>
                    </a:lnTo>
                    <a:lnTo>
                      <a:pt x="14" y="251"/>
                    </a:lnTo>
                    <a:lnTo>
                      <a:pt x="23" y="253"/>
                    </a:lnTo>
                    <a:lnTo>
                      <a:pt x="37" y="253"/>
                    </a:lnTo>
                    <a:lnTo>
                      <a:pt x="46" y="253"/>
                    </a:lnTo>
                    <a:lnTo>
                      <a:pt x="55" y="256"/>
                    </a:lnTo>
                    <a:lnTo>
                      <a:pt x="69" y="259"/>
                    </a:lnTo>
                    <a:lnTo>
                      <a:pt x="82" y="262"/>
                    </a:lnTo>
                    <a:lnTo>
                      <a:pt x="91" y="262"/>
                    </a:lnTo>
                    <a:lnTo>
                      <a:pt x="105" y="265"/>
                    </a:lnTo>
                    <a:lnTo>
                      <a:pt x="114" y="265"/>
                    </a:lnTo>
                    <a:lnTo>
                      <a:pt x="128" y="268"/>
                    </a:lnTo>
                    <a:lnTo>
                      <a:pt x="142" y="268"/>
                    </a:lnTo>
                    <a:lnTo>
                      <a:pt x="155" y="270"/>
                    </a:lnTo>
                    <a:lnTo>
                      <a:pt x="169" y="270"/>
                    </a:lnTo>
                    <a:lnTo>
                      <a:pt x="183" y="273"/>
                    </a:lnTo>
                    <a:lnTo>
                      <a:pt x="192" y="273"/>
                    </a:lnTo>
                    <a:lnTo>
                      <a:pt x="210" y="276"/>
                    </a:lnTo>
                    <a:lnTo>
                      <a:pt x="224" y="279"/>
                    </a:lnTo>
                    <a:lnTo>
                      <a:pt x="238" y="282"/>
                    </a:lnTo>
                    <a:lnTo>
                      <a:pt x="247" y="282"/>
                    </a:lnTo>
                    <a:lnTo>
                      <a:pt x="260" y="282"/>
                    </a:lnTo>
                    <a:lnTo>
                      <a:pt x="274" y="282"/>
                    </a:lnTo>
                    <a:lnTo>
                      <a:pt x="288" y="285"/>
                    </a:lnTo>
                    <a:lnTo>
                      <a:pt x="297" y="288"/>
                    </a:lnTo>
                    <a:lnTo>
                      <a:pt x="311" y="288"/>
                    </a:lnTo>
                    <a:lnTo>
                      <a:pt x="320" y="288"/>
                    </a:lnTo>
                    <a:lnTo>
                      <a:pt x="329" y="290"/>
                    </a:lnTo>
                    <a:lnTo>
                      <a:pt x="338" y="290"/>
                    </a:lnTo>
                    <a:lnTo>
                      <a:pt x="352" y="290"/>
                    </a:lnTo>
                    <a:lnTo>
                      <a:pt x="366" y="293"/>
                    </a:lnTo>
                    <a:lnTo>
                      <a:pt x="379" y="293"/>
                    </a:lnTo>
                    <a:lnTo>
                      <a:pt x="393" y="293"/>
                    </a:lnTo>
                    <a:lnTo>
                      <a:pt x="411" y="293"/>
                    </a:lnTo>
                    <a:lnTo>
                      <a:pt x="425" y="296"/>
                    </a:lnTo>
                    <a:lnTo>
                      <a:pt x="448" y="299"/>
                    </a:lnTo>
                    <a:lnTo>
                      <a:pt x="462" y="299"/>
                    </a:lnTo>
                    <a:lnTo>
                      <a:pt x="480" y="302"/>
                    </a:lnTo>
                    <a:lnTo>
                      <a:pt x="503" y="302"/>
                    </a:lnTo>
                    <a:lnTo>
                      <a:pt x="521" y="305"/>
                    </a:lnTo>
                    <a:lnTo>
                      <a:pt x="539" y="305"/>
                    </a:lnTo>
                    <a:lnTo>
                      <a:pt x="558" y="307"/>
                    </a:lnTo>
                    <a:lnTo>
                      <a:pt x="580" y="310"/>
                    </a:lnTo>
                    <a:lnTo>
                      <a:pt x="599" y="310"/>
                    </a:lnTo>
                    <a:lnTo>
                      <a:pt x="617" y="310"/>
                    </a:lnTo>
                    <a:lnTo>
                      <a:pt x="635" y="310"/>
                    </a:lnTo>
                    <a:lnTo>
                      <a:pt x="649" y="313"/>
                    </a:lnTo>
                    <a:lnTo>
                      <a:pt x="672" y="313"/>
                    </a:lnTo>
                    <a:lnTo>
                      <a:pt x="681" y="313"/>
                    </a:lnTo>
                    <a:lnTo>
                      <a:pt x="699" y="316"/>
                    </a:lnTo>
                    <a:lnTo>
                      <a:pt x="708" y="316"/>
                    </a:lnTo>
                    <a:lnTo>
                      <a:pt x="722" y="316"/>
                    </a:lnTo>
                    <a:lnTo>
                      <a:pt x="731" y="316"/>
                    </a:lnTo>
                    <a:lnTo>
                      <a:pt x="731" y="313"/>
                    </a:lnTo>
                    <a:lnTo>
                      <a:pt x="713" y="310"/>
                    </a:lnTo>
                    <a:lnTo>
                      <a:pt x="695" y="307"/>
                    </a:lnTo>
                    <a:lnTo>
                      <a:pt x="690" y="305"/>
                    </a:lnTo>
                    <a:lnTo>
                      <a:pt x="676" y="302"/>
                    </a:lnTo>
                    <a:lnTo>
                      <a:pt x="667" y="302"/>
                    </a:lnTo>
                    <a:lnTo>
                      <a:pt x="658" y="302"/>
                    </a:lnTo>
                    <a:lnTo>
                      <a:pt x="644" y="299"/>
                    </a:lnTo>
                    <a:lnTo>
                      <a:pt x="635" y="296"/>
                    </a:lnTo>
                    <a:lnTo>
                      <a:pt x="617" y="293"/>
                    </a:lnTo>
                    <a:lnTo>
                      <a:pt x="608" y="290"/>
                    </a:lnTo>
                    <a:lnTo>
                      <a:pt x="590" y="290"/>
                    </a:lnTo>
                    <a:lnTo>
                      <a:pt x="580" y="288"/>
                    </a:lnTo>
                    <a:lnTo>
                      <a:pt x="567" y="285"/>
                    </a:lnTo>
                    <a:lnTo>
                      <a:pt x="558" y="285"/>
                    </a:lnTo>
                    <a:lnTo>
                      <a:pt x="539" y="282"/>
                    </a:lnTo>
                    <a:lnTo>
                      <a:pt x="526" y="279"/>
                    </a:lnTo>
                    <a:lnTo>
                      <a:pt x="512" y="276"/>
                    </a:lnTo>
                    <a:lnTo>
                      <a:pt x="503" y="273"/>
                    </a:lnTo>
                    <a:lnTo>
                      <a:pt x="484" y="270"/>
                    </a:lnTo>
                    <a:lnTo>
                      <a:pt x="471" y="268"/>
                    </a:lnTo>
                    <a:lnTo>
                      <a:pt x="457" y="265"/>
                    </a:lnTo>
                    <a:lnTo>
                      <a:pt x="443" y="265"/>
                    </a:lnTo>
                    <a:lnTo>
                      <a:pt x="425" y="262"/>
                    </a:lnTo>
                    <a:lnTo>
                      <a:pt x="411" y="259"/>
                    </a:lnTo>
                    <a:lnTo>
                      <a:pt x="398" y="253"/>
                    </a:lnTo>
                    <a:lnTo>
                      <a:pt x="384" y="253"/>
                    </a:lnTo>
                    <a:lnTo>
                      <a:pt x="370" y="251"/>
                    </a:lnTo>
                    <a:lnTo>
                      <a:pt x="356" y="248"/>
                    </a:lnTo>
                    <a:lnTo>
                      <a:pt x="343" y="245"/>
                    </a:lnTo>
                    <a:lnTo>
                      <a:pt x="329" y="242"/>
                    </a:lnTo>
                    <a:lnTo>
                      <a:pt x="311" y="239"/>
                    </a:lnTo>
                    <a:lnTo>
                      <a:pt x="302" y="239"/>
                    </a:lnTo>
                    <a:lnTo>
                      <a:pt x="292" y="233"/>
                    </a:lnTo>
                    <a:lnTo>
                      <a:pt x="279" y="233"/>
                    </a:lnTo>
                    <a:lnTo>
                      <a:pt x="265" y="231"/>
                    </a:lnTo>
                    <a:lnTo>
                      <a:pt x="256" y="231"/>
                    </a:lnTo>
                    <a:lnTo>
                      <a:pt x="242" y="228"/>
                    </a:lnTo>
                    <a:lnTo>
                      <a:pt x="238" y="225"/>
                    </a:lnTo>
                    <a:lnTo>
                      <a:pt x="224" y="225"/>
                    </a:lnTo>
                    <a:lnTo>
                      <a:pt x="210" y="222"/>
                    </a:lnTo>
                    <a:lnTo>
                      <a:pt x="201" y="219"/>
                    </a:lnTo>
                    <a:lnTo>
                      <a:pt x="192" y="219"/>
                    </a:lnTo>
                    <a:lnTo>
                      <a:pt x="178" y="216"/>
                    </a:lnTo>
                    <a:lnTo>
                      <a:pt x="169" y="214"/>
                    </a:lnTo>
                    <a:lnTo>
                      <a:pt x="155" y="211"/>
                    </a:lnTo>
                    <a:lnTo>
                      <a:pt x="146" y="211"/>
                    </a:lnTo>
                    <a:lnTo>
                      <a:pt x="142" y="211"/>
                    </a:lnTo>
                    <a:lnTo>
                      <a:pt x="44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6" name="Freeform 80"/>
              <p:cNvSpPr>
                <a:spLocks/>
              </p:cNvSpPr>
              <p:nvPr>
                <p:custDataLst>
                  <p:tags r:id="rId109"/>
                </p:custDataLst>
              </p:nvPr>
            </p:nvSpPr>
            <p:spPr bwMode="gray">
              <a:xfrm>
                <a:off x="2047" y="511"/>
                <a:ext cx="988" cy="211"/>
              </a:xfrm>
              <a:custGeom>
                <a:avLst/>
                <a:gdLst>
                  <a:gd name="T0" fmla="*/ 44 w 964"/>
                  <a:gd name="T1" fmla="*/ 72 h 231"/>
                  <a:gd name="T2" fmla="*/ 116 w 964"/>
                  <a:gd name="T3" fmla="*/ 63 h 231"/>
                  <a:gd name="T4" fmla="*/ 171 w 964"/>
                  <a:gd name="T5" fmla="*/ 58 h 231"/>
                  <a:gd name="T6" fmla="*/ 214 w 964"/>
                  <a:gd name="T7" fmla="*/ 53 h 231"/>
                  <a:gd name="T8" fmla="*/ 264 w 964"/>
                  <a:gd name="T9" fmla="*/ 46 h 231"/>
                  <a:gd name="T10" fmla="*/ 307 w 964"/>
                  <a:gd name="T11" fmla="*/ 43 h 231"/>
                  <a:gd name="T12" fmla="*/ 356 w 964"/>
                  <a:gd name="T13" fmla="*/ 37 h 231"/>
                  <a:gd name="T14" fmla="*/ 399 w 964"/>
                  <a:gd name="T15" fmla="*/ 33 h 231"/>
                  <a:gd name="T16" fmla="*/ 449 w 964"/>
                  <a:gd name="T17" fmla="*/ 29 h 231"/>
                  <a:gd name="T18" fmla="*/ 492 w 964"/>
                  <a:gd name="T19" fmla="*/ 24 h 231"/>
                  <a:gd name="T20" fmla="*/ 540 w 964"/>
                  <a:gd name="T21" fmla="*/ 20 h 231"/>
                  <a:gd name="T22" fmla="*/ 583 w 964"/>
                  <a:gd name="T23" fmla="*/ 16 h 231"/>
                  <a:gd name="T24" fmla="*/ 625 w 964"/>
                  <a:gd name="T25" fmla="*/ 14 h 231"/>
                  <a:gd name="T26" fmla="*/ 668 w 964"/>
                  <a:gd name="T27" fmla="*/ 11 h 231"/>
                  <a:gd name="T28" fmla="*/ 737 w 964"/>
                  <a:gd name="T29" fmla="*/ 5 h 231"/>
                  <a:gd name="T30" fmla="*/ 805 w 964"/>
                  <a:gd name="T31" fmla="*/ 5 h 231"/>
                  <a:gd name="T32" fmla="*/ 867 w 964"/>
                  <a:gd name="T33" fmla="*/ 0 h 231"/>
                  <a:gd name="T34" fmla="*/ 915 w 964"/>
                  <a:gd name="T35" fmla="*/ 0 h 231"/>
                  <a:gd name="T36" fmla="*/ 969 w 964"/>
                  <a:gd name="T37" fmla="*/ 0 h 231"/>
                  <a:gd name="T38" fmla="*/ 1019 w 964"/>
                  <a:gd name="T39" fmla="*/ 5 h 231"/>
                  <a:gd name="T40" fmla="*/ 1081 w 964"/>
                  <a:gd name="T41" fmla="*/ 5 h 231"/>
                  <a:gd name="T42" fmla="*/ 1129 w 964"/>
                  <a:gd name="T43" fmla="*/ 8 h 231"/>
                  <a:gd name="T44" fmla="*/ 1180 w 964"/>
                  <a:gd name="T45" fmla="*/ 12 h 231"/>
                  <a:gd name="T46" fmla="*/ 1227 w 964"/>
                  <a:gd name="T47" fmla="*/ 15 h 231"/>
                  <a:gd name="T48" fmla="*/ 1283 w 964"/>
                  <a:gd name="T49" fmla="*/ 19 h 231"/>
                  <a:gd name="T50" fmla="*/ 1295 w 964"/>
                  <a:gd name="T51" fmla="*/ 20 h 231"/>
                  <a:gd name="T52" fmla="*/ 1246 w 964"/>
                  <a:gd name="T53" fmla="*/ 18 h 231"/>
                  <a:gd name="T54" fmla="*/ 1180 w 964"/>
                  <a:gd name="T55" fmla="*/ 15 h 231"/>
                  <a:gd name="T56" fmla="*/ 1137 w 964"/>
                  <a:gd name="T57" fmla="*/ 15 h 231"/>
                  <a:gd name="T58" fmla="*/ 1081 w 964"/>
                  <a:gd name="T59" fmla="*/ 13 h 231"/>
                  <a:gd name="T60" fmla="*/ 1019 w 964"/>
                  <a:gd name="T61" fmla="*/ 12 h 231"/>
                  <a:gd name="T62" fmla="*/ 959 w 964"/>
                  <a:gd name="T63" fmla="*/ 11 h 231"/>
                  <a:gd name="T64" fmla="*/ 896 w 964"/>
                  <a:gd name="T65" fmla="*/ 12 h 231"/>
                  <a:gd name="T66" fmla="*/ 835 w 964"/>
                  <a:gd name="T67" fmla="*/ 13 h 231"/>
                  <a:gd name="T68" fmla="*/ 767 w 964"/>
                  <a:gd name="T69" fmla="*/ 15 h 231"/>
                  <a:gd name="T70" fmla="*/ 700 w 964"/>
                  <a:gd name="T71" fmla="*/ 19 h 231"/>
                  <a:gd name="T72" fmla="*/ 656 w 964"/>
                  <a:gd name="T73" fmla="*/ 22 h 231"/>
                  <a:gd name="T74" fmla="*/ 615 w 964"/>
                  <a:gd name="T75" fmla="*/ 26 h 231"/>
                  <a:gd name="T76" fmla="*/ 559 w 964"/>
                  <a:gd name="T77" fmla="*/ 30 h 231"/>
                  <a:gd name="T78" fmla="*/ 508 w 964"/>
                  <a:gd name="T79" fmla="*/ 33 h 231"/>
                  <a:gd name="T80" fmla="*/ 461 w 964"/>
                  <a:gd name="T81" fmla="*/ 37 h 231"/>
                  <a:gd name="T82" fmla="*/ 407 w 964"/>
                  <a:gd name="T83" fmla="*/ 41 h 231"/>
                  <a:gd name="T84" fmla="*/ 356 w 964"/>
                  <a:gd name="T85" fmla="*/ 44 h 231"/>
                  <a:gd name="T86" fmla="*/ 307 w 964"/>
                  <a:gd name="T87" fmla="*/ 49 h 231"/>
                  <a:gd name="T88" fmla="*/ 253 w 964"/>
                  <a:gd name="T89" fmla="*/ 53 h 231"/>
                  <a:gd name="T90" fmla="*/ 209 w 964"/>
                  <a:gd name="T91" fmla="*/ 58 h 231"/>
                  <a:gd name="T92" fmla="*/ 166 w 964"/>
                  <a:gd name="T93" fmla="*/ 63 h 231"/>
                  <a:gd name="T94" fmla="*/ 116 w 964"/>
                  <a:gd name="T95" fmla="*/ 66 h 231"/>
                  <a:gd name="T96" fmla="*/ 49 w 964"/>
                  <a:gd name="T97" fmla="*/ 73 h 231"/>
                  <a:gd name="T98" fmla="*/ 0 w 964"/>
                  <a:gd name="T99" fmla="*/ 77 h 2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231"/>
                  <a:gd name="T152" fmla="*/ 964 w 964"/>
                  <a:gd name="T153" fmla="*/ 231 h 2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231">
                    <a:moveTo>
                      <a:pt x="0" y="231"/>
                    </a:moveTo>
                    <a:lnTo>
                      <a:pt x="14" y="222"/>
                    </a:lnTo>
                    <a:lnTo>
                      <a:pt x="32" y="214"/>
                    </a:lnTo>
                    <a:lnTo>
                      <a:pt x="46" y="202"/>
                    </a:lnTo>
                    <a:lnTo>
                      <a:pt x="69" y="197"/>
                    </a:lnTo>
                    <a:lnTo>
                      <a:pt x="87" y="185"/>
                    </a:lnTo>
                    <a:lnTo>
                      <a:pt x="105" y="177"/>
                    </a:lnTo>
                    <a:lnTo>
                      <a:pt x="119" y="171"/>
                    </a:lnTo>
                    <a:lnTo>
                      <a:pt x="128" y="168"/>
                    </a:lnTo>
                    <a:lnTo>
                      <a:pt x="142" y="163"/>
                    </a:lnTo>
                    <a:lnTo>
                      <a:pt x="151" y="157"/>
                    </a:lnTo>
                    <a:lnTo>
                      <a:pt x="160" y="154"/>
                    </a:lnTo>
                    <a:lnTo>
                      <a:pt x="169" y="148"/>
                    </a:lnTo>
                    <a:lnTo>
                      <a:pt x="183" y="143"/>
                    </a:lnTo>
                    <a:lnTo>
                      <a:pt x="197" y="137"/>
                    </a:lnTo>
                    <a:lnTo>
                      <a:pt x="206" y="134"/>
                    </a:lnTo>
                    <a:lnTo>
                      <a:pt x="220" y="128"/>
                    </a:lnTo>
                    <a:lnTo>
                      <a:pt x="229" y="126"/>
                    </a:lnTo>
                    <a:lnTo>
                      <a:pt x="238" y="120"/>
                    </a:lnTo>
                    <a:lnTo>
                      <a:pt x="256" y="114"/>
                    </a:lnTo>
                    <a:lnTo>
                      <a:pt x="265" y="111"/>
                    </a:lnTo>
                    <a:lnTo>
                      <a:pt x="274" y="106"/>
                    </a:lnTo>
                    <a:lnTo>
                      <a:pt x="288" y="103"/>
                    </a:lnTo>
                    <a:lnTo>
                      <a:pt x="297" y="97"/>
                    </a:lnTo>
                    <a:lnTo>
                      <a:pt x="311" y="91"/>
                    </a:lnTo>
                    <a:lnTo>
                      <a:pt x="325" y="91"/>
                    </a:lnTo>
                    <a:lnTo>
                      <a:pt x="334" y="86"/>
                    </a:lnTo>
                    <a:lnTo>
                      <a:pt x="343" y="80"/>
                    </a:lnTo>
                    <a:lnTo>
                      <a:pt x="357" y="77"/>
                    </a:lnTo>
                    <a:lnTo>
                      <a:pt x="366" y="71"/>
                    </a:lnTo>
                    <a:lnTo>
                      <a:pt x="379" y="69"/>
                    </a:lnTo>
                    <a:lnTo>
                      <a:pt x="389" y="66"/>
                    </a:lnTo>
                    <a:lnTo>
                      <a:pt x="402" y="60"/>
                    </a:lnTo>
                    <a:lnTo>
                      <a:pt x="411" y="57"/>
                    </a:lnTo>
                    <a:lnTo>
                      <a:pt x="425" y="54"/>
                    </a:lnTo>
                    <a:lnTo>
                      <a:pt x="434" y="49"/>
                    </a:lnTo>
                    <a:lnTo>
                      <a:pt x="448" y="49"/>
                    </a:lnTo>
                    <a:lnTo>
                      <a:pt x="457" y="43"/>
                    </a:lnTo>
                    <a:lnTo>
                      <a:pt x="466" y="40"/>
                    </a:lnTo>
                    <a:lnTo>
                      <a:pt x="480" y="37"/>
                    </a:lnTo>
                    <a:lnTo>
                      <a:pt x="489" y="34"/>
                    </a:lnTo>
                    <a:lnTo>
                      <a:pt x="498" y="32"/>
                    </a:lnTo>
                    <a:lnTo>
                      <a:pt x="512" y="29"/>
                    </a:lnTo>
                    <a:lnTo>
                      <a:pt x="530" y="23"/>
                    </a:lnTo>
                    <a:lnTo>
                      <a:pt x="549" y="17"/>
                    </a:lnTo>
                    <a:lnTo>
                      <a:pt x="567" y="15"/>
                    </a:lnTo>
                    <a:lnTo>
                      <a:pt x="585" y="9"/>
                    </a:lnTo>
                    <a:lnTo>
                      <a:pt x="599" y="6"/>
                    </a:lnTo>
                    <a:lnTo>
                      <a:pt x="617" y="6"/>
                    </a:lnTo>
                    <a:lnTo>
                      <a:pt x="631" y="0"/>
                    </a:lnTo>
                    <a:lnTo>
                      <a:pt x="645" y="0"/>
                    </a:lnTo>
                    <a:lnTo>
                      <a:pt x="654" y="0"/>
                    </a:lnTo>
                    <a:lnTo>
                      <a:pt x="667" y="0"/>
                    </a:lnTo>
                    <a:lnTo>
                      <a:pt x="681" y="0"/>
                    </a:lnTo>
                    <a:lnTo>
                      <a:pt x="695" y="0"/>
                    </a:lnTo>
                    <a:lnTo>
                      <a:pt x="704" y="0"/>
                    </a:lnTo>
                    <a:lnTo>
                      <a:pt x="722" y="0"/>
                    </a:lnTo>
                    <a:lnTo>
                      <a:pt x="736" y="3"/>
                    </a:lnTo>
                    <a:lnTo>
                      <a:pt x="750" y="6"/>
                    </a:lnTo>
                    <a:lnTo>
                      <a:pt x="759" y="6"/>
                    </a:lnTo>
                    <a:lnTo>
                      <a:pt x="777" y="9"/>
                    </a:lnTo>
                    <a:lnTo>
                      <a:pt x="786" y="12"/>
                    </a:lnTo>
                    <a:lnTo>
                      <a:pt x="804" y="17"/>
                    </a:lnTo>
                    <a:lnTo>
                      <a:pt x="814" y="17"/>
                    </a:lnTo>
                    <a:lnTo>
                      <a:pt x="827" y="20"/>
                    </a:lnTo>
                    <a:lnTo>
                      <a:pt x="841" y="23"/>
                    </a:lnTo>
                    <a:lnTo>
                      <a:pt x="855" y="29"/>
                    </a:lnTo>
                    <a:lnTo>
                      <a:pt x="864" y="29"/>
                    </a:lnTo>
                    <a:lnTo>
                      <a:pt x="878" y="34"/>
                    </a:lnTo>
                    <a:lnTo>
                      <a:pt x="887" y="37"/>
                    </a:lnTo>
                    <a:lnTo>
                      <a:pt x="896" y="40"/>
                    </a:lnTo>
                    <a:lnTo>
                      <a:pt x="914" y="43"/>
                    </a:lnTo>
                    <a:lnTo>
                      <a:pt x="932" y="49"/>
                    </a:lnTo>
                    <a:lnTo>
                      <a:pt x="946" y="54"/>
                    </a:lnTo>
                    <a:lnTo>
                      <a:pt x="955" y="57"/>
                    </a:lnTo>
                    <a:lnTo>
                      <a:pt x="964" y="60"/>
                    </a:lnTo>
                    <a:lnTo>
                      <a:pt x="955" y="60"/>
                    </a:lnTo>
                    <a:lnTo>
                      <a:pt x="946" y="57"/>
                    </a:lnTo>
                    <a:lnTo>
                      <a:pt x="928" y="54"/>
                    </a:lnTo>
                    <a:lnTo>
                      <a:pt x="910" y="49"/>
                    </a:lnTo>
                    <a:lnTo>
                      <a:pt x="891" y="49"/>
                    </a:lnTo>
                    <a:lnTo>
                      <a:pt x="878" y="46"/>
                    </a:lnTo>
                    <a:lnTo>
                      <a:pt x="868" y="43"/>
                    </a:lnTo>
                    <a:lnTo>
                      <a:pt x="859" y="43"/>
                    </a:lnTo>
                    <a:lnTo>
                      <a:pt x="846" y="43"/>
                    </a:lnTo>
                    <a:lnTo>
                      <a:pt x="832" y="40"/>
                    </a:lnTo>
                    <a:lnTo>
                      <a:pt x="823" y="37"/>
                    </a:lnTo>
                    <a:lnTo>
                      <a:pt x="804" y="37"/>
                    </a:lnTo>
                    <a:lnTo>
                      <a:pt x="791" y="37"/>
                    </a:lnTo>
                    <a:lnTo>
                      <a:pt x="772" y="34"/>
                    </a:lnTo>
                    <a:lnTo>
                      <a:pt x="759" y="34"/>
                    </a:lnTo>
                    <a:lnTo>
                      <a:pt x="745" y="34"/>
                    </a:lnTo>
                    <a:lnTo>
                      <a:pt x="731" y="34"/>
                    </a:lnTo>
                    <a:lnTo>
                      <a:pt x="713" y="32"/>
                    </a:lnTo>
                    <a:lnTo>
                      <a:pt x="699" y="32"/>
                    </a:lnTo>
                    <a:lnTo>
                      <a:pt x="681" y="32"/>
                    </a:lnTo>
                    <a:lnTo>
                      <a:pt x="667" y="34"/>
                    </a:lnTo>
                    <a:lnTo>
                      <a:pt x="654" y="34"/>
                    </a:lnTo>
                    <a:lnTo>
                      <a:pt x="635" y="37"/>
                    </a:lnTo>
                    <a:lnTo>
                      <a:pt x="622" y="37"/>
                    </a:lnTo>
                    <a:lnTo>
                      <a:pt x="608" y="43"/>
                    </a:lnTo>
                    <a:lnTo>
                      <a:pt x="585" y="43"/>
                    </a:lnTo>
                    <a:lnTo>
                      <a:pt x="571" y="46"/>
                    </a:lnTo>
                    <a:lnTo>
                      <a:pt x="549" y="49"/>
                    </a:lnTo>
                    <a:lnTo>
                      <a:pt x="530" y="57"/>
                    </a:lnTo>
                    <a:lnTo>
                      <a:pt x="521" y="57"/>
                    </a:lnTo>
                    <a:lnTo>
                      <a:pt x="512" y="60"/>
                    </a:lnTo>
                    <a:lnTo>
                      <a:pt x="498" y="63"/>
                    </a:lnTo>
                    <a:lnTo>
                      <a:pt x="489" y="66"/>
                    </a:lnTo>
                    <a:lnTo>
                      <a:pt x="480" y="71"/>
                    </a:lnTo>
                    <a:lnTo>
                      <a:pt x="466" y="71"/>
                    </a:lnTo>
                    <a:lnTo>
                      <a:pt x="457" y="77"/>
                    </a:lnTo>
                    <a:lnTo>
                      <a:pt x="443" y="80"/>
                    </a:lnTo>
                    <a:lnTo>
                      <a:pt x="430" y="83"/>
                    </a:lnTo>
                    <a:lnTo>
                      <a:pt x="416" y="89"/>
                    </a:lnTo>
                    <a:lnTo>
                      <a:pt x="402" y="91"/>
                    </a:lnTo>
                    <a:lnTo>
                      <a:pt x="393" y="94"/>
                    </a:lnTo>
                    <a:lnTo>
                      <a:pt x="379" y="97"/>
                    </a:lnTo>
                    <a:lnTo>
                      <a:pt x="366" y="103"/>
                    </a:lnTo>
                    <a:lnTo>
                      <a:pt x="357" y="106"/>
                    </a:lnTo>
                    <a:lnTo>
                      <a:pt x="343" y="111"/>
                    </a:lnTo>
                    <a:lnTo>
                      <a:pt x="325" y="114"/>
                    </a:lnTo>
                    <a:lnTo>
                      <a:pt x="311" y="117"/>
                    </a:lnTo>
                    <a:lnTo>
                      <a:pt x="302" y="123"/>
                    </a:lnTo>
                    <a:lnTo>
                      <a:pt x="288" y="128"/>
                    </a:lnTo>
                    <a:lnTo>
                      <a:pt x="274" y="131"/>
                    </a:lnTo>
                    <a:lnTo>
                      <a:pt x="265" y="134"/>
                    </a:lnTo>
                    <a:lnTo>
                      <a:pt x="256" y="140"/>
                    </a:lnTo>
                    <a:lnTo>
                      <a:pt x="238" y="145"/>
                    </a:lnTo>
                    <a:lnTo>
                      <a:pt x="229" y="148"/>
                    </a:lnTo>
                    <a:lnTo>
                      <a:pt x="215" y="151"/>
                    </a:lnTo>
                    <a:lnTo>
                      <a:pt x="201" y="157"/>
                    </a:lnTo>
                    <a:lnTo>
                      <a:pt x="188" y="160"/>
                    </a:lnTo>
                    <a:lnTo>
                      <a:pt x="178" y="163"/>
                    </a:lnTo>
                    <a:lnTo>
                      <a:pt x="169" y="168"/>
                    </a:lnTo>
                    <a:lnTo>
                      <a:pt x="156" y="171"/>
                    </a:lnTo>
                    <a:lnTo>
                      <a:pt x="146" y="177"/>
                    </a:lnTo>
                    <a:lnTo>
                      <a:pt x="133" y="180"/>
                    </a:lnTo>
                    <a:lnTo>
                      <a:pt x="124" y="183"/>
                    </a:lnTo>
                    <a:lnTo>
                      <a:pt x="114" y="185"/>
                    </a:lnTo>
                    <a:lnTo>
                      <a:pt x="105" y="191"/>
                    </a:lnTo>
                    <a:lnTo>
                      <a:pt x="87" y="197"/>
                    </a:lnTo>
                    <a:lnTo>
                      <a:pt x="69" y="205"/>
                    </a:lnTo>
                    <a:lnTo>
                      <a:pt x="55" y="211"/>
                    </a:lnTo>
                    <a:lnTo>
                      <a:pt x="37" y="217"/>
                    </a:lnTo>
                    <a:lnTo>
                      <a:pt x="28" y="220"/>
                    </a:lnTo>
                    <a:lnTo>
                      <a:pt x="18" y="225"/>
                    </a:lnTo>
                    <a:lnTo>
                      <a:pt x="0" y="23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7" name="Freeform 81"/>
              <p:cNvSpPr>
                <a:spLocks/>
              </p:cNvSpPr>
              <p:nvPr>
                <p:custDataLst>
                  <p:tags r:id="rId110"/>
                </p:custDataLst>
              </p:nvPr>
            </p:nvSpPr>
            <p:spPr bwMode="gray">
              <a:xfrm>
                <a:off x="4230" y="923"/>
                <a:ext cx="797" cy="336"/>
              </a:xfrm>
              <a:custGeom>
                <a:avLst/>
                <a:gdLst>
                  <a:gd name="T0" fmla="*/ 35 w 777"/>
                  <a:gd name="T1" fmla="*/ 5 h 367"/>
                  <a:gd name="T2" fmla="*/ 88 w 777"/>
                  <a:gd name="T3" fmla="*/ 8 h 367"/>
                  <a:gd name="T4" fmla="*/ 136 w 777"/>
                  <a:gd name="T5" fmla="*/ 13 h 367"/>
                  <a:gd name="T6" fmla="*/ 187 w 777"/>
                  <a:gd name="T7" fmla="*/ 17 h 367"/>
                  <a:gd name="T8" fmla="*/ 248 w 777"/>
                  <a:gd name="T9" fmla="*/ 24 h 367"/>
                  <a:gd name="T10" fmla="*/ 309 w 777"/>
                  <a:gd name="T11" fmla="*/ 31 h 367"/>
                  <a:gd name="T12" fmla="*/ 378 w 777"/>
                  <a:gd name="T13" fmla="*/ 38 h 367"/>
                  <a:gd name="T14" fmla="*/ 446 w 777"/>
                  <a:gd name="T15" fmla="*/ 45 h 367"/>
                  <a:gd name="T16" fmla="*/ 521 w 777"/>
                  <a:gd name="T17" fmla="*/ 54 h 367"/>
                  <a:gd name="T18" fmla="*/ 588 w 777"/>
                  <a:gd name="T19" fmla="*/ 61 h 367"/>
                  <a:gd name="T20" fmla="*/ 664 w 777"/>
                  <a:gd name="T21" fmla="*/ 69 h 367"/>
                  <a:gd name="T22" fmla="*/ 731 w 777"/>
                  <a:gd name="T23" fmla="*/ 76 h 367"/>
                  <a:gd name="T24" fmla="*/ 793 w 777"/>
                  <a:gd name="T25" fmla="*/ 83 h 367"/>
                  <a:gd name="T26" fmla="*/ 854 w 777"/>
                  <a:gd name="T27" fmla="*/ 90 h 367"/>
                  <a:gd name="T28" fmla="*/ 912 w 777"/>
                  <a:gd name="T29" fmla="*/ 95 h 367"/>
                  <a:gd name="T30" fmla="*/ 961 w 777"/>
                  <a:gd name="T31" fmla="*/ 102 h 367"/>
                  <a:gd name="T32" fmla="*/ 1015 w 777"/>
                  <a:gd name="T33" fmla="*/ 110 h 367"/>
                  <a:gd name="T34" fmla="*/ 1055 w 777"/>
                  <a:gd name="T35" fmla="*/ 114 h 367"/>
                  <a:gd name="T36" fmla="*/ 1015 w 777"/>
                  <a:gd name="T37" fmla="*/ 114 h 367"/>
                  <a:gd name="T38" fmla="*/ 966 w 777"/>
                  <a:gd name="T39" fmla="*/ 118 h 367"/>
                  <a:gd name="T40" fmla="*/ 907 w 777"/>
                  <a:gd name="T41" fmla="*/ 119 h 367"/>
                  <a:gd name="T42" fmla="*/ 830 w 777"/>
                  <a:gd name="T43" fmla="*/ 121 h 367"/>
                  <a:gd name="T44" fmla="*/ 755 w 777"/>
                  <a:gd name="T45" fmla="*/ 123 h 367"/>
                  <a:gd name="T46" fmla="*/ 669 w 777"/>
                  <a:gd name="T47" fmla="*/ 125 h 367"/>
                  <a:gd name="T48" fmla="*/ 601 w 777"/>
                  <a:gd name="T49" fmla="*/ 125 h 367"/>
                  <a:gd name="T50" fmla="*/ 539 w 777"/>
                  <a:gd name="T51" fmla="*/ 127 h 367"/>
                  <a:gd name="T52" fmla="*/ 793 w 777"/>
                  <a:gd name="T53" fmla="*/ 101 h 367"/>
                  <a:gd name="T54" fmla="*/ 743 w 777"/>
                  <a:gd name="T55" fmla="*/ 94 h 367"/>
                  <a:gd name="T56" fmla="*/ 695 w 777"/>
                  <a:gd name="T57" fmla="*/ 87 h 367"/>
                  <a:gd name="T58" fmla="*/ 645 w 777"/>
                  <a:gd name="T59" fmla="*/ 81 h 367"/>
                  <a:gd name="T60" fmla="*/ 597 w 777"/>
                  <a:gd name="T61" fmla="*/ 74 h 367"/>
                  <a:gd name="T62" fmla="*/ 539 w 777"/>
                  <a:gd name="T63" fmla="*/ 69 h 367"/>
                  <a:gd name="T64" fmla="*/ 490 w 777"/>
                  <a:gd name="T65" fmla="*/ 61 h 367"/>
                  <a:gd name="T66" fmla="*/ 422 w 777"/>
                  <a:gd name="T67" fmla="*/ 55 h 367"/>
                  <a:gd name="T68" fmla="*/ 371 w 777"/>
                  <a:gd name="T69" fmla="*/ 47 h 367"/>
                  <a:gd name="T70" fmla="*/ 309 w 777"/>
                  <a:gd name="T71" fmla="*/ 41 h 367"/>
                  <a:gd name="T72" fmla="*/ 253 w 777"/>
                  <a:gd name="T73" fmla="*/ 34 h 367"/>
                  <a:gd name="T74" fmla="*/ 198 w 777"/>
                  <a:gd name="T75" fmla="*/ 26 h 367"/>
                  <a:gd name="T76" fmla="*/ 154 w 777"/>
                  <a:gd name="T77" fmla="*/ 20 h 367"/>
                  <a:gd name="T78" fmla="*/ 110 w 777"/>
                  <a:gd name="T79" fmla="*/ 14 h 367"/>
                  <a:gd name="T80" fmla="*/ 48 w 777"/>
                  <a:gd name="T81" fmla="*/ 5 h 367"/>
                  <a:gd name="T82" fmla="*/ 0 w 777"/>
                  <a:gd name="T83" fmla="*/ 0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7"/>
                  <a:gd name="T127" fmla="*/ 0 h 367"/>
                  <a:gd name="T128" fmla="*/ 777 w 777"/>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7" h="367">
                    <a:moveTo>
                      <a:pt x="4" y="0"/>
                    </a:moveTo>
                    <a:lnTo>
                      <a:pt x="9" y="0"/>
                    </a:lnTo>
                    <a:lnTo>
                      <a:pt x="23" y="6"/>
                    </a:lnTo>
                    <a:lnTo>
                      <a:pt x="36" y="11"/>
                    </a:lnTo>
                    <a:lnTo>
                      <a:pt x="55" y="17"/>
                    </a:lnTo>
                    <a:lnTo>
                      <a:pt x="64" y="23"/>
                    </a:lnTo>
                    <a:lnTo>
                      <a:pt x="73" y="26"/>
                    </a:lnTo>
                    <a:lnTo>
                      <a:pt x="87" y="28"/>
                    </a:lnTo>
                    <a:lnTo>
                      <a:pt x="100" y="37"/>
                    </a:lnTo>
                    <a:lnTo>
                      <a:pt x="110" y="40"/>
                    </a:lnTo>
                    <a:lnTo>
                      <a:pt x="123" y="46"/>
                    </a:lnTo>
                    <a:lnTo>
                      <a:pt x="137" y="51"/>
                    </a:lnTo>
                    <a:lnTo>
                      <a:pt x="155" y="57"/>
                    </a:lnTo>
                    <a:lnTo>
                      <a:pt x="169" y="65"/>
                    </a:lnTo>
                    <a:lnTo>
                      <a:pt x="183" y="68"/>
                    </a:lnTo>
                    <a:lnTo>
                      <a:pt x="196" y="74"/>
                    </a:lnTo>
                    <a:lnTo>
                      <a:pt x="215" y="85"/>
                    </a:lnTo>
                    <a:lnTo>
                      <a:pt x="228" y="88"/>
                    </a:lnTo>
                    <a:lnTo>
                      <a:pt x="247" y="97"/>
                    </a:lnTo>
                    <a:lnTo>
                      <a:pt x="260" y="105"/>
                    </a:lnTo>
                    <a:lnTo>
                      <a:pt x="279" y="111"/>
                    </a:lnTo>
                    <a:lnTo>
                      <a:pt x="297" y="117"/>
                    </a:lnTo>
                    <a:lnTo>
                      <a:pt x="311" y="125"/>
                    </a:lnTo>
                    <a:lnTo>
                      <a:pt x="329" y="131"/>
                    </a:lnTo>
                    <a:lnTo>
                      <a:pt x="347" y="140"/>
                    </a:lnTo>
                    <a:lnTo>
                      <a:pt x="365" y="148"/>
                    </a:lnTo>
                    <a:lnTo>
                      <a:pt x="384" y="154"/>
                    </a:lnTo>
                    <a:lnTo>
                      <a:pt x="402" y="162"/>
                    </a:lnTo>
                    <a:lnTo>
                      <a:pt x="420" y="171"/>
                    </a:lnTo>
                    <a:lnTo>
                      <a:pt x="434" y="177"/>
                    </a:lnTo>
                    <a:lnTo>
                      <a:pt x="457" y="185"/>
                    </a:lnTo>
                    <a:lnTo>
                      <a:pt x="471" y="191"/>
                    </a:lnTo>
                    <a:lnTo>
                      <a:pt x="489" y="199"/>
                    </a:lnTo>
                    <a:lnTo>
                      <a:pt x="507" y="205"/>
                    </a:lnTo>
                    <a:lnTo>
                      <a:pt x="525" y="214"/>
                    </a:lnTo>
                    <a:lnTo>
                      <a:pt x="539" y="219"/>
                    </a:lnTo>
                    <a:lnTo>
                      <a:pt x="557" y="225"/>
                    </a:lnTo>
                    <a:lnTo>
                      <a:pt x="571" y="233"/>
                    </a:lnTo>
                    <a:lnTo>
                      <a:pt x="585" y="239"/>
                    </a:lnTo>
                    <a:lnTo>
                      <a:pt x="603" y="248"/>
                    </a:lnTo>
                    <a:lnTo>
                      <a:pt x="617" y="253"/>
                    </a:lnTo>
                    <a:lnTo>
                      <a:pt x="630" y="259"/>
                    </a:lnTo>
                    <a:lnTo>
                      <a:pt x="644" y="268"/>
                    </a:lnTo>
                    <a:lnTo>
                      <a:pt x="658" y="273"/>
                    </a:lnTo>
                    <a:lnTo>
                      <a:pt x="672" y="279"/>
                    </a:lnTo>
                    <a:lnTo>
                      <a:pt x="681" y="282"/>
                    </a:lnTo>
                    <a:lnTo>
                      <a:pt x="690" y="288"/>
                    </a:lnTo>
                    <a:lnTo>
                      <a:pt x="708" y="293"/>
                    </a:lnTo>
                    <a:lnTo>
                      <a:pt x="717" y="299"/>
                    </a:lnTo>
                    <a:lnTo>
                      <a:pt x="736" y="308"/>
                    </a:lnTo>
                    <a:lnTo>
                      <a:pt x="749" y="316"/>
                    </a:lnTo>
                    <a:lnTo>
                      <a:pt x="763" y="322"/>
                    </a:lnTo>
                    <a:lnTo>
                      <a:pt x="772" y="325"/>
                    </a:lnTo>
                    <a:lnTo>
                      <a:pt x="777" y="330"/>
                    </a:lnTo>
                    <a:lnTo>
                      <a:pt x="763" y="330"/>
                    </a:lnTo>
                    <a:lnTo>
                      <a:pt x="749" y="333"/>
                    </a:lnTo>
                    <a:lnTo>
                      <a:pt x="740" y="336"/>
                    </a:lnTo>
                    <a:lnTo>
                      <a:pt x="726" y="336"/>
                    </a:lnTo>
                    <a:lnTo>
                      <a:pt x="713" y="339"/>
                    </a:lnTo>
                    <a:lnTo>
                      <a:pt x="699" y="342"/>
                    </a:lnTo>
                    <a:lnTo>
                      <a:pt x="681" y="342"/>
                    </a:lnTo>
                    <a:lnTo>
                      <a:pt x="667" y="342"/>
                    </a:lnTo>
                    <a:lnTo>
                      <a:pt x="649" y="342"/>
                    </a:lnTo>
                    <a:lnTo>
                      <a:pt x="630" y="347"/>
                    </a:lnTo>
                    <a:lnTo>
                      <a:pt x="612" y="347"/>
                    </a:lnTo>
                    <a:lnTo>
                      <a:pt x="594" y="350"/>
                    </a:lnTo>
                    <a:lnTo>
                      <a:pt x="571" y="353"/>
                    </a:lnTo>
                    <a:lnTo>
                      <a:pt x="557" y="353"/>
                    </a:lnTo>
                    <a:lnTo>
                      <a:pt x="535" y="356"/>
                    </a:lnTo>
                    <a:lnTo>
                      <a:pt x="516" y="359"/>
                    </a:lnTo>
                    <a:lnTo>
                      <a:pt x="493" y="359"/>
                    </a:lnTo>
                    <a:lnTo>
                      <a:pt x="480" y="362"/>
                    </a:lnTo>
                    <a:lnTo>
                      <a:pt x="461" y="362"/>
                    </a:lnTo>
                    <a:lnTo>
                      <a:pt x="443" y="364"/>
                    </a:lnTo>
                    <a:lnTo>
                      <a:pt x="425" y="364"/>
                    </a:lnTo>
                    <a:lnTo>
                      <a:pt x="416" y="367"/>
                    </a:lnTo>
                    <a:lnTo>
                      <a:pt x="397" y="367"/>
                    </a:lnTo>
                    <a:lnTo>
                      <a:pt x="589" y="293"/>
                    </a:lnTo>
                    <a:lnTo>
                      <a:pt x="585" y="290"/>
                    </a:lnTo>
                    <a:lnTo>
                      <a:pt x="585" y="288"/>
                    </a:lnTo>
                    <a:lnTo>
                      <a:pt x="571" y="282"/>
                    </a:lnTo>
                    <a:lnTo>
                      <a:pt x="562" y="279"/>
                    </a:lnTo>
                    <a:lnTo>
                      <a:pt x="548" y="271"/>
                    </a:lnTo>
                    <a:lnTo>
                      <a:pt x="525" y="262"/>
                    </a:lnTo>
                    <a:lnTo>
                      <a:pt x="516" y="256"/>
                    </a:lnTo>
                    <a:lnTo>
                      <a:pt x="512" y="253"/>
                    </a:lnTo>
                    <a:lnTo>
                      <a:pt x="498" y="248"/>
                    </a:lnTo>
                    <a:lnTo>
                      <a:pt x="489" y="242"/>
                    </a:lnTo>
                    <a:lnTo>
                      <a:pt x="475" y="236"/>
                    </a:lnTo>
                    <a:lnTo>
                      <a:pt x="466" y="231"/>
                    </a:lnTo>
                    <a:lnTo>
                      <a:pt x="452" y="225"/>
                    </a:lnTo>
                    <a:lnTo>
                      <a:pt x="439" y="216"/>
                    </a:lnTo>
                    <a:lnTo>
                      <a:pt x="425" y="211"/>
                    </a:lnTo>
                    <a:lnTo>
                      <a:pt x="416" y="205"/>
                    </a:lnTo>
                    <a:lnTo>
                      <a:pt x="397" y="199"/>
                    </a:lnTo>
                    <a:lnTo>
                      <a:pt x="384" y="194"/>
                    </a:lnTo>
                    <a:lnTo>
                      <a:pt x="370" y="185"/>
                    </a:lnTo>
                    <a:lnTo>
                      <a:pt x="361" y="179"/>
                    </a:lnTo>
                    <a:lnTo>
                      <a:pt x="347" y="171"/>
                    </a:lnTo>
                    <a:lnTo>
                      <a:pt x="329" y="165"/>
                    </a:lnTo>
                    <a:lnTo>
                      <a:pt x="311" y="157"/>
                    </a:lnTo>
                    <a:lnTo>
                      <a:pt x="301" y="151"/>
                    </a:lnTo>
                    <a:lnTo>
                      <a:pt x="288" y="145"/>
                    </a:lnTo>
                    <a:lnTo>
                      <a:pt x="274" y="137"/>
                    </a:lnTo>
                    <a:lnTo>
                      <a:pt x="256" y="131"/>
                    </a:lnTo>
                    <a:lnTo>
                      <a:pt x="242" y="122"/>
                    </a:lnTo>
                    <a:lnTo>
                      <a:pt x="228" y="117"/>
                    </a:lnTo>
                    <a:lnTo>
                      <a:pt x="215" y="108"/>
                    </a:lnTo>
                    <a:lnTo>
                      <a:pt x="201" y="103"/>
                    </a:lnTo>
                    <a:lnTo>
                      <a:pt x="187" y="97"/>
                    </a:lnTo>
                    <a:lnTo>
                      <a:pt x="173" y="88"/>
                    </a:lnTo>
                    <a:lnTo>
                      <a:pt x="160" y="85"/>
                    </a:lnTo>
                    <a:lnTo>
                      <a:pt x="146" y="74"/>
                    </a:lnTo>
                    <a:lnTo>
                      <a:pt x="137" y="68"/>
                    </a:lnTo>
                    <a:lnTo>
                      <a:pt x="123" y="65"/>
                    </a:lnTo>
                    <a:lnTo>
                      <a:pt x="114" y="57"/>
                    </a:lnTo>
                    <a:lnTo>
                      <a:pt x="100" y="48"/>
                    </a:lnTo>
                    <a:lnTo>
                      <a:pt x="87" y="46"/>
                    </a:lnTo>
                    <a:lnTo>
                      <a:pt x="82" y="40"/>
                    </a:lnTo>
                    <a:lnTo>
                      <a:pt x="73" y="37"/>
                    </a:lnTo>
                    <a:lnTo>
                      <a:pt x="50" y="26"/>
                    </a:lnTo>
                    <a:lnTo>
                      <a:pt x="36" y="17"/>
                    </a:lnTo>
                    <a:lnTo>
                      <a:pt x="23" y="11"/>
                    </a:lnTo>
                    <a:lnTo>
                      <a:pt x="14" y="6"/>
                    </a:lnTo>
                    <a:lnTo>
                      <a:pt x="0" y="0"/>
                    </a:lnTo>
                    <a:lnTo>
                      <a:pt x="4"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8" name="Freeform 82"/>
              <p:cNvSpPr>
                <a:spLocks/>
              </p:cNvSpPr>
              <p:nvPr>
                <p:custDataLst>
                  <p:tags r:id="rId111"/>
                </p:custDataLst>
              </p:nvPr>
            </p:nvSpPr>
            <p:spPr bwMode="gray">
              <a:xfrm>
                <a:off x="2000" y="1341"/>
                <a:ext cx="1804" cy="70"/>
              </a:xfrm>
              <a:custGeom>
                <a:avLst/>
                <a:gdLst>
                  <a:gd name="T0" fmla="*/ 473 w 1760"/>
                  <a:gd name="T1" fmla="*/ 22 h 77"/>
                  <a:gd name="T2" fmla="*/ 629 w 1760"/>
                  <a:gd name="T3" fmla="*/ 25 h 77"/>
                  <a:gd name="T4" fmla="*/ 794 w 1760"/>
                  <a:gd name="T5" fmla="*/ 25 h 77"/>
                  <a:gd name="T6" fmla="*/ 959 w 1760"/>
                  <a:gd name="T7" fmla="*/ 25 h 77"/>
                  <a:gd name="T8" fmla="*/ 1132 w 1760"/>
                  <a:gd name="T9" fmla="*/ 25 h 77"/>
                  <a:gd name="T10" fmla="*/ 1310 w 1760"/>
                  <a:gd name="T11" fmla="*/ 23 h 77"/>
                  <a:gd name="T12" fmla="*/ 1475 w 1760"/>
                  <a:gd name="T13" fmla="*/ 20 h 77"/>
                  <a:gd name="T14" fmla="*/ 1642 w 1760"/>
                  <a:gd name="T15" fmla="*/ 17 h 77"/>
                  <a:gd name="T16" fmla="*/ 1797 w 1760"/>
                  <a:gd name="T17" fmla="*/ 15 h 77"/>
                  <a:gd name="T18" fmla="*/ 1938 w 1760"/>
                  <a:gd name="T19" fmla="*/ 12 h 77"/>
                  <a:gd name="T20" fmla="*/ 2063 w 1760"/>
                  <a:gd name="T21" fmla="*/ 10 h 77"/>
                  <a:gd name="T22" fmla="*/ 2169 w 1760"/>
                  <a:gd name="T23" fmla="*/ 6 h 77"/>
                  <a:gd name="T24" fmla="*/ 2256 w 1760"/>
                  <a:gd name="T25" fmla="*/ 5 h 77"/>
                  <a:gd name="T26" fmla="*/ 2317 w 1760"/>
                  <a:gd name="T27" fmla="*/ 5 h 77"/>
                  <a:gd name="T28" fmla="*/ 2367 w 1760"/>
                  <a:gd name="T29" fmla="*/ 0 h 77"/>
                  <a:gd name="T30" fmla="*/ 2300 w 1760"/>
                  <a:gd name="T31" fmla="*/ 0 h 77"/>
                  <a:gd name="T32" fmla="*/ 2217 w 1760"/>
                  <a:gd name="T33" fmla="*/ 3 h 77"/>
                  <a:gd name="T34" fmla="*/ 2145 w 1760"/>
                  <a:gd name="T35" fmla="*/ 5 h 77"/>
                  <a:gd name="T36" fmla="*/ 2052 w 1760"/>
                  <a:gd name="T37" fmla="*/ 5 h 77"/>
                  <a:gd name="T38" fmla="*/ 1958 w 1760"/>
                  <a:gd name="T39" fmla="*/ 5 h 77"/>
                  <a:gd name="T40" fmla="*/ 1856 w 1760"/>
                  <a:gd name="T41" fmla="*/ 5 h 77"/>
                  <a:gd name="T42" fmla="*/ 1754 w 1760"/>
                  <a:gd name="T43" fmla="*/ 5 h 77"/>
                  <a:gd name="T44" fmla="*/ 1635 w 1760"/>
                  <a:gd name="T45" fmla="*/ 6 h 77"/>
                  <a:gd name="T46" fmla="*/ 1525 w 1760"/>
                  <a:gd name="T47" fmla="*/ 7 h 77"/>
                  <a:gd name="T48" fmla="*/ 1416 w 1760"/>
                  <a:gd name="T49" fmla="*/ 10 h 77"/>
                  <a:gd name="T50" fmla="*/ 1310 w 1760"/>
                  <a:gd name="T51" fmla="*/ 11 h 77"/>
                  <a:gd name="T52" fmla="*/ 1212 w 1760"/>
                  <a:gd name="T53" fmla="*/ 12 h 77"/>
                  <a:gd name="T54" fmla="*/ 1119 w 1760"/>
                  <a:gd name="T55" fmla="*/ 13 h 77"/>
                  <a:gd name="T56" fmla="*/ 1043 w 1760"/>
                  <a:gd name="T57" fmla="*/ 13 h 77"/>
                  <a:gd name="T58" fmla="*/ 984 w 1760"/>
                  <a:gd name="T59" fmla="*/ 14 h 77"/>
                  <a:gd name="T60" fmla="*/ 921 w 1760"/>
                  <a:gd name="T61" fmla="*/ 14 h 77"/>
                  <a:gd name="T62" fmla="*/ 860 w 1760"/>
                  <a:gd name="T63" fmla="*/ 14 h 77"/>
                  <a:gd name="T64" fmla="*/ 787 w 1760"/>
                  <a:gd name="T65" fmla="*/ 15 h 77"/>
                  <a:gd name="T66" fmla="*/ 707 w 1760"/>
                  <a:gd name="T67" fmla="*/ 15 h 77"/>
                  <a:gd name="T68" fmla="*/ 629 w 1760"/>
                  <a:gd name="T69" fmla="*/ 15 h 77"/>
                  <a:gd name="T70" fmla="*/ 542 w 1760"/>
                  <a:gd name="T71" fmla="*/ 15 h 77"/>
                  <a:gd name="T72" fmla="*/ 456 w 1760"/>
                  <a:gd name="T73" fmla="*/ 15 h 77"/>
                  <a:gd name="T74" fmla="*/ 375 w 1760"/>
                  <a:gd name="T75" fmla="*/ 15 h 77"/>
                  <a:gd name="T76" fmla="*/ 297 w 1760"/>
                  <a:gd name="T77" fmla="*/ 15 h 77"/>
                  <a:gd name="T78" fmla="*/ 221 w 1760"/>
                  <a:gd name="T79" fmla="*/ 15 h 77"/>
                  <a:gd name="T80" fmla="*/ 160 w 1760"/>
                  <a:gd name="T81" fmla="*/ 14 h 77"/>
                  <a:gd name="T82" fmla="*/ 98 w 1760"/>
                  <a:gd name="T83" fmla="*/ 14 h 77"/>
                  <a:gd name="T84" fmla="*/ 35 w 1760"/>
                  <a:gd name="T85" fmla="*/ 14 h 77"/>
                  <a:gd name="T86" fmla="*/ 10 w 1760"/>
                  <a:gd name="T87" fmla="*/ 14 h 77"/>
                  <a:gd name="T88" fmla="*/ 93 w 1760"/>
                  <a:gd name="T89" fmla="*/ 15 h 77"/>
                  <a:gd name="T90" fmla="*/ 160 w 1760"/>
                  <a:gd name="T91" fmla="*/ 15 h 77"/>
                  <a:gd name="T92" fmla="*/ 221 w 1760"/>
                  <a:gd name="T93" fmla="*/ 17 h 77"/>
                  <a:gd name="T94" fmla="*/ 284 w 1760"/>
                  <a:gd name="T95" fmla="*/ 18 h 77"/>
                  <a:gd name="T96" fmla="*/ 338 w 1760"/>
                  <a:gd name="T97" fmla="*/ 19 h 77"/>
                  <a:gd name="T98" fmla="*/ 370 w 1760"/>
                  <a:gd name="T99" fmla="*/ 21 h 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0"/>
                  <a:gd name="T151" fmla="*/ 0 h 77"/>
                  <a:gd name="T152" fmla="*/ 1760 w 1760"/>
                  <a:gd name="T153" fmla="*/ 77 h 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0" h="77">
                    <a:moveTo>
                      <a:pt x="275" y="66"/>
                    </a:moveTo>
                    <a:lnTo>
                      <a:pt x="302" y="66"/>
                    </a:lnTo>
                    <a:lnTo>
                      <a:pt x="325" y="66"/>
                    </a:lnTo>
                    <a:lnTo>
                      <a:pt x="352" y="69"/>
                    </a:lnTo>
                    <a:lnTo>
                      <a:pt x="380" y="72"/>
                    </a:lnTo>
                    <a:lnTo>
                      <a:pt x="407" y="74"/>
                    </a:lnTo>
                    <a:lnTo>
                      <a:pt x="435" y="74"/>
                    </a:lnTo>
                    <a:lnTo>
                      <a:pt x="467" y="77"/>
                    </a:lnTo>
                    <a:lnTo>
                      <a:pt x="499" y="77"/>
                    </a:lnTo>
                    <a:lnTo>
                      <a:pt x="526" y="77"/>
                    </a:lnTo>
                    <a:lnTo>
                      <a:pt x="558" y="77"/>
                    </a:lnTo>
                    <a:lnTo>
                      <a:pt x="590" y="77"/>
                    </a:lnTo>
                    <a:lnTo>
                      <a:pt x="622" y="77"/>
                    </a:lnTo>
                    <a:lnTo>
                      <a:pt x="649" y="77"/>
                    </a:lnTo>
                    <a:lnTo>
                      <a:pt x="681" y="77"/>
                    </a:lnTo>
                    <a:lnTo>
                      <a:pt x="713" y="77"/>
                    </a:lnTo>
                    <a:lnTo>
                      <a:pt x="750" y="77"/>
                    </a:lnTo>
                    <a:lnTo>
                      <a:pt x="782" y="77"/>
                    </a:lnTo>
                    <a:lnTo>
                      <a:pt x="809" y="77"/>
                    </a:lnTo>
                    <a:lnTo>
                      <a:pt x="841" y="77"/>
                    </a:lnTo>
                    <a:lnTo>
                      <a:pt x="878" y="77"/>
                    </a:lnTo>
                    <a:lnTo>
                      <a:pt x="905" y="74"/>
                    </a:lnTo>
                    <a:lnTo>
                      <a:pt x="937" y="72"/>
                    </a:lnTo>
                    <a:lnTo>
                      <a:pt x="974" y="72"/>
                    </a:lnTo>
                    <a:lnTo>
                      <a:pt x="1006" y="69"/>
                    </a:lnTo>
                    <a:lnTo>
                      <a:pt x="1033" y="66"/>
                    </a:lnTo>
                    <a:lnTo>
                      <a:pt x="1065" y="66"/>
                    </a:lnTo>
                    <a:lnTo>
                      <a:pt x="1097" y="63"/>
                    </a:lnTo>
                    <a:lnTo>
                      <a:pt x="1129" y="60"/>
                    </a:lnTo>
                    <a:lnTo>
                      <a:pt x="1161" y="60"/>
                    </a:lnTo>
                    <a:lnTo>
                      <a:pt x="1193" y="57"/>
                    </a:lnTo>
                    <a:lnTo>
                      <a:pt x="1221" y="55"/>
                    </a:lnTo>
                    <a:lnTo>
                      <a:pt x="1248" y="55"/>
                    </a:lnTo>
                    <a:lnTo>
                      <a:pt x="1280" y="52"/>
                    </a:lnTo>
                    <a:lnTo>
                      <a:pt x="1303" y="49"/>
                    </a:lnTo>
                    <a:lnTo>
                      <a:pt x="1335" y="46"/>
                    </a:lnTo>
                    <a:lnTo>
                      <a:pt x="1362" y="46"/>
                    </a:lnTo>
                    <a:lnTo>
                      <a:pt x="1390" y="40"/>
                    </a:lnTo>
                    <a:lnTo>
                      <a:pt x="1413" y="40"/>
                    </a:lnTo>
                    <a:lnTo>
                      <a:pt x="1440" y="37"/>
                    </a:lnTo>
                    <a:lnTo>
                      <a:pt x="1467" y="35"/>
                    </a:lnTo>
                    <a:lnTo>
                      <a:pt x="1490" y="32"/>
                    </a:lnTo>
                    <a:lnTo>
                      <a:pt x="1513" y="32"/>
                    </a:lnTo>
                    <a:lnTo>
                      <a:pt x="1536" y="29"/>
                    </a:lnTo>
                    <a:lnTo>
                      <a:pt x="1559" y="23"/>
                    </a:lnTo>
                    <a:lnTo>
                      <a:pt x="1577" y="23"/>
                    </a:lnTo>
                    <a:lnTo>
                      <a:pt x="1595" y="20"/>
                    </a:lnTo>
                    <a:lnTo>
                      <a:pt x="1614" y="20"/>
                    </a:lnTo>
                    <a:lnTo>
                      <a:pt x="1637" y="18"/>
                    </a:lnTo>
                    <a:lnTo>
                      <a:pt x="1650" y="15"/>
                    </a:lnTo>
                    <a:lnTo>
                      <a:pt x="1664" y="15"/>
                    </a:lnTo>
                    <a:lnTo>
                      <a:pt x="1678" y="12"/>
                    </a:lnTo>
                    <a:lnTo>
                      <a:pt x="1691" y="12"/>
                    </a:lnTo>
                    <a:lnTo>
                      <a:pt x="1701" y="9"/>
                    </a:lnTo>
                    <a:lnTo>
                      <a:pt x="1719" y="6"/>
                    </a:lnTo>
                    <a:lnTo>
                      <a:pt x="1723" y="6"/>
                    </a:lnTo>
                    <a:lnTo>
                      <a:pt x="1737" y="6"/>
                    </a:lnTo>
                    <a:lnTo>
                      <a:pt x="1746" y="3"/>
                    </a:lnTo>
                    <a:lnTo>
                      <a:pt x="1755" y="0"/>
                    </a:lnTo>
                    <a:lnTo>
                      <a:pt x="1760" y="0"/>
                    </a:lnTo>
                    <a:lnTo>
                      <a:pt x="1755" y="0"/>
                    </a:lnTo>
                    <a:lnTo>
                      <a:pt x="1742" y="0"/>
                    </a:lnTo>
                    <a:lnTo>
                      <a:pt x="1723" y="0"/>
                    </a:lnTo>
                    <a:lnTo>
                      <a:pt x="1710" y="0"/>
                    </a:lnTo>
                    <a:lnTo>
                      <a:pt x="1691" y="3"/>
                    </a:lnTo>
                    <a:lnTo>
                      <a:pt x="1678" y="3"/>
                    </a:lnTo>
                    <a:lnTo>
                      <a:pt x="1664" y="3"/>
                    </a:lnTo>
                    <a:lnTo>
                      <a:pt x="1650" y="3"/>
                    </a:lnTo>
                    <a:lnTo>
                      <a:pt x="1637" y="3"/>
                    </a:lnTo>
                    <a:lnTo>
                      <a:pt x="1627" y="3"/>
                    </a:lnTo>
                    <a:lnTo>
                      <a:pt x="1609" y="3"/>
                    </a:lnTo>
                    <a:lnTo>
                      <a:pt x="1595" y="6"/>
                    </a:lnTo>
                    <a:lnTo>
                      <a:pt x="1577" y="6"/>
                    </a:lnTo>
                    <a:lnTo>
                      <a:pt x="1559" y="6"/>
                    </a:lnTo>
                    <a:lnTo>
                      <a:pt x="1545" y="6"/>
                    </a:lnTo>
                    <a:lnTo>
                      <a:pt x="1527" y="9"/>
                    </a:lnTo>
                    <a:lnTo>
                      <a:pt x="1513" y="9"/>
                    </a:lnTo>
                    <a:lnTo>
                      <a:pt x="1490" y="9"/>
                    </a:lnTo>
                    <a:lnTo>
                      <a:pt x="1477" y="12"/>
                    </a:lnTo>
                    <a:lnTo>
                      <a:pt x="1458" y="12"/>
                    </a:lnTo>
                    <a:lnTo>
                      <a:pt x="1440" y="12"/>
                    </a:lnTo>
                    <a:lnTo>
                      <a:pt x="1417" y="12"/>
                    </a:lnTo>
                    <a:lnTo>
                      <a:pt x="1399" y="15"/>
                    </a:lnTo>
                    <a:lnTo>
                      <a:pt x="1381" y="15"/>
                    </a:lnTo>
                    <a:lnTo>
                      <a:pt x="1358" y="18"/>
                    </a:lnTo>
                    <a:lnTo>
                      <a:pt x="1339" y="18"/>
                    </a:lnTo>
                    <a:lnTo>
                      <a:pt x="1321" y="18"/>
                    </a:lnTo>
                    <a:lnTo>
                      <a:pt x="1303" y="18"/>
                    </a:lnTo>
                    <a:lnTo>
                      <a:pt x="1280" y="20"/>
                    </a:lnTo>
                    <a:lnTo>
                      <a:pt x="1257" y="20"/>
                    </a:lnTo>
                    <a:lnTo>
                      <a:pt x="1239" y="20"/>
                    </a:lnTo>
                    <a:lnTo>
                      <a:pt x="1216" y="20"/>
                    </a:lnTo>
                    <a:lnTo>
                      <a:pt x="1198" y="23"/>
                    </a:lnTo>
                    <a:lnTo>
                      <a:pt x="1175" y="23"/>
                    </a:lnTo>
                    <a:lnTo>
                      <a:pt x="1157" y="23"/>
                    </a:lnTo>
                    <a:lnTo>
                      <a:pt x="1134" y="23"/>
                    </a:lnTo>
                    <a:lnTo>
                      <a:pt x="1116" y="26"/>
                    </a:lnTo>
                    <a:lnTo>
                      <a:pt x="1093" y="26"/>
                    </a:lnTo>
                    <a:lnTo>
                      <a:pt x="1070" y="29"/>
                    </a:lnTo>
                    <a:lnTo>
                      <a:pt x="1052" y="29"/>
                    </a:lnTo>
                    <a:lnTo>
                      <a:pt x="1033" y="32"/>
                    </a:lnTo>
                    <a:lnTo>
                      <a:pt x="1010" y="32"/>
                    </a:lnTo>
                    <a:lnTo>
                      <a:pt x="992" y="32"/>
                    </a:lnTo>
                    <a:lnTo>
                      <a:pt x="974" y="32"/>
                    </a:lnTo>
                    <a:lnTo>
                      <a:pt x="956" y="32"/>
                    </a:lnTo>
                    <a:lnTo>
                      <a:pt x="937" y="32"/>
                    </a:lnTo>
                    <a:lnTo>
                      <a:pt x="919" y="35"/>
                    </a:lnTo>
                    <a:lnTo>
                      <a:pt x="901" y="35"/>
                    </a:lnTo>
                    <a:lnTo>
                      <a:pt x="887" y="35"/>
                    </a:lnTo>
                    <a:lnTo>
                      <a:pt x="869" y="35"/>
                    </a:lnTo>
                    <a:lnTo>
                      <a:pt x="850" y="37"/>
                    </a:lnTo>
                    <a:lnTo>
                      <a:pt x="832" y="40"/>
                    </a:lnTo>
                    <a:lnTo>
                      <a:pt x="818" y="40"/>
                    </a:lnTo>
                    <a:lnTo>
                      <a:pt x="800" y="40"/>
                    </a:lnTo>
                    <a:lnTo>
                      <a:pt x="791" y="40"/>
                    </a:lnTo>
                    <a:lnTo>
                      <a:pt x="777" y="40"/>
                    </a:lnTo>
                    <a:lnTo>
                      <a:pt x="764" y="40"/>
                    </a:lnTo>
                    <a:lnTo>
                      <a:pt x="750" y="40"/>
                    </a:lnTo>
                    <a:lnTo>
                      <a:pt x="741" y="40"/>
                    </a:lnTo>
                    <a:lnTo>
                      <a:pt x="732" y="43"/>
                    </a:lnTo>
                    <a:lnTo>
                      <a:pt x="723" y="43"/>
                    </a:lnTo>
                    <a:lnTo>
                      <a:pt x="709" y="43"/>
                    </a:lnTo>
                    <a:lnTo>
                      <a:pt x="700" y="43"/>
                    </a:lnTo>
                    <a:lnTo>
                      <a:pt x="686" y="43"/>
                    </a:lnTo>
                    <a:lnTo>
                      <a:pt x="677" y="43"/>
                    </a:lnTo>
                    <a:lnTo>
                      <a:pt x="663" y="43"/>
                    </a:lnTo>
                    <a:lnTo>
                      <a:pt x="649" y="43"/>
                    </a:lnTo>
                    <a:lnTo>
                      <a:pt x="640" y="43"/>
                    </a:lnTo>
                    <a:lnTo>
                      <a:pt x="627" y="46"/>
                    </a:lnTo>
                    <a:lnTo>
                      <a:pt x="613" y="46"/>
                    </a:lnTo>
                    <a:lnTo>
                      <a:pt x="599" y="46"/>
                    </a:lnTo>
                    <a:lnTo>
                      <a:pt x="585" y="46"/>
                    </a:lnTo>
                    <a:lnTo>
                      <a:pt x="572" y="46"/>
                    </a:lnTo>
                    <a:lnTo>
                      <a:pt x="558" y="46"/>
                    </a:lnTo>
                    <a:lnTo>
                      <a:pt x="544" y="46"/>
                    </a:lnTo>
                    <a:lnTo>
                      <a:pt x="526" y="46"/>
                    </a:lnTo>
                    <a:lnTo>
                      <a:pt x="512" y="46"/>
                    </a:lnTo>
                    <a:lnTo>
                      <a:pt x="499" y="46"/>
                    </a:lnTo>
                    <a:lnTo>
                      <a:pt x="480" y="46"/>
                    </a:lnTo>
                    <a:lnTo>
                      <a:pt x="467" y="46"/>
                    </a:lnTo>
                    <a:lnTo>
                      <a:pt x="448" y="46"/>
                    </a:lnTo>
                    <a:lnTo>
                      <a:pt x="435" y="46"/>
                    </a:lnTo>
                    <a:lnTo>
                      <a:pt x="416" y="46"/>
                    </a:lnTo>
                    <a:lnTo>
                      <a:pt x="403" y="46"/>
                    </a:lnTo>
                    <a:lnTo>
                      <a:pt x="389" y="46"/>
                    </a:lnTo>
                    <a:lnTo>
                      <a:pt x="371" y="46"/>
                    </a:lnTo>
                    <a:lnTo>
                      <a:pt x="357" y="46"/>
                    </a:lnTo>
                    <a:lnTo>
                      <a:pt x="339" y="46"/>
                    </a:lnTo>
                    <a:lnTo>
                      <a:pt x="325" y="46"/>
                    </a:lnTo>
                    <a:lnTo>
                      <a:pt x="311" y="46"/>
                    </a:lnTo>
                    <a:lnTo>
                      <a:pt x="293" y="46"/>
                    </a:lnTo>
                    <a:lnTo>
                      <a:pt x="279" y="46"/>
                    </a:lnTo>
                    <a:lnTo>
                      <a:pt x="266" y="46"/>
                    </a:lnTo>
                    <a:lnTo>
                      <a:pt x="252" y="46"/>
                    </a:lnTo>
                    <a:lnTo>
                      <a:pt x="234" y="46"/>
                    </a:lnTo>
                    <a:lnTo>
                      <a:pt x="220" y="46"/>
                    </a:lnTo>
                    <a:lnTo>
                      <a:pt x="206" y="46"/>
                    </a:lnTo>
                    <a:lnTo>
                      <a:pt x="192" y="46"/>
                    </a:lnTo>
                    <a:lnTo>
                      <a:pt x="179" y="46"/>
                    </a:lnTo>
                    <a:lnTo>
                      <a:pt x="165" y="46"/>
                    </a:lnTo>
                    <a:lnTo>
                      <a:pt x="156" y="46"/>
                    </a:lnTo>
                    <a:lnTo>
                      <a:pt x="142" y="43"/>
                    </a:lnTo>
                    <a:lnTo>
                      <a:pt x="128" y="43"/>
                    </a:lnTo>
                    <a:lnTo>
                      <a:pt x="119" y="43"/>
                    </a:lnTo>
                    <a:lnTo>
                      <a:pt x="106" y="43"/>
                    </a:lnTo>
                    <a:lnTo>
                      <a:pt x="96" y="43"/>
                    </a:lnTo>
                    <a:lnTo>
                      <a:pt x="83" y="43"/>
                    </a:lnTo>
                    <a:lnTo>
                      <a:pt x="74" y="43"/>
                    </a:lnTo>
                    <a:lnTo>
                      <a:pt x="64" y="43"/>
                    </a:lnTo>
                    <a:lnTo>
                      <a:pt x="46" y="43"/>
                    </a:lnTo>
                    <a:lnTo>
                      <a:pt x="32" y="43"/>
                    </a:lnTo>
                    <a:lnTo>
                      <a:pt x="23" y="43"/>
                    </a:lnTo>
                    <a:lnTo>
                      <a:pt x="10" y="43"/>
                    </a:lnTo>
                    <a:lnTo>
                      <a:pt x="0" y="43"/>
                    </a:lnTo>
                    <a:lnTo>
                      <a:pt x="10" y="43"/>
                    </a:lnTo>
                    <a:lnTo>
                      <a:pt x="28" y="43"/>
                    </a:lnTo>
                    <a:lnTo>
                      <a:pt x="42" y="46"/>
                    </a:lnTo>
                    <a:lnTo>
                      <a:pt x="60" y="46"/>
                    </a:lnTo>
                    <a:lnTo>
                      <a:pt x="69" y="46"/>
                    </a:lnTo>
                    <a:lnTo>
                      <a:pt x="83" y="46"/>
                    </a:lnTo>
                    <a:lnTo>
                      <a:pt x="92" y="49"/>
                    </a:lnTo>
                    <a:lnTo>
                      <a:pt x="106" y="49"/>
                    </a:lnTo>
                    <a:lnTo>
                      <a:pt x="119" y="49"/>
                    </a:lnTo>
                    <a:lnTo>
                      <a:pt x="128" y="52"/>
                    </a:lnTo>
                    <a:lnTo>
                      <a:pt x="142" y="55"/>
                    </a:lnTo>
                    <a:lnTo>
                      <a:pt x="156" y="55"/>
                    </a:lnTo>
                    <a:lnTo>
                      <a:pt x="165" y="55"/>
                    </a:lnTo>
                    <a:lnTo>
                      <a:pt x="179" y="55"/>
                    </a:lnTo>
                    <a:lnTo>
                      <a:pt x="188" y="55"/>
                    </a:lnTo>
                    <a:lnTo>
                      <a:pt x="202" y="57"/>
                    </a:lnTo>
                    <a:lnTo>
                      <a:pt x="211" y="57"/>
                    </a:lnTo>
                    <a:lnTo>
                      <a:pt x="220" y="57"/>
                    </a:lnTo>
                    <a:lnTo>
                      <a:pt x="229" y="60"/>
                    </a:lnTo>
                    <a:lnTo>
                      <a:pt x="238" y="60"/>
                    </a:lnTo>
                    <a:lnTo>
                      <a:pt x="252" y="60"/>
                    </a:lnTo>
                    <a:lnTo>
                      <a:pt x="266" y="60"/>
                    </a:lnTo>
                    <a:lnTo>
                      <a:pt x="270" y="63"/>
                    </a:lnTo>
                    <a:lnTo>
                      <a:pt x="275" y="6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69" name="Freeform 83"/>
              <p:cNvSpPr>
                <a:spLocks/>
              </p:cNvSpPr>
              <p:nvPr>
                <p:custDataLst>
                  <p:tags r:id="rId112"/>
                </p:custDataLst>
              </p:nvPr>
            </p:nvSpPr>
            <p:spPr bwMode="gray">
              <a:xfrm>
                <a:off x="1227" y="2140"/>
                <a:ext cx="1139" cy="188"/>
              </a:xfrm>
              <a:custGeom>
                <a:avLst/>
                <a:gdLst>
                  <a:gd name="T0" fmla="*/ 35 w 1111"/>
                  <a:gd name="T1" fmla="*/ 3 h 205"/>
                  <a:gd name="T2" fmla="*/ 74 w 1111"/>
                  <a:gd name="T3" fmla="*/ 6 h 205"/>
                  <a:gd name="T4" fmla="*/ 137 w 1111"/>
                  <a:gd name="T5" fmla="*/ 6 h 205"/>
                  <a:gd name="T6" fmla="*/ 192 w 1111"/>
                  <a:gd name="T7" fmla="*/ 6 h 205"/>
                  <a:gd name="T8" fmla="*/ 243 w 1111"/>
                  <a:gd name="T9" fmla="*/ 6 h 205"/>
                  <a:gd name="T10" fmla="*/ 284 w 1111"/>
                  <a:gd name="T11" fmla="*/ 8 h 205"/>
                  <a:gd name="T12" fmla="*/ 327 w 1111"/>
                  <a:gd name="T13" fmla="*/ 8 h 205"/>
                  <a:gd name="T14" fmla="*/ 370 w 1111"/>
                  <a:gd name="T15" fmla="*/ 11 h 205"/>
                  <a:gd name="T16" fmla="*/ 419 w 1111"/>
                  <a:gd name="T17" fmla="*/ 12 h 205"/>
                  <a:gd name="T18" fmla="*/ 469 w 1111"/>
                  <a:gd name="T19" fmla="*/ 13 h 205"/>
                  <a:gd name="T20" fmla="*/ 518 w 1111"/>
                  <a:gd name="T21" fmla="*/ 14 h 205"/>
                  <a:gd name="T22" fmla="*/ 568 w 1111"/>
                  <a:gd name="T23" fmla="*/ 15 h 205"/>
                  <a:gd name="T24" fmla="*/ 611 w 1111"/>
                  <a:gd name="T25" fmla="*/ 17 h 205"/>
                  <a:gd name="T26" fmla="*/ 659 w 1111"/>
                  <a:gd name="T27" fmla="*/ 17 h 205"/>
                  <a:gd name="T28" fmla="*/ 709 w 1111"/>
                  <a:gd name="T29" fmla="*/ 17 h 205"/>
                  <a:gd name="T30" fmla="*/ 752 w 1111"/>
                  <a:gd name="T31" fmla="*/ 17 h 205"/>
                  <a:gd name="T32" fmla="*/ 801 w 1111"/>
                  <a:gd name="T33" fmla="*/ 18 h 205"/>
                  <a:gd name="T34" fmla="*/ 844 w 1111"/>
                  <a:gd name="T35" fmla="*/ 20 h 205"/>
                  <a:gd name="T36" fmla="*/ 911 w 1111"/>
                  <a:gd name="T37" fmla="*/ 20 h 205"/>
                  <a:gd name="T38" fmla="*/ 955 w 1111"/>
                  <a:gd name="T39" fmla="*/ 20 h 205"/>
                  <a:gd name="T40" fmla="*/ 1015 w 1111"/>
                  <a:gd name="T41" fmla="*/ 22 h 205"/>
                  <a:gd name="T42" fmla="*/ 1066 w 1111"/>
                  <a:gd name="T43" fmla="*/ 22 h 205"/>
                  <a:gd name="T44" fmla="*/ 1128 w 1111"/>
                  <a:gd name="T45" fmla="*/ 22 h 205"/>
                  <a:gd name="T46" fmla="*/ 1209 w 1111"/>
                  <a:gd name="T47" fmla="*/ 23 h 205"/>
                  <a:gd name="T48" fmla="*/ 1289 w 1111"/>
                  <a:gd name="T49" fmla="*/ 24 h 205"/>
                  <a:gd name="T50" fmla="*/ 1350 w 1111"/>
                  <a:gd name="T51" fmla="*/ 24 h 205"/>
                  <a:gd name="T52" fmla="*/ 1405 w 1111"/>
                  <a:gd name="T53" fmla="*/ 24 h 205"/>
                  <a:gd name="T54" fmla="*/ 1448 w 1111"/>
                  <a:gd name="T55" fmla="*/ 24 h 205"/>
                  <a:gd name="T56" fmla="*/ 1486 w 1111"/>
                  <a:gd name="T57" fmla="*/ 24 h 205"/>
                  <a:gd name="T58" fmla="*/ 1473 w 1111"/>
                  <a:gd name="T59" fmla="*/ 72 h 205"/>
                  <a:gd name="T60" fmla="*/ 1443 w 1111"/>
                  <a:gd name="T61" fmla="*/ 72 h 205"/>
                  <a:gd name="T62" fmla="*/ 1399 w 1111"/>
                  <a:gd name="T63" fmla="*/ 72 h 205"/>
                  <a:gd name="T64" fmla="*/ 1338 w 1111"/>
                  <a:gd name="T65" fmla="*/ 72 h 205"/>
                  <a:gd name="T66" fmla="*/ 1263 w 1111"/>
                  <a:gd name="T67" fmla="*/ 70 h 205"/>
                  <a:gd name="T68" fmla="*/ 1195 w 1111"/>
                  <a:gd name="T69" fmla="*/ 70 h 205"/>
                  <a:gd name="T70" fmla="*/ 1153 w 1111"/>
                  <a:gd name="T71" fmla="*/ 70 h 205"/>
                  <a:gd name="T72" fmla="*/ 1109 w 1111"/>
                  <a:gd name="T73" fmla="*/ 69 h 205"/>
                  <a:gd name="T74" fmla="*/ 1066 w 1111"/>
                  <a:gd name="T75" fmla="*/ 69 h 205"/>
                  <a:gd name="T76" fmla="*/ 1024 w 1111"/>
                  <a:gd name="T77" fmla="*/ 69 h 205"/>
                  <a:gd name="T78" fmla="*/ 979 w 1111"/>
                  <a:gd name="T79" fmla="*/ 69 h 205"/>
                  <a:gd name="T80" fmla="*/ 936 w 1111"/>
                  <a:gd name="T81" fmla="*/ 69 h 205"/>
                  <a:gd name="T82" fmla="*/ 893 w 1111"/>
                  <a:gd name="T83" fmla="*/ 69 h 205"/>
                  <a:gd name="T84" fmla="*/ 839 w 1111"/>
                  <a:gd name="T85" fmla="*/ 68 h 205"/>
                  <a:gd name="T86" fmla="*/ 764 w 1111"/>
                  <a:gd name="T87" fmla="*/ 66 h 205"/>
                  <a:gd name="T88" fmla="*/ 696 w 1111"/>
                  <a:gd name="T89" fmla="*/ 66 h 205"/>
                  <a:gd name="T90" fmla="*/ 659 w 1111"/>
                  <a:gd name="T91" fmla="*/ 64 h 205"/>
                  <a:gd name="T92" fmla="*/ 611 w 1111"/>
                  <a:gd name="T93" fmla="*/ 63 h 205"/>
                  <a:gd name="T94" fmla="*/ 568 w 1111"/>
                  <a:gd name="T95" fmla="*/ 62 h 205"/>
                  <a:gd name="T96" fmla="*/ 518 w 1111"/>
                  <a:gd name="T97" fmla="*/ 61 h 205"/>
                  <a:gd name="T98" fmla="*/ 469 w 1111"/>
                  <a:gd name="T99" fmla="*/ 59 h 205"/>
                  <a:gd name="T100" fmla="*/ 419 w 1111"/>
                  <a:gd name="T101" fmla="*/ 58 h 205"/>
                  <a:gd name="T102" fmla="*/ 370 w 1111"/>
                  <a:gd name="T103" fmla="*/ 58 h 205"/>
                  <a:gd name="T104" fmla="*/ 327 w 1111"/>
                  <a:gd name="T105" fmla="*/ 56 h 205"/>
                  <a:gd name="T106" fmla="*/ 284 w 1111"/>
                  <a:gd name="T107" fmla="*/ 56 h 205"/>
                  <a:gd name="T108" fmla="*/ 243 w 1111"/>
                  <a:gd name="T109" fmla="*/ 53 h 205"/>
                  <a:gd name="T110" fmla="*/ 172 w 1111"/>
                  <a:gd name="T111" fmla="*/ 51 h 205"/>
                  <a:gd name="T112" fmla="*/ 97 w 1111"/>
                  <a:gd name="T113" fmla="*/ 50 h 205"/>
                  <a:gd name="T114" fmla="*/ 44 w 1111"/>
                  <a:gd name="T115" fmla="*/ 49 h 205"/>
                  <a:gd name="T116" fmla="*/ 5 w 1111"/>
                  <a:gd name="T117" fmla="*/ 47 h 205"/>
                  <a:gd name="T118" fmla="*/ 10 w 1111"/>
                  <a:gd name="T119" fmla="*/ 0 h 2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11"/>
                  <a:gd name="T181" fmla="*/ 0 h 205"/>
                  <a:gd name="T182" fmla="*/ 1111 w 1111"/>
                  <a:gd name="T183" fmla="*/ 205 h 2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11" h="205">
                    <a:moveTo>
                      <a:pt x="10" y="0"/>
                    </a:moveTo>
                    <a:lnTo>
                      <a:pt x="14" y="0"/>
                    </a:lnTo>
                    <a:lnTo>
                      <a:pt x="23" y="3"/>
                    </a:lnTo>
                    <a:lnTo>
                      <a:pt x="32" y="3"/>
                    </a:lnTo>
                    <a:lnTo>
                      <a:pt x="42" y="3"/>
                    </a:lnTo>
                    <a:lnTo>
                      <a:pt x="55" y="6"/>
                    </a:lnTo>
                    <a:lnTo>
                      <a:pt x="69" y="9"/>
                    </a:lnTo>
                    <a:lnTo>
                      <a:pt x="83" y="11"/>
                    </a:lnTo>
                    <a:lnTo>
                      <a:pt x="101" y="11"/>
                    </a:lnTo>
                    <a:lnTo>
                      <a:pt x="119" y="11"/>
                    </a:lnTo>
                    <a:lnTo>
                      <a:pt x="133" y="14"/>
                    </a:lnTo>
                    <a:lnTo>
                      <a:pt x="142" y="14"/>
                    </a:lnTo>
                    <a:lnTo>
                      <a:pt x="151" y="17"/>
                    </a:lnTo>
                    <a:lnTo>
                      <a:pt x="165" y="17"/>
                    </a:lnTo>
                    <a:lnTo>
                      <a:pt x="179" y="17"/>
                    </a:lnTo>
                    <a:lnTo>
                      <a:pt x="183" y="17"/>
                    </a:lnTo>
                    <a:lnTo>
                      <a:pt x="197" y="20"/>
                    </a:lnTo>
                    <a:lnTo>
                      <a:pt x="211" y="23"/>
                    </a:lnTo>
                    <a:lnTo>
                      <a:pt x="220" y="23"/>
                    </a:lnTo>
                    <a:lnTo>
                      <a:pt x="229" y="23"/>
                    </a:lnTo>
                    <a:lnTo>
                      <a:pt x="243" y="23"/>
                    </a:lnTo>
                    <a:lnTo>
                      <a:pt x="252" y="26"/>
                    </a:lnTo>
                    <a:lnTo>
                      <a:pt x="265" y="29"/>
                    </a:lnTo>
                    <a:lnTo>
                      <a:pt x="275" y="29"/>
                    </a:lnTo>
                    <a:lnTo>
                      <a:pt x="288" y="29"/>
                    </a:lnTo>
                    <a:lnTo>
                      <a:pt x="302" y="31"/>
                    </a:lnTo>
                    <a:lnTo>
                      <a:pt x="311" y="31"/>
                    </a:lnTo>
                    <a:lnTo>
                      <a:pt x="320" y="31"/>
                    </a:lnTo>
                    <a:lnTo>
                      <a:pt x="334" y="34"/>
                    </a:lnTo>
                    <a:lnTo>
                      <a:pt x="348" y="34"/>
                    </a:lnTo>
                    <a:lnTo>
                      <a:pt x="357" y="34"/>
                    </a:lnTo>
                    <a:lnTo>
                      <a:pt x="371" y="34"/>
                    </a:lnTo>
                    <a:lnTo>
                      <a:pt x="384" y="37"/>
                    </a:lnTo>
                    <a:lnTo>
                      <a:pt x="393" y="37"/>
                    </a:lnTo>
                    <a:lnTo>
                      <a:pt x="407" y="37"/>
                    </a:lnTo>
                    <a:lnTo>
                      <a:pt x="421" y="40"/>
                    </a:lnTo>
                    <a:lnTo>
                      <a:pt x="435" y="40"/>
                    </a:lnTo>
                    <a:lnTo>
                      <a:pt x="444" y="43"/>
                    </a:lnTo>
                    <a:lnTo>
                      <a:pt x="453" y="46"/>
                    </a:lnTo>
                    <a:lnTo>
                      <a:pt x="471" y="46"/>
                    </a:lnTo>
                    <a:lnTo>
                      <a:pt x="480" y="46"/>
                    </a:lnTo>
                    <a:lnTo>
                      <a:pt x="489" y="46"/>
                    </a:lnTo>
                    <a:lnTo>
                      <a:pt x="508" y="46"/>
                    </a:lnTo>
                    <a:lnTo>
                      <a:pt x="517" y="46"/>
                    </a:lnTo>
                    <a:lnTo>
                      <a:pt x="526" y="46"/>
                    </a:lnTo>
                    <a:lnTo>
                      <a:pt x="540" y="48"/>
                    </a:lnTo>
                    <a:lnTo>
                      <a:pt x="553" y="48"/>
                    </a:lnTo>
                    <a:lnTo>
                      <a:pt x="558" y="48"/>
                    </a:lnTo>
                    <a:lnTo>
                      <a:pt x="572" y="51"/>
                    </a:lnTo>
                    <a:lnTo>
                      <a:pt x="585" y="51"/>
                    </a:lnTo>
                    <a:lnTo>
                      <a:pt x="594" y="51"/>
                    </a:lnTo>
                    <a:lnTo>
                      <a:pt x="604" y="51"/>
                    </a:lnTo>
                    <a:lnTo>
                      <a:pt x="613" y="51"/>
                    </a:lnTo>
                    <a:lnTo>
                      <a:pt x="626" y="54"/>
                    </a:lnTo>
                    <a:lnTo>
                      <a:pt x="640" y="54"/>
                    </a:lnTo>
                    <a:lnTo>
                      <a:pt x="658" y="54"/>
                    </a:lnTo>
                    <a:lnTo>
                      <a:pt x="677" y="57"/>
                    </a:lnTo>
                    <a:lnTo>
                      <a:pt x="686" y="57"/>
                    </a:lnTo>
                    <a:lnTo>
                      <a:pt x="695" y="57"/>
                    </a:lnTo>
                    <a:lnTo>
                      <a:pt x="709" y="57"/>
                    </a:lnTo>
                    <a:lnTo>
                      <a:pt x="718" y="57"/>
                    </a:lnTo>
                    <a:lnTo>
                      <a:pt x="736" y="57"/>
                    </a:lnTo>
                    <a:lnTo>
                      <a:pt x="754" y="60"/>
                    </a:lnTo>
                    <a:lnTo>
                      <a:pt x="764" y="60"/>
                    </a:lnTo>
                    <a:lnTo>
                      <a:pt x="782" y="60"/>
                    </a:lnTo>
                    <a:lnTo>
                      <a:pt x="791" y="60"/>
                    </a:lnTo>
                    <a:lnTo>
                      <a:pt x="800" y="60"/>
                    </a:lnTo>
                    <a:lnTo>
                      <a:pt x="818" y="60"/>
                    </a:lnTo>
                    <a:lnTo>
                      <a:pt x="837" y="60"/>
                    </a:lnTo>
                    <a:lnTo>
                      <a:pt x="855" y="60"/>
                    </a:lnTo>
                    <a:lnTo>
                      <a:pt x="878" y="63"/>
                    </a:lnTo>
                    <a:lnTo>
                      <a:pt x="896" y="63"/>
                    </a:lnTo>
                    <a:lnTo>
                      <a:pt x="914" y="63"/>
                    </a:lnTo>
                    <a:lnTo>
                      <a:pt x="933" y="63"/>
                    </a:lnTo>
                    <a:lnTo>
                      <a:pt x="956" y="66"/>
                    </a:lnTo>
                    <a:lnTo>
                      <a:pt x="969" y="66"/>
                    </a:lnTo>
                    <a:lnTo>
                      <a:pt x="983" y="66"/>
                    </a:lnTo>
                    <a:lnTo>
                      <a:pt x="1001" y="66"/>
                    </a:lnTo>
                    <a:lnTo>
                      <a:pt x="1020" y="66"/>
                    </a:lnTo>
                    <a:lnTo>
                      <a:pt x="1029" y="66"/>
                    </a:lnTo>
                    <a:lnTo>
                      <a:pt x="1042" y="66"/>
                    </a:lnTo>
                    <a:lnTo>
                      <a:pt x="1056" y="66"/>
                    </a:lnTo>
                    <a:lnTo>
                      <a:pt x="1065" y="66"/>
                    </a:lnTo>
                    <a:lnTo>
                      <a:pt x="1074" y="66"/>
                    </a:lnTo>
                    <a:lnTo>
                      <a:pt x="1088" y="66"/>
                    </a:lnTo>
                    <a:lnTo>
                      <a:pt x="1093" y="66"/>
                    </a:lnTo>
                    <a:lnTo>
                      <a:pt x="1102" y="66"/>
                    </a:lnTo>
                    <a:lnTo>
                      <a:pt x="1111" y="66"/>
                    </a:lnTo>
                    <a:lnTo>
                      <a:pt x="1093" y="205"/>
                    </a:lnTo>
                    <a:lnTo>
                      <a:pt x="1088" y="205"/>
                    </a:lnTo>
                    <a:lnTo>
                      <a:pt x="1074" y="205"/>
                    </a:lnTo>
                    <a:lnTo>
                      <a:pt x="1070" y="205"/>
                    </a:lnTo>
                    <a:lnTo>
                      <a:pt x="1056" y="205"/>
                    </a:lnTo>
                    <a:lnTo>
                      <a:pt x="1047" y="205"/>
                    </a:lnTo>
                    <a:lnTo>
                      <a:pt x="1038" y="205"/>
                    </a:lnTo>
                    <a:lnTo>
                      <a:pt x="1020" y="202"/>
                    </a:lnTo>
                    <a:lnTo>
                      <a:pt x="1010" y="202"/>
                    </a:lnTo>
                    <a:lnTo>
                      <a:pt x="992" y="202"/>
                    </a:lnTo>
                    <a:lnTo>
                      <a:pt x="978" y="202"/>
                    </a:lnTo>
                    <a:lnTo>
                      <a:pt x="956" y="199"/>
                    </a:lnTo>
                    <a:lnTo>
                      <a:pt x="937" y="199"/>
                    </a:lnTo>
                    <a:lnTo>
                      <a:pt x="919" y="199"/>
                    </a:lnTo>
                    <a:lnTo>
                      <a:pt x="901" y="199"/>
                    </a:lnTo>
                    <a:lnTo>
                      <a:pt x="887" y="199"/>
                    </a:lnTo>
                    <a:lnTo>
                      <a:pt x="878" y="199"/>
                    </a:lnTo>
                    <a:lnTo>
                      <a:pt x="869" y="199"/>
                    </a:lnTo>
                    <a:lnTo>
                      <a:pt x="855" y="199"/>
                    </a:lnTo>
                    <a:lnTo>
                      <a:pt x="846" y="197"/>
                    </a:lnTo>
                    <a:lnTo>
                      <a:pt x="837" y="197"/>
                    </a:lnTo>
                    <a:lnTo>
                      <a:pt x="823" y="197"/>
                    </a:lnTo>
                    <a:lnTo>
                      <a:pt x="814" y="197"/>
                    </a:lnTo>
                    <a:lnTo>
                      <a:pt x="800" y="197"/>
                    </a:lnTo>
                    <a:lnTo>
                      <a:pt x="791" y="197"/>
                    </a:lnTo>
                    <a:lnTo>
                      <a:pt x="782" y="197"/>
                    </a:lnTo>
                    <a:lnTo>
                      <a:pt x="768" y="197"/>
                    </a:lnTo>
                    <a:lnTo>
                      <a:pt x="759" y="194"/>
                    </a:lnTo>
                    <a:lnTo>
                      <a:pt x="745" y="194"/>
                    </a:lnTo>
                    <a:lnTo>
                      <a:pt x="736" y="194"/>
                    </a:lnTo>
                    <a:lnTo>
                      <a:pt x="727" y="194"/>
                    </a:lnTo>
                    <a:lnTo>
                      <a:pt x="713" y="194"/>
                    </a:lnTo>
                    <a:lnTo>
                      <a:pt x="704" y="194"/>
                    </a:lnTo>
                    <a:lnTo>
                      <a:pt x="695" y="194"/>
                    </a:lnTo>
                    <a:lnTo>
                      <a:pt x="681" y="194"/>
                    </a:lnTo>
                    <a:lnTo>
                      <a:pt x="672" y="194"/>
                    </a:lnTo>
                    <a:lnTo>
                      <a:pt x="663" y="194"/>
                    </a:lnTo>
                    <a:lnTo>
                      <a:pt x="649" y="194"/>
                    </a:lnTo>
                    <a:lnTo>
                      <a:pt x="640" y="194"/>
                    </a:lnTo>
                    <a:lnTo>
                      <a:pt x="622" y="191"/>
                    </a:lnTo>
                    <a:lnTo>
                      <a:pt x="604" y="188"/>
                    </a:lnTo>
                    <a:lnTo>
                      <a:pt x="585" y="188"/>
                    </a:lnTo>
                    <a:lnTo>
                      <a:pt x="567" y="188"/>
                    </a:lnTo>
                    <a:lnTo>
                      <a:pt x="544" y="185"/>
                    </a:lnTo>
                    <a:lnTo>
                      <a:pt x="526" y="185"/>
                    </a:lnTo>
                    <a:lnTo>
                      <a:pt x="517" y="185"/>
                    </a:lnTo>
                    <a:lnTo>
                      <a:pt x="508" y="182"/>
                    </a:lnTo>
                    <a:lnTo>
                      <a:pt x="494" y="182"/>
                    </a:lnTo>
                    <a:lnTo>
                      <a:pt x="489" y="182"/>
                    </a:lnTo>
                    <a:lnTo>
                      <a:pt x="471" y="177"/>
                    </a:lnTo>
                    <a:lnTo>
                      <a:pt x="462" y="177"/>
                    </a:lnTo>
                    <a:lnTo>
                      <a:pt x="453" y="177"/>
                    </a:lnTo>
                    <a:lnTo>
                      <a:pt x="439" y="177"/>
                    </a:lnTo>
                    <a:lnTo>
                      <a:pt x="430" y="174"/>
                    </a:lnTo>
                    <a:lnTo>
                      <a:pt x="421" y="174"/>
                    </a:lnTo>
                    <a:lnTo>
                      <a:pt x="407" y="174"/>
                    </a:lnTo>
                    <a:lnTo>
                      <a:pt x="398" y="174"/>
                    </a:lnTo>
                    <a:lnTo>
                      <a:pt x="384" y="171"/>
                    </a:lnTo>
                    <a:lnTo>
                      <a:pt x="371" y="171"/>
                    </a:lnTo>
                    <a:lnTo>
                      <a:pt x="357" y="168"/>
                    </a:lnTo>
                    <a:lnTo>
                      <a:pt x="348" y="168"/>
                    </a:lnTo>
                    <a:lnTo>
                      <a:pt x="334" y="165"/>
                    </a:lnTo>
                    <a:lnTo>
                      <a:pt x="320" y="162"/>
                    </a:lnTo>
                    <a:lnTo>
                      <a:pt x="311" y="162"/>
                    </a:lnTo>
                    <a:lnTo>
                      <a:pt x="302" y="162"/>
                    </a:lnTo>
                    <a:lnTo>
                      <a:pt x="288" y="162"/>
                    </a:lnTo>
                    <a:lnTo>
                      <a:pt x="275" y="162"/>
                    </a:lnTo>
                    <a:lnTo>
                      <a:pt x="265" y="160"/>
                    </a:lnTo>
                    <a:lnTo>
                      <a:pt x="256" y="160"/>
                    </a:lnTo>
                    <a:lnTo>
                      <a:pt x="243" y="157"/>
                    </a:lnTo>
                    <a:lnTo>
                      <a:pt x="233" y="157"/>
                    </a:lnTo>
                    <a:lnTo>
                      <a:pt x="220" y="157"/>
                    </a:lnTo>
                    <a:lnTo>
                      <a:pt x="211" y="157"/>
                    </a:lnTo>
                    <a:lnTo>
                      <a:pt x="197" y="151"/>
                    </a:lnTo>
                    <a:lnTo>
                      <a:pt x="188" y="151"/>
                    </a:lnTo>
                    <a:lnTo>
                      <a:pt x="179" y="151"/>
                    </a:lnTo>
                    <a:lnTo>
                      <a:pt x="165" y="151"/>
                    </a:lnTo>
                    <a:lnTo>
                      <a:pt x="147" y="148"/>
                    </a:lnTo>
                    <a:lnTo>
                      <a:pt x="128" y="145"/>
                    </a:lnTo>
                    <a:lnTo>
                      <a:pt x="110" y="142"/>
                    </a:lnTo>
                    <a:lnTo>
                      <a:pt x="92" y="142"/>
                    </a:lnTo>
                    <a:lnTo>
                      <a:pt x="73" y="140"/>
                    </a:lnTo>
                    <a:lnTo>
                      <a:pt x="60" y="140"/>
                    </a:lnTo>
                    <a:lnTo>
                      <a:pt x="42" y="137"/>
                    </a:lnTo>
                    <a:lnTo>
                      <a:pt x="32" y="137"/>
                    </a:lnTo>
                    <a:lnTo>
                      <a:pt x="23" y="134"/>
                    </a:lnTo>
                    <a:lnTo>
                      <a:pt x="14" y="134"/>
                    </a:lnTo>
                    <a:lnTo>
                      <a:pt x="5" y="134"/>
                    </a:lnTo>
                    <a:lnTo>
                      <a:pt x="0" y="134"/>
                    </a:lnTo>
                    <a:lnTo>
                      <a:pt x="10"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0" name="Freeform 84"/>
              <p:cNvSpPr>
                <a:spLocks/>
              </p:cNvSpPr>
              <p:nvPr>
                <p:custDataLst>
                  <p:tags r:id="rId113"/>
                </p:custDataLst>
              </p:nvPr>
            </p:nvSpPr>
            <p:spPr bwMode="gray">
              <a:xfrm>
                <a:off x="3658" y="2183"/>
                <a:ext cx="760" cy="161"/>
              </a:xfrm>
              <a:custGeom>
                <a:avLst/>
                <a:gdLst>
                  <a:gd name="T0" fmla="*/ 14 w 741"/>
                  <a:gd name="T1" fmla="*/ 14 h 176"/>
                  <a:gd name="T2" fmla="*/ 53 w 741"/>
                  <a:gd name="T3" fmla="*/ 14 h 176"/>
                  <a:gd name="T4" fmla="*/ 97 w 741"/>
                  <a:gd name="T5" fmla="*/ 14 h 176"/>
                  <a:gd name="T6" fmla="*/ 137 w 741"/>
                  <a:gd name="T7" fmla="*/ 14 h 176"/>
                  <a:gd name="T8" fmla="*/ 179 w 741"/>
                  <a:gd name="T9" fmla="*/ 13 h 176"/>
                  <a:gd name="T10" fmla="*/ 216 w 741"/>
                  <a:gd name="T11" fmla="*/ 13 h 176"/>
                  <a:gd name="T12" fmla="*/ 266 w 741"/>
                  <a:gd name="T13" fmla="*/ 12 h 176"/>
                  <a:gd name="T14" fmla="*/ 304 w 741"/>
                  <a:gd name="T15" fmla="*/ 12 h 176"/>
                  <a:gd name="T16" fmla="*/ 347 w 741"/>
                  <a:gd name="T17" fmla="*/ 11 h 176"/>
                  <a:gd name="T18" fmla="*/ 384 w 741"/>
                  <a:gd name="T19" fmla="*/ 10 h 176"/>
                  <a:gd name="T20" fmla="*/ 434 w 741"/>
                  <a:gd name="T21" fmla="*/ 10 h 176"/>
                  <a:gd name="T22" fmla="*/ 464 w 741"/>
                  <a:gd name="T23" fmla="*/ 9 h 176"/>
                  <a:gd name="T24" fmla="*/ 508 w 741"/>
                  <a:gd name="T25" fmla="*/ 7 h 176"/>
                  <a:gd name="T26" fmla="*/ 551 w 741"/>
                  <a:gd name="T27" fmla="*/ 6 h 176"/>
                  <a:gd name="T28" fmla="*/ 588 w 741"/>
                  <a:gd name="T29" fmla="*/ 6 h 176"/>
                  <a:gd name="T30" fmla="*/ 625 w 741"/>
                  <a:gd name="T31" fmla="*/ 5 h 176"/>
                  <a:gd name="T32" fmla="*/ 664 w 741"/>
                  <a:gd name="T33" fmla="*/ 5 h 176"/>
                  <a:gd name="T34" fmla="*/ 701 w 741"/>
                  <a:gd name="T35" fmla="*/ 5 h 176"/>
                  <a:gd name="T36" fmla="*/ 732 w 741"/>
                  <a:gd name="T37" fmla="*/ 5 h 176"/>
                  <a:gd name="T38" fmla="*/ 762 w 741"/>
                  <a:gd name="T39" fmla="*/ 5 h 176"/>
                  <a:gd name="T40" fmla="*/ 792 w 741"/>
                  <a:gd name="T41" fmla="*/ 5 h 176"/>
                  <a:gd name="T42" fmla="*/ 825 w 741"/>
                  <a:gd name="T43" fmla="*/ 2 h 176"/>
                  <a:gd name="T44" fmla="*/ 868 w 741"/>
                  <a:gd name="T45" fmla="*/ 0 h 176"/>
                  <a:gd name="T46" fmla="*/ 912 w 741"/>
                  <a:gd name="T47" fmla="*/ 0 h 176"/>
                  <a:gd name="T48" fmla="*/ 946 w 741"/>
                  <a:gd name="T49" fmla="*/ 0 h 176"/>
                  <a:gd name="T50" fmla="*/ 986 w 741"/>
                  <a:gd name="T51" fmla="*/ 0 h 176"/>
                  <a:gd name="T52" fmla="*/ 991 w 741"/>
                  <a:gd name="T53" fmla="*/ 2 h 176"/>
                  <a:gd name="T54" fmla="*/ 991 w 741"/>
                  <a:gd name="T55" fmla="*/ 5 h 176"/>
                  <a:gd name="T56" fmla="*/ 991 w 741"/>
                  <a:gd name="T57" fmla="*/ 11 h 176"/>
                  <a:gd name="T58" fmla="*/ 997 w 741"/>
                  <a:gd name="T59" fmla="*/ 17 h 176"/>
                  <a:gd name="T60" fmla="*/ 997 w 741"/>
                  <a:gd name="T61" fmla="*/ 24 h 176"/>
                  <a:gd name="T62" fmla="*/ 997 w 741"/>
                  <a:gd name="T63" fmla="*/ 31 h 176"/>
                  <a:gd name="T64" fmla="*/ 1003 w 741"/>
                  <a:gd name="T65" fmla="*/ 35 h 176"/>
                  <a:gd name="T66" fmla="*/ 1003 w 741"/>
                  <a:gd name="T67" fmla="*/ 38 h 176"/>
                  <a:gd name="T68" fmla="*/ 1003 w 741"/>
                  <a:gd name="T69" fmla="*/ 38 h 176"/>
                  <a:gd name="T70" fmla="*/ 972 w 741"/>
                  <a:gd name="T71" fmla="*/ 39 h 176"/>
                  <a:gd name="T72" fmla="*/ 936 w 741"/>
                  <a:gd name="T73" fmla="*/ 40 h 176"/>
                  <a:gd name="T74" fmla="*/ 904 w 741"/>
                  <a:gd name="T75" fmla="*/ 41 h 176"/>
                  <a:gd name="T76" fmla="*/ 868 w 741"/>
                  <a:gd name="T77" fmla="*/ 43 h 176"/>
                  <a:gd name="T78" fmla="*/ 831 w 741"/>
                  <a:gd name="T79" fmla="*/ 44 h 176"/>
                  <a:gd name="T80" fmla="*/ 792 w 741"/>
                  <a:gd name="T81" fmla="*/ 45 h 176"/>
                  <a:gd name="T82" fmla="*/ 744 w 741"/>
                  <a:gd name="T83" fmla="*/ 45 h 176"/>
                  <a:gd name="T84" fmla="*/ 706 w 741"/>
                  <a:gd name="T85" fmla="*/ 48 h 176"/>
                  <a:gd name="T86" fmla="*/ 656 w 741"/>
                  <a:gd name="T87" fmla="*/ 49 h 176"/>
                  <a:gd name="T88" fmla="*/ 606 w 741"/>
                  <a:gd name="T89" fmla="*/ 50 h 176"/>
                  <a:gd name="T90" fmla="*/ 564 w 741"/>
                  <a:gd name="T91" fmla="*/ 50 h 176"/>
                  <a:gd name="T92" fmla="*/ 520 w 741"/>
                  <a:gd name="T93" fmla="*/ 53 h 176"/>
                  <a:gd name="T94" fmla="*/ 476 w 741"/>
                  <a:gd name="T95" fmla="*/ 54 h 176"/>
                  <a:gd name="T96" fmla="*/ 0 w 741"/>
                  <a:gd name="T97" fmla="*/ 60 h 176"/>
                  <a:gd name="T98" fmla="*/ 0 w 741"/>
                  <a:gd name="T99" fmla="*/ 14 h 1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1"/>
                  <a:gd name="T151" fmla="*/ 0 h 176"/>
                  <a:gd name="T152" fmla="*/ 741 w 741"/>
                  <a:gd name="T153" fmla="*/ 176 h 1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1" h="176">
                    <a:moveTo>
                      <a:pt x="0" y="40"/>
                    </a:moveTo>
                    <a:lnTo>
                      <a:pt x="14" y="40"/>
                    </a:lnTo>
                    <a:lnTo>
                      <a:pt x="28" y="40"/>
                    </a:lnTo>
                    <a:lnTo>
                      <a:pt x="41" y="40"/>
                    </a:lnTo>
                    <a:lnTo>
                      <a:pt x="60" y="40"/>
                    </a:lnTo>
                    <a:lnTo>
                      <a:pt x="73" y="40"/>
                    </a:lnTo>
                    <a:lnTo>
                      <a:pt x="87" y="40"/>
                    </a:lnTo>
                    <a:lnTo>
                      <a:pt x="101" y="40"/>
                    </a:lnTo>
                    <a:lnTo>
                      <a:pt x="119" y="40"/>
                    </a:lnTo>
                    <a:lnTo>
                      <a:pt x="133" y="37"/>
                    </a:lnTo>
                    <a:lnTo>
                      <a:pt x="147" y="37"/>
                    </a:lnTo>
                    <a:lnTo>
                      <a:pt x="160" y="37"/>
                    </a:lnTo>
                    <a:lnTo>
                      <a:pt x="179" y="37"/>
                    </a:lnTo>
                    <a:lnTo>
                      <a:pt x="197" y="34"/>
                    </a:lnTo>
                    <a:lnTo>
                      <a:pt x="210" y="34"/>
                    </a:lnTo>
                    <a:lnTo>
                      <a:pt x="224" y="34"/>
                    </a:lnTo>
                    <a:lnTo>
                      <a:pt x="238" y="34"/>
                    </a:lnTo>
                    <a:lnTo>
                      <a:pt x="256" y="31"/>
                    </a:lnTo>
                    <a:lnTo>
                      <a:pt x="270" y="31"/>
                    </a:lnTo>
                    <a:lnTo>
                      <a:pt x="284" y="28"/>
                    </a:lnTo>
                    <a:lnTo>
                      <a:pt x="302" y="28"/>
                    </a:lnTo>
                    <a:lnTo>
                      <a:pt x="320" y="28"/>
                    </a:lnTo>
                    <a:lnTo>
                      <a:pt x="329" y="28"/>
                    </a:lnTo>
                    <a:lnTo>
                      <a:pt x="343" y="25"/>
                    </a:lnTo>
                    <a:lnTo>
                      <a:pt x="361" y="25"/>
                    </a:lnTo>
                    <a:lnTo>
                      <a:pt x="375" y="22"/>
                    </a:lnTo>
                    <a:lnTo>
                      <a:pt x="389" y="22"/>
                    </a:lnTo>
                    <a:lnTo>
                      <a:pt x="407" y="20"/>
                    </a:lnTo>
                    <a:lnTo>
                      <a:pt x="421" y="20"/>
                    </a:lnTo>
                    <a:lnTo>
                      <a:pt x="434" y="20"/>
                    </a:lnTo>
                    <a:lnTo>
                      <a:pt x="448" y="20"/>
                    </a:lnTo>
                    <a:lnTo>
                      <a:pt x="462" y="17"/>
                    </a:lnTo>
                    <a:lnTo>
                      <a:pt x="480" y="17"/>
                    </a:lnTo>
                    <a:lnTo>
                      <a:pt x="489" y="14"/>
                    </a:lnTo>
                    <a:lnTo>
                      <a:pt x="503" y="14"/>
                    </a:lnTo>
                    <a:lnTo>
                      <a:pt x="517" y="14"/>
                    </a:lnTo>
                    <a:lnTo>
                      <a:pt x="526" y="11"/>
                    </a:lnTo>
                    <a:lnTo>
                      <a:pt x="540" y="8"/>
                    </a:lnTo>
                    <a:lnTo>
                      <a:pt x="553" y="8"/>
                    </a:lnTo>
                    <a:lnTo>
                      <a:pt x="562" y="5"/>
                    </a:lnTo>
                    <a:lnTo>
                      <a:pt x="576" y="5"/>
                    </a:lnTo>
                    <a:lnTo>
                      <a:pt x="585" y="5"/>
                    </a:lnTo>
                    <a:lnTo>
                      <a:pt x="599" y="5"/>
                    </a:lnTo>
                    <a:lnTo>
                      <a:pt x="608" y="2"/>
                    </a:lnTo>
                    <a:lnTo>
                      <a:pt x="622" y="2"/>
                    </a:lnTo>
                    <a:lnTo>
                      <a:pt x="640" y="0"/>
                    </a:lnTo>
                    <a:lnTo>
                      <a:pt x="658" y="0"/>
                    </a:lnTo>
                    <a:lnTo>
                      <a:pt x="672" y="0"/>
                    </a:lnTo>
                    <a:lnTo>
                      <a:pt x="686" y="0"/>
                    </a:lnTo>
                    <a:lnTo>
                      <a:pt x="699" y="0"/>
                    </a:lnTo>
                    <a:lnTo>
                      <a:pt x="709" y="0"/>
                    </a:lnTo>
                    <a:lnTo>
                      <a:pt x="727" y="0"/>
                    </a:lnTo>
                    <a:lnTo>
                      <a:pt x="731" y="0"/>
                    </a:lnTo>
                    <a:lnTo>
                      <a:pt x="731" y="2"/>
                    </a:lnTo>
                    <a:lnTo>
                      <a:pt x="731" y="8"/>
                    </a:lnTo>
                    <a:lnTo>
                      <a:pt x="731" y="14"/>
                    </a:lnTo>
                    <a:lnTo>
                      <a:pt x="731" y="22"/>
                    </a:lnTo>
                    <a:lnTo>
                      <a:pt x="731" y="31"/>
                    </a:lnTo>
                    <a:lnTo>
                      <a:pt x="731" y="42"/>
                    </a:lnTo>
                    <a:lnTo>
                      <a:pt x="736" y="51"/>
                    </a:lnTo>
                    <a:lnTo>
                      <a:pt x="736" y="59"/>
                    </a:lnTo>
                    <a:lnTo>
                      <a:pt x="736" y="68"/>
                    </a:lnTo>
                    <a:lnTo>
                      <a:pt x="736" y="79"/>
                    </a:lnTo>
                    <a:lnTo>
                      <a:pt x="736" y="88"/>
                    </a:lnTo>
                    <a:lnTo>
                      <a:pt x="741" y="96"/>
                    </a:lnTo>
                    <a:lnTo>
                      <a:pt x="741" y="102"/>
                    </a:lnTo>
                    <a:lnTo>
                      <a:pt x="741" y="105"/>
                    </a:lnTo>
                    <a:lnTo>
                      <a:pt x="741" y="111"/>
                    </a:lnTo>
                    <a:lnTo>
                      <a:pt x="731" y="111"/>
                    </a:lnTo>
                    <a:lnTo>
                      <a:pt x="718" y="114"/>
                    </a:lnTo>
                    <a:lnTo>
                      <a:pt x="699" y="116"/>
                    </a:lnTo>
                    <a:lnTo>
                      <a:pt x="690" y="116"/>
                    </a:lnTo>
                    <a:lnTo>
                      <a:pt x="681" y="116"/>
                    </a:lnTo>
                    <a:lnTo>
                      <a:pt x="668" y="119"/>
                    </a:lnTo>
                    <a:lnTo>
                      <a:pt x="658" y="122"/>
                    </a:lnTo>
                    <a:lnTo>
                      <a:pt x="640" y="125"/>
                    </a:lnTo>
                    <a:lnTo>
                      <a:pt x="631" y="125"/>
                    </a:lnTo>
                    <a:lnTo>
                      <a:pt x="613" y="128"/>
                    </a:lnTo>
                    <a:lnTo>
                      <a:pt x="604" y="128"/>
                    </a:lnTo>
                    <a:lnTo>
                      <a:pt x="585" y="131"/>
                    </a:lnTo>
                    <a:lnTo>
                      <a:pt x="567" y="131"/>
                    </a:lnTo>
                    <a:lnTo>
                      <a:pt x="549" y="133"/>
                    </a:lnTo>
                    <a:lnTo>
                      <a:pt x="540" y="136"/>
                    </a:lnTo>
                    <a:lnTo>
                      <a:pt x="521" y="139"/>
                    </a:lnTo>
                    <a:lnTo>
                      <a:pt x="503" y="139"/>
                    </a:lnTo>
                    <a:lnTo>
                      <a:pt x="485" y="142"/>
                    </a:lnTo>
                    <a:lnTo>
                      <a:pt x="471" y="145"/>
                    </a:lnTo>
                    <a:lnTo>
                      <a:pt x="448" y="148"/>
                    </a:lnTo>
                    <a:lnTo>
                      <a:pt x="434" y="148"/>
                    </a:lnTo>
                    <a:lnTo>
                      <a:pt x="416" y="148"/>
                    </a:lnTo>
                    <a:lnTo>
                      <a:pt x="398" y="151"/>
                    </a:lnTo>
                    <a:lnTo>
                      <a:pt x="384" y="153"/>
                    </a:lnTo>
                    <a:lnTo>
                      <a:pt x="366" y="153"/>
                    </a:lnTo>
                    <a:lnTo>
                      <a:pt x="352" y="156"/>
                    </a:lnTo>
                    <a:lnTo>
                      <a:pt x="338" y="159"/>
                    </a:lnTo>
                    <a:lnTo>
                      <a:pt x="0" y="176"/>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1" name="Freeform 85"/>
              <p:cNvSpPr>
                <a:spLocks/>
              </p:cNvSpPr>
              <p:nvPr>
                <p:custDataLst>
                  <p:tags r:id="rId114"/>
                </p:custDataLst>
              </p:nvPr>
            </p:nvSpPr>
            <p:spPr bwMode="gray">
              <a:xfrm>
                <a:off x="1293" y="2430"/>
                <a:ext cx="164" cy="94"/>
              </a:xfrm>
              <a:custGeom>
                <a:avLst/>
                <a:gdLst>
                  <a:gd name="T0" fmla="*/ 40 w 160"/>
                  <a:gd name="T1" fmla="*/ 3 h 103"/>
                  <a:gd name="T2" fmla="*/ 19 w 160"/>
                  <a:gd name="T3" fmla="*/ 5 h 103"/>
                  <a:gd name="T4" fmla="*/ 14 w 160"/>
                  <a:gd name="T5" fmla="*/ 6 h 103"/>
                  <a:gd name="T6" fmla="*/ 9 w 160"/>
                  <a:gd name="T7" fmla="*/ 10 h 103"/>
                  <a:gd name="T8" fmla="*/ 5 w 160"/>
                  <a:gd name="T9" fmla="*/ 14 h 103"/>
                  <a:gd name="T10" fmla="*/ 0 w 160"/>
                  <a:gd name="T11" fmla="*/ 15 h 103"/>
                  <a:gd name="T12" fmla="*/ 0 w 160"/>
                  <a:gd name="T13" fmla="*/ 18 h 103"/>
                  <a:gd name="T14" fmla="*/ 0 w 160"/>
                  <a:gd name="T15" fmla="*/ 20 h 103"/>
                  <a:gd name="T16" fmla="*/ 5 w 160"/>
                  <a:gd name="T17" fmla="*/ 22 h 103"/>
                  <a:gd name="T18" fmla="*/ 5 w 160"/>
                  <a:gd name="T19" fmla="*/ 25 h 103"/>
                  <a:gd name="T20" fmla="*/ 9 w 160"/>
                  <a:gd name="T21" fmla="*/ 27 h 103"/>
                  <a:gd name="T22" fmla="*/ 19 w 160"/>
                  <a:gd name="T23" fmla="*/ 30 h 103"/>
                  <a:gd name="T24" fmla="*/ 44 w 160"/>
                  <a:gd name="T25" fmla="*/ 33 h 103"/>
                  <a:gd name="T26" fmla="*/ 58 w 160"/>
                  <a:gd name="T27" fmla="*/ 33 h 103"/>
                  <a:gd name="T28" fmla="*/ 83 w 160"/>
                  <a:gd name="T29" fmla="*/ 33 h 103"/>
                  <a:gd name="T30" fmla="*/ 97 w 160"/>
                  <a:gd name="T31" fmla="*/ 33 h 103"/>
                  <a:gd name="T32" fmla="*/ 116 w 160"/>
                  <a:gd name="T33" fmla="*/ 34 h 103"/>
                  <a:gd name="T34" fmla="*/ 137 w 160"/>
                  <a:gd name="T35" fmla="*/ 33 h 103"/>
                  <a:gd name="T36" fmla="*/ 154 w 160"/>
                  <a:gd name="T37" fmla="*/ 33 h 103"/>
                  <a:gd name="T38" fmla="*/ 166 w 160"/>
                  <a:gd name="T39" fmla="*/ 33 h 103"/>
                  <a:gd name="T40" fmla="*/ 178 w 160"/>
                  <a:gd name="T41" fmla="*/ 31 h 103"/>
                  <a:gd name="T42" fmla="*/ 198 w 160"/>
                  <a:gd name="T43" fmla="*/ 28 h 103"/>
                  <a:gd name="T44" fmla="*/ 203 w 160"/>
                  <a:gd name="T45" fmla="*/ 25 h 103"/>
                  <a:gd name="T46" fmla="*/ 209 w 160"/>
                  <a:gd name="T47" fmla="*/ 21 h 103"/>
                  <a:gd name="T48" fmla="*/ 214 w 160"/>
                  <a:gd name="T49" fmla="*/ 18 h 103"/>
                  <a:gd name="T50" fmla="*/ 209 w 160"/>
                  <a:gd name="T51" fmla="*/ 15 h 103"/>
                  <a:gd name="T52" fmla="*/ 209 w 160"/>
                  <a:gd name="T53" fmla="*/ 11 h 103"/>
                  <a:gd name="T54" fmla="*/ 203 w 160"/>
                  <a:gd name="T55" fmla="*/ 8 h 103"/>
                  <a:gd name="T56" fmla="*/ 198 w 160"/>
                  <a:gd name="T57" fmla="*/ 5 h 103"/>
                  <a:gd name="T58" fmla="*/ 178 w 160"/>
                  <a:gd name="T59" fmla="*/ 5 h 103"/>
                  <a:gd name="T60" fmla="*/ 154 w 160"/>
                  <a:gd name="T61" fmla="*/ 5 h 103"/>
                  <a:gd name="T62" fmla="*/ 137 w 160"/>
                  <a:gd name="T63" fmla="*/ 3 h 103"/>
                  <a:gd name="T64" fmla="*/ 102 w 160"/>
                  <a:gd name="T65" fmla="*/ 3 h 103"/>
                  <a:gd name="T66" fmla="*/ 83 w 160"/>
                  <a:gd name="T67" fmla="*/ 0 h 103"/>
                  <a:gd name="T68" fmla="*/ 58 w 160"/>
                  <a:gd name="T69" fmla="*/ 3 h 103"/>
                  <a:gd name="T70" fmla="*/ 49 w 160"/>
                  <a:gd name="T71" fmla="*/ 3 h 103"/>
                  <a:gd name="T72" fmla="*/ 40 w 160"/>
                  <a:gd name="T73" fmla="*/ 3 h 103"/>
                  <a:gd name="T74" fmla="*/ 40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28" y="3"/>
                    </a:moveTo>
                    <a:lnTo>
                      <a:pt x="19" y="12"/>
                    </a:lnTo>
                    <a:lnTo>
                      <a:pt x="14" y="20"/>
                    </a:lnTo>
                    <a:lnTo>
                      <a:pt x="9" y="29"/>
                    </a:lnTo>
                    <a:lnTo>
                      <a:pt x="5" y="40"/>
                    </a:lnTo>
                    <a:lnTo>
                      <a:pt x="0" y="46"/>
                    </a:lnTo>
                    <a:lnTo>
                      <a:pt x="0" y="54"/>
                    </a:lnTo>
                    <a:lnTo>
                      <a:pt x="0" y="60"/>
                    </a:lnTo>
                    <a:lnTo>
                      <a:pt x="5" y="66"/>
                    </a:lnTo>
                    <a:lnTo>
                      <a:pt x="5" y="74"/>
                    </a:lnTo>
                    <a:lnTo>
                      <a:pt x="9" y="83"/>
                    </a:lnTo>
                    <a:lnTo>
                      <a:pt x="19" y="91"/>
                    </a:lnTo>
                    <a:lnTo>
                      <a:pt x="32" y="97"/>
                    </a:lnTo>
                    <a:lnTo>
                      <a:pt x="46" y="100"/>
                    </a:lnTo>
                    <a:lnTo>
                      <a:pt x="60" y="100"/>
                    </a:lnTo>
                    <a:lnTo>
                      <a:pt x="73" y="100"/>
                    </a:lnTo>
                    <a:lnTo>
                      <a:pt x="87" y="103"/>
                    </a:lnTo>
                    <a:lnTo>
                      <a:pt x="101" y="100"/>
                    </a:lnTo>
                    <a:lnTo>
                      <a:pt x="115" y="100"/>
                    </a:lnTo>
                    <a:lnTo>
                      <a:pt x="124" y="97"/>
                    </a:lnTo>
                    <a:lnTo>
                      <a:pt x="133" y="94"/>
                    </a:lnTo>
                    <a:lnTo>
                      <a:pt x="147" y="86"/>
                    </a:lnTo>
                    <a:lnTo>
                      <a:pt x="151" y="74"/>
                    </a:lnTo>
                    <a:lnTo>
                      <a:pt x="156" y="63"/>
                    </a:lnTo>
                    <a:lnTo>
                      <a:pt x="160" y="54"/>
                    </a:lnTo>
                    <a:lnTo>
                      <a:pt x="156" y="43"/>
                    </a:lnTo>
                    <a:lnTo>
                      <a:pt x="156" y="31"/>
                    </a:lnTo>
                    <a:lnTo>
                      <a:pt x="151" y="23"/>
                    </a:lnTo>
                    <a:lnTo>
                      <a:pt x="147" y="17"/>
                    </a:lnTo>
                    <a:lnTo>
                      <a:pt x="133" y="9"/>
                    </a:lnTo>
                    <a:lnTo>
                      <a:pt x="115" y="6"/>
                    </a:lnTo>
                    <a:lnTo>
                      <a:pt x="101" y="3"/>
                    </a:lnTo>
                    <a:lnTo>
                      <a:pt x="78" y="3"/>
                    </a:lnTo>
                    <a:lnTo>
                      <a:pt x="60" y="0"/>
                    </a:lnTo>
                    <a:lnTo>
                      <a:pt x="46" y="3"/>
                    </a:lnTo>
                    <a:lnTo>
                      <a:pt x="37" y="3"/>
                    </a:lnTo>
                    <a:lnTo>
                      <a:pt x="28"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2" name="Freeform 86"/>
              <p:cNvSpPr>
                <a:spLocks/>
              </p:cNvSpPr>
              <p:nvPr>
                <p:custDataLst>
                  <p:tags r:id="rId115"/>
                </p:custDataLst>
              </p:nvPr>
            </p:nvSpPr>
            <p:spPr bwMode="gray">
              <a:xfrm>
                <a:off x="1785" y="2469"/>
                <a:ext cx="178" cy="93"/>
              </a:xfrm>
              <a:custGeom>
                <a:avLst/>
                <a:gdLst>
                  <a:gd name="T0" fmla="*/ 44 w 174"/>
                  <a:gd name="T1" fmla="*/ 5 h 102"/>
                  <a:gd name="T2" fmla="*/ 35 w 174"/>
                  <a:gd name="T3" fmla="*/ 5 h 102"/>
                  <a:gd name="T4" fmla="*/ 14 w 174"/>
                  <a:gd name="T5" fmla="*/ 8 h 102"/>
                  <a:gd name="T6" fmla="*/ 14 w 174"/>
                  <a:gd name="T7" fmla="*/ 11 h 102"/>
                  <a:gd name="T8" fmla="*/ 9 w 174"/>
                  <a:gd name="T9" fmla="*/ 14 h 102"/>
                  <a:gd name="T10" fmla="*/ 5 w 174"/>
                  <a:gd name="T11" fmla="*/ 15 h 102"/>
                  <a:gd name="T12" fmla="*/ 0 w 174"/>
                  <a:gd name="T13" fmla="*/ 18 h 102"/>
                  <a:gd name="T14" fmla="*/ 0 w 174"/>
                  <a:gd name="T15" fmla="*/ 20 h 102"/>
                  <a:gd name="T16" fmla="*/ 5 w 174"/>
                  <a:gd name="T17" fmla="*/ 22 h 102"/>
                  <a:gd name="T18" fmla="*/ 9 w 174"/>
                  <a:gd name="T19" fmla="*/ 25 h 102"/>
                  <a:gd name="T20" fmla="*/ 14 w 174"/>
                  <a:gd name="T21" fmla="*/ 27 h 102"/>
                  <a:gd name="T22" fmla="*/ 35 w 174"/>
                  <a:gd name="T23" fmla="*/ 30 h 102"/>
                  <a:gd name="T24" fmla="*/ 49 w 174"/>
                  <a:gd name="T25" fmla="*/ 33 h 102"/>
                  <a:gd name="T26" fmla="*/ 62 w 174"/>
                  <a:gd name="T27" fmla="*/ 33 h 102"/>
                  <a:gd name="T28" fmla="*/ 86 w 174"/>
                  <a:gd name="T29" fmla="*/ 33 h 102"/>
                  <a:gd name="T30" fmla="*/ 102 w 174"/>
                  <a:gd name="T31" fmla="*/ 33 h 102"/>
                  <a:gd name="T32" fmla="*/ 125 w 174"/>
                  <a:gd name="T33" fmla="*/ 34 h 102"/>
                  <a:gd name="T34" fmla="*/ 139 w 174"/>
                  <a:gd name="T35" fmla="*/ 33 h 102"/>
                  <a:gd name="T36" fmla="*/ 155 w 174"/>
                  <a:gd name="T37" fmla="*/ 33 h 102"/>
                  <a:gd name="T38" fmla="*/ 174 w 174"/>
                  <a:gd name="T39" fmla="*/ 31 h 102"/>
                  <a:gd name="T40" fmla="*/ 186 w 174"/>
                  <a:gd name="T41" fmla="*/ 31 h 102"/>
                  <a:gd name="T42" fmla="*/ 198 w 174"/>
                  <a:gd name="T43" fmla="*/ 27 h 102"/>
                  <a:gd name="T44" fmla="*/ 211 w 174"/>
                  <a:gd name="T45" fmla="*/ 25 h 102"/>
                  <a:gd name="T46" fmla="*/ 222 w 174"/>
                  <a:gd name="T47" fmla="*/ 24 h 102"/>
                  <a:gd name="T48" fmla="*/ 228 w 174"/>
                  <a:gd name="T49" fmla="*/ 21 h 102"/>
                  <a:gd name="T50" fmla="*/ 228 w 174"/>
                  <a:gd name="T51" fmla="*/ 17 h 102"/>
                  <a:gd name="T52" fmla="*/ 228 w 174"/>
                  <a:gd name="T53" fmla="*/ 15 h 102"/>
                  <a:gd name="T54" fmla="*/ 222 w 174"/>
                  <a:gd name="T55" fmla="*/ 11 h 102"/>
                  <a:gd name="T56" fmla="*/ 222 w 174"/>
                  <a:gd name="T57" fmla="*/ 6 h 102"/>
                  <a:gd name="T58" fmla="*/ 211 w 174"/>
                  <a:gd name="T59" fmla="*/ 5 h 102"/>
                  <a:gd name="T60" fmla="*/ 206 w 174"/>
                  <a:gd name="T61" fmla="*/ 5 h 102"/>
                  <a:gd name="T62" fmla="*/ 191 w 174"/>
                  <a:gd name="T63" fmla="*/ 5 h 102"/>
                  <a:gd name="T64" fmla="*/ 179 w 174"/>
                  <a:gd name="T65" fmla="*/ 0 h 102"/>
                  <a:gd name="T66" fmla="*/ 167 w 174"/>
                  <a:gd name="T67" fmla="*/ 0 h 102"/>
                  <a:gd name="T68" fmla="*/ 150 w 174"/>
                  <a:gd name="T69" fmla="*/ 0 h 102"/>
                  <a:gd name="T70" fmla="*/ 139 w 174"/>
                  <a:gd name="T71" fmla="*/ 0 h 102"/>
                  <a:gd name="T72" fmla="*/ 125 w 174"/>
                  <a:gd name="T73" fmla="*/ 0 h 102"/>
                  <a:gd name="T74" fmla="*/ 102 w 174"/>
                  <a:gd name="T75" fmla="*/ 0 h 102"/>
                  <a:gd name="T76" fmla="*/ 93 w 174"/>
                  <a:gd name="T77" fmla="*/ 0 h 102"/>
                  <a:gd name="T78" fmla="*/ 78 w 174"/>
                  <a:gd name="T79" fmla="*/ 0 h 102"/>
                  <a:gd name="T80" fmla="*/ 62 w 174"/>
                  <a:gd name="T81" fmla="*/ 0 h 102"/>
                  <a:gd name="T82" fmla="*/ 49 w 174"/>
                  <a:gd name="T83" fmla="*/ 3 h 102"/>
                  <a:gd name="T84" fmla="*/ 44 w 174"/>
                  <a:gd name="T85" fmla="*/ 5 h 102"/>
                  <a:gd name="T86" fmla="*/ 44 w 174"/>
                  <a:gd name="T87" fmla="*/ 5 h 1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
                  <a:gd name="T133" fmla="*/ 0 h 102"/>
                  <a:gd name="T134" fmla="*/ 174 w 174"/>
                  <a:gd name="T135" fmla="*/ 102 h 1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 h="102">
                    <a:moveTo>
                      <a:pt x="32" y="6"/>
                    </a:moveTo>
                    <a:lnTo>
                      <a:pt x="23" y="14"/>
                    </a:lnTo>
                    <a:lnTo>
                      <a:pt x="14" y="23"/>
                    </a:lnTo>
                    <a:lnTo>
                      <a:pt x="14" y="31"/>
                    </a:lnTo>
                    <a:lnTo>
                      <a:pt x="9" y="40"/>
                    </a:lnTo>
                    <a:lnTo>
                      <a:pt x="5" y="45"/>
                    </a:lnTo>
                    <a:lnTo>
                      <a:pt x="0" y="54"/>
                    </a:lnTo>
                    <a:lnTo>
                      <a:pt x="0" y="60"/>
                    </a:lnTo>
                    <a:lnTo>
                      <a:pt x="5" y="65"/>
                    </a:lnTo>
                    <a:lnTo>
                      <a:pt x="9" y="77"/>
                    </a:lnTo>
                    <a:lnTo>
                      <a:pt x="14" y="82"/>
                    </a:lnTo>
                    <a:lnTo>
                      <a:pt x="23" y="91"/>
                    </a:lnTo>
                    <a:lnTo>
                      <a:pt x="37" y="97"/>
                    </a:lnTo>
                    <a:lnTo>
                      <a:pt x="50" y="100"/>
                    </a:lnTo>
                    <a:lnTo>
                      <a:pt x="64" y="100"/>
                    </a:lnTo>
                    <a:lnTo>
                      <a:pt x="78" y="100"/>
                    </a:lnTo>
                    <a:lnTo>
                      <a:pt x="96" y="102"/>
                    </a:lnTo>
                    <a:lnTo>
                      <a:pt x="105" y="100"/>
                    </a:lnTo>
                    <a:lnTo>
                      <a:pt x="119" y="100"/>
                    </a:lnTo>
                    <a:lnTo>
                      <a:pt x="133" y="94"/>
                    </a:lnTo>
                    <a:lnTo>
                      <a:pt x="142" y="94"/>
                    </a:lnTo>
                    <a:lnTo>
                      <a:pt x="151" y="82"/>
                    </a:lnTo>
                    <a:lnTo>
                      <a:pt x="160" y="77"/>
                    </a:lnTo>
                    <a:lnTo>
                      <a:pt x="169" y="71"/>
                    </a:lnTo>
                    <a:lnTo>
                      <a:pt x="174" y="63"/>
                    </a:lnTo>
                    <a:lnTo>
                      <a:pt x="174" y="51"/>
                    </a:lnTo>
                    <a:lnTo>
                      <a:pt x="174" y="43"/>
                    </a:lnTo>
                    <a:lnTo>
                      <a:pt x="169" y="31"/>
                    </a:lnTo>
                    <a:lnTo>
                      <a:pt x="169" y="20"/>
                    </a:lnTo>
                    <a:lnTo>
                      <a:pt x="160" y="14"/>
                    </a:lnTo>
                    <a:lnTo>
                      <a:pt x="156" y="8"/>
                    </a:lnTo>
                    <a:lnTo>
                      <a:pt x="146" y="6"/>
                    </a:lnTo>
                    <a:lnTo>
                      <a:pt x="137" y="0"/>
                    </a:lnTo>
                    <a:lnTo>
                      <a:pt x="128" y="0"/>
                    </a:lnTo>
                    <a:lnTo>
                      <a:pt x="114" y="0"/>
                    </a:lnTo>
                    <a:lnTo>
                      <a:pt x="105" y="0"/>
                    </a:lnTo>
                    <a:lnTo>
                      <a:pt x="96" y="0"/>
                    </a:lnTo>
                    <a:lnTo>
                      <a:pt x="78" y="0"/>
                    </a:lnTo>
                    <a:lnTo>
                      <a:pt x="69" y="0"/>
                    </a:lnTo>
                    <a:lnTo>
                      <a:pt x="60" y="0"/>
                    </a:lnTo>
                    <a:lnTo>
                      <a:pt x="50" y="0"/>
                    </a:lnTo>
                    <a:lnTo>
                      <a:pt x="37" y="3"/>
                    </a:lnTo>
                    <a:lnTo>
                      <a:pt x="32" y="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3" name="Freeform 87"/>
              <p:cNvSpPr>
                <a:spLocks/>
              </p:cNvSpPr>
              <p:nvPr>
                <p:custDataLst>
                  <p:tags r:id="rId116"/>
                </p:custDataLst>
              </p:nvPr>
            </p:nvSpPr>
            <p:spPr bwMode="gray">
              <a:xfrm>
                <a:off x="2047" y="2479"/>
                <a:ext cx="164" cy="93"/>
              </a:xfrm>
              <a:custGeom>
                <a:avLst/>
                <a:gdLst>
                  <a:gd name="T0" fmla="*/ 44 w 160"/>
                  <a:gd name="T1" fmla="*/ 3 h 103"/>
                  <a:gd name="T2" fmla="*/ 18 w 160"/>
                  <a:gd name="T3" fmla="*/ 5 h 103"/>
                  <a:gd name="T4" fmla="*/ 14 w 160"/>
                  <a:gd name="T5" fmla="*/ 5 h 103"/>
                  <a:gd name="T6" fmla="*/ 9 w 160"/>
                  <a:gd name="T7" fmla="*/ 9 h 103"/>
                  <a:gd name="T8" fmla="*/ 0 w 160"/>
                  <a:gd name="T9" fmla="*/ 11 h 103"/>
                  <a:gd name="T10" fmla="*/ 0 w 160"/>
                  <a:gd name="T11" fmla="*/ 14 h 103"/>
                  <a:gd name="T12" fmla="*/ 0 w 160"/>
                  <a:gd name="T13" fmla="*/ 15 h 103"/>
                  <a:gd name="T14" fmla="*/ 0 w 160"/>
                  <a:gd name="T15" fmla="*/ 17 h 103"/>
                  <a:gd name="T16" fmla="*/ 0 w 160"/>
                  <a:gd name="T17" fmla="*/ 20 h 103"/>
                  <a:gd name="T18" fmla="*/ 0 w 160"/>
                  <a:gd name="T19" fmla="*/ 21 h 103"/>
                  <a:gd name="T20" fmla="*/ 9 w 160"/>
                  <a:gd name="T21" fmla="*/ 24 h 103"/>
                  <a:gd name="T22" fmla="*/ 18 w 160"/>
                  <a:gd name="T23" fmla="*/ 27 h 103"/>
                  <a:gd name="T24" fmla="*/ 44 w 160"/>
                  <a:gd name="T25" fmla="*/ 28 h 103"/>
                  <a:gd name="T26" fmla="*/ 53 w 160"/>
                  <a:gd name="T27" fmla="*/ 28 h 103"/>
                  <a:gd name="T28" fmla="*/ 73 w 160"/>
                  <a:gd name="T29" fmla="*/ 30 h 103"/>
                  <a:gd name="T30" fmla="*/ 97 w 160"/>
                  <a:gd name="T31" fmla="*/ 30 h 103"/>
                  <a:gd name="T32" fmla="*/ 116 w 160"/>
                  <a:gd name="T33" fmla="*/ 31 h 103"/>
                  <a:gd name="T34" fmla="*/ 137 w 160"/>
                  <a:gd name="T35" fmla="*/ 30 h 103"/>
                  <a:gd name="T36" fmla="*/ 153 w 160"/>
                  <a:gd name="T37" fmla="*/ 28 h 103"/>
                  <a:gd name="T38" fmla="*/ 166 w 160"/>
                  <a:gd name="T39" fmla="*/ 28 h 103"/>
                  <a:gd name="T40" fmla="*/ 178 w 160"/>
                  <a:gd name="T41" fmla="*/ 28 h 103"/>
                  <a:gd name="T42" fmla="*/ 197 w 160"/>
                  <a:gd name="T43" fmla="*/ 24 h 103"/>
                  <a:gd name="T44" fmla="*/ 209 w 160"/>
                  <a:gd name="T45" fmla="*/ 21 h 103"/>
                  <a:gd name="T46" fmla="*/ 209 w 160"/>
                  <a:gd name="T47" fmla="*/ 19 h 103"/>
                  <a:gd name="T48" fmla="*/ 214 w 160"/>
                  <a:gd name="T49" fmla="*/ 16 h 103"/>
                  <a:gd name="T50" fmla="*/ 214 w 160"/>
                  <a:gd name="T51" fmla="*/ 13 h 103"/>
                  <a:gd name="T52" fmla="*/ 209 w 160"/>
                  <a:gd name="T53" fmla="*/ 10 h 103"/>
                  <a:gd name="T54" fmla="*/ 203 w 160"/>
                  <a:gd name="T55" fmla="*/ 7 h 103"/>
                  <a:gd name="T56" fmla="*/ 197 w 160"/>
                  <a:gd name="T57" fmla="*/ 5 h 103"/>
                  <a:gd name="T58" fmla="*/ 178 w 160"/>
                  <a:gd name="T59" fmla="*/ 5 h 103"/>
                  <a:gd name="T60" fmla="*/ 160 w 160"/>
                  <a:gd name="T61" fmla="*/ 5 h 103"/>
                  <a:gd name="T62" fmla="*/ 129 w 160"/>
                  <a:gd name="T63" fmla="*/ 3 h 103"/>
                  <a:gd name="T64" fmla="*/ 102 w 160"/>
                  <a:gd name="T65" fmla="*/ 3 h 103"/>
                  <a:gd name="T66" fmla="*/ 73 w 160"/>
                  <a:gd name="T67" fmla="*/ 0 h 103"/>
                  <a:gd name="T68" fmla="*/ 53 w 160"/>
                  <a:gd name="T69" fmla="*/ 0 h 103"/>
                  <a:gd name="T70" fmla="*/ 44 w 160"/>
                  <a:gd name="T71" fmla="*/ 0 h 103"/>
                  <a:gd name="T72" fmla="*/ 44 w 160"/>
                  <a:gd name="T73" fmla="*/ 3 h 103"/>
                  <a:gd name="T74" fmla="*/ 44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32" y="3"/>
                    </a:moveTo>
                    <a:lnTo>
                      <a:pt x="18" y="9"/>
                    </a:lnTo>
                    <a:lnTo>
                      <a:pt x="14" y="20"/>
                    </a:lnTo>
                    <a:lnTo>
                      <a:pt x="9" y="29"/>
                    </a:lnTo>
                    <a:lnTo>
                      <a:pt x="0" y="37"/>
                    </a:lnTo>
                    <a:lnTo>
                      <a:pt x="0" y="46"/>
                    </a:lnTo>
                    <a:lnTo>
                      <a:pt x="0" y="52"/>
                    </a:lnTo>
                    <a:lnTo>
                      <a:pt x="0" y="57"/>
                    </a:lnTo>
                    <a:lnTo>
                      <a:pt x="0" y="66"/>
                    </a:lnTo>
                    <a:lnTo>
                      <a:pt x="0" y="71"/>
                    </a:lnTo>
                    <a:lnTo>
                      <a:pt x="9" y="83"/>
                    </a:lnTo>
                    <a:lnTo>
                      <a:pt x="18" y="91"/>
                    </a:lnTo>
                    <a:lnTo>
                      <a:pt x="32" y="94"/>
                    </a:lnTo>
                    <a:lnTo>
                      <a:pt x="41" y="97"/>
                    </a:lnTo>
                    <a:lnTo>
                      <a:pt x="55" y="100"/>
                    </a:lnTo>
                    <a:lnTo>
                      <a:pt x="73" y="100"/>
                    </a:lnTo>
                    <a:lnTo>
                      <a:pt x="87" y="103"/>
                    </a:lnTo>
                    <a:lnTo>
                      <a:pt x="101" y="100"/>
                    </a:lnTo>
                    <a:lnTo>
                      <a:pt x="114" y="97"/>
                    </a:lnTo>
                    <a:lnTo>
                      <a:pt x="124" y="94"/>
                    </a:lnTo>
                    <a:lnTo>
                      <a:pt x="133" y="94"/>
                    </a:lnTo>
                    <a:lnTo>
                      <a:pt x="146" y="83"/>
                    </a:lnTo>
                    <a:lnTo>
                      <a:pt x="156" y="71"/>
                    </a:lnTo>
                    <a:lnTo>
                      <a:pt x="156" y="63"/>
                    </a:lnTo>
                    <a:lnTo>
                      <a:pt x="160" y="54"/>
                    </a:lnTo>
                    <a:lnTo>
                      <a:pt x="160" y="43"/>
                    </a:lnTo>
                    <a:lnTo>
                      <a:pt x="156" y="32"/>
                    </a:lnTo>
                    <a:lnTo>
                      <a:pt x="151" y="23"/>
                    </a:lnTo>
                    <a:lnTo>
                      <a:pt x="146" y="17"/>
                    </a:lnTo>
                    <a:lnTo>
                      <a:pt x="133" y="9"/>
                    </a:lnTo>
                    <a:lnTo>
                      <a:pt x="119" y="6"/>
                    </a:lnTo>
                    <a:lnTo>
                      <a:pt x="96" y="3"/>
                    </a:lnTo>
                    <a:lnTo>
                      <a:pt x="78" y="3"/>
                    </a:lnTo>
                    <a:lnTo>
                      <a:pt x="55" y="0"/>
                    </a:lnTo>
                    <a:lnTo>
                      <a:pt x="41" y="0"/>
                    </a:lnTo>
                    <a:lnTo>
                      <a:pt x="32"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4" name="Freeform 88"/>
              <p:cNvSpPr>
                <a:spLocks/>
              </p:cNvSpPr>
              <p:nvPr>
                <p:custDataLst>
                  <p:tags r:id="rId117"/>
                </p:custDataLst>
              </p:nvPr>
            </p:nvSpPr>
            <p:spPr bwMode="gray">
              <a:xfrm>
                <a:off x="3963" y="2482"/>
                <a:ext cx="169" cy="90"/>
              </a:xfrm>
              <a:custGeom>
                <a:avLst/>
                <a:gdLst>
                  <a:gd name="T0" fmla="*/ 44 w 165"/>
                  <a:gd name="T1" fmla="*/ 3 h 100"/>
                  <a:gd name="T2" fmla="*/ 35 w 165"/>
                  <a:gd name="T3" fmla="*/ 5 h 100"/>
                  <a:gd name="T4" fmla="*/ 14 w 165"/>
                  <a:gd name="T5" fmla="*/ 5 h 100"/>
                  <a:gd name="T6" fmla="*/ 5 w 165"/>
                  <a:gd name="T7" fmla="*/ 8 h 100"/>
                  <a:gd name="T8" fmla="*/ 5 w 165"/>
                  <a:gd name="T9" fmla="*/ 11 h 100"/>
                  <a:gd name="T10" fmla="*/ 5 w 165"/>
                  <a:gd name="T11" fmla="*/ 13 h 100"/>
                  <a:gd name="T12" fmla="*/ 0 w 165"/>
                  <a:gd name="T13" fmla="*/ 14 h 100"/>
                  <a:gd name="T14" fmla="*/ 0 w 165"/>
                  <a:gd name="T15" fmla="*/ 16 h 100"/>
                  <a:gd name="T16" fmla="*/ 5 w 165"/>
                  <a:gd name="T17" fmla="*/ 19 h 100"/>
                  <a:gd name="T18" fmla="*/ 5 w 165"/>
                  <a:gd name="T19" fmla="*/ 21 h 100"/>
                  <a:gd name="T20" fmla="*/ 14 w 165"/>
                  <a:gd name="T21" fmla="*/ 23 h 100"/>
                  <a:gd name="T22" fmla="*/ 35 w 165"/>
                  <a:gd name="T23" fmla="*/ 26 h 100"/>
                  <a:gd name="T24" fmla="*/ 49 w 165"/>
                  <a:gd name="T25" fmla="*/ 27 h 100"/>
                  <a:gd name="T26" fmla="*/ 58 w 165"/>
                  <a:gd name="T27" fmla="*/ 29 h 100"/>
                  <a:gd name="T28" fmla="*/ 82 w 165"/>
                  <a:gd name="T29" fmla="*/ 29 h 100"/>
                  <a:gd name="T30" fmla="*/ 102 w 165"/>
                  <a:gd name="T31" fmla="*/ 29 h 100"/>
                  <a:gd name="T32" fmla="*/ 122 w 165"/>
                  <a:gd name="T33" fmla="*/ 29 h 100"/>
                  <a:gd name="T34" fmla="*/ 135 w 165"/>
                  <a:gd name="T35" fmla="*/ 29 h 100"/>
                  <a:gd name="T36" fmla="*/ 153 w 165"/>
                  <a:gd name="T37" fmla="*/ 29 h 100"/>
                  <a:gd name="T38" fmla="*/ 170 w 165"/>
                  <a:gd name="T39" fmla="*/ 27 h 100"/>
                  <a:gd name="T40" fmla="*/ 182 w 165"/>
                  <a:gd name="T41" fmla="*/ 26 h 100"/>
                  <a:gd name="T42" fmla="*/ 197 w 165"/>
                  <a:gd name="T43" fmla="*/ 23 h 100"/>
                  <a:gd name="T44" fmla="*/ 208 w 165"/>
                  <a:gd name="T45" fmla="*/ 21 h 100"/>
                  <a:gd name="T46" fmla="*/ 213 w 165"/>
                  <a:gd name="T47" fmla="*/ 18 h 100"/>
                  <a:gd name="T48" fmla="*/ 219 w 165"/>
                  <a:gd name="T49" fmla="*/ 15 h 100"/>
                  <a:gd name="T50" fmla="*/ 219 w 165"/>
                  <a:gd name="T51" fmla="*/ 13 h 100"/>
                  <a:gd name="T52" fmla="*/ 213 w 165"/>
                  <a:gd name="T53" fmla="*/ 11 h 100"/>
                  <a:gd name="T54" fmla="*/ 202 w 165"/>
                  <a:gd name="T55" fmla="*/ 7 h 100"/>
                  <a:gd name="T56" fmla="*/ 197 w 165"/>
                  <a:gd name="T57" fmla="*/ 5 h 100"/>
                  <a:gd name="T58" fmla="*/ 177 w 165"/>
                  <a:gd name="T59" fmla="*/ 5 h 100"/>
                  <a:gd name="T60" fmla="*/ 158 w 165"/>
                  <a:gd name="T61" fmla="*/ 5 h 100"/>
                  <a:gd name="T62" fmla="*/ 146 w 165"/>
                  <a:gd name="T63" fmla="*/ 3 h 100"/>
                  <a:gd name="T64" fmla="*/ 128 w 165"/>
                  <a:gd name="T65" fmla="*/ 3 h 100"/>
                  <a:gd name="T66" fmla="*/ 122 w 165"/>
                  <a:gd name="T67" fmla="*/ 3 h 100"/>
                  <a:gd name="T68" fmla="*/ 102 w 165"/>
                  <a:gd name="T69" fmla="*/ 3 h 100"/>
                  <a:gd name="T70" fmla="*/ 82 w 165"/>
                  <a:gd name="T71" fmla="*/ 0 h 100"/>
                  <a:gd name="T72" fmla="*/ 53 w 165"/>
                  <a:gd name="T73" fmla="*/ 3 h 100"/>
                  <a:gd name="T74" fmla="*/ 49 w 165"/>
                  <a:gd name="T75" fmla="*/ 3 h 100"/>
                  <a:gd name="T76" fmla="*/ 44 w 165"/>
                  <a:gd name="T77" fmla="*/ 3 h 100"/>
                  <a:gd name="T78" fmla="*/ 44 w 165"/>
                  <a:gd name="T79" fmla="*/ 3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100"/>
                  <a:gd name="T122" fmla="*/ 165 w 165"/>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100">
                    <a:moveTo>
                      <a:pt x="32" y="3"/>
                    </a:moveTo>
                    <a:lnTo>
                      <a:pt x="23" y="12"/>
                    </a:lnTo>
                    <a:lnTo>
                      <a:pt x="14" y="20"/>
                    </a:lnTo>
                    <a:lnTo>
                      <a:pt x="5" y="29"/>
                    </a:lnTo>
                    <a:lnTo>
                      <a:pt x="5" y="37"/>
                    </a:lnTo>
                    <a:lnTo>
                      <a:pt x="5" y="46"/>
                    </a:lnTo>
                    <a:lnTo>
                      <a:pt x="0" y="51"/>
                    </a:lnTo>
                    <a:lnTo>
                      <a:pt x="0" y="57"/>
                    </a:lnTo>
                    <a:lnTo>
                      <a:pt x="5" y="66"/>
                    </a:lnTo>
                    <a:lnTo>
                      <a:pt x="5" y="74"/>
                    </a:lnTo>
                    <a:lnTo>
                      <a:pt x="14" y="83"/>
                    </a:lnTo>
                    <a:lnTo>
                      <a:pt x="23" y="91"/>
                    </a:lnTo>
                    <a:lnTo>
                      <a:pt x="37" y="94"/>
                    </a:lnTo>
                    <a:lnTo>
                      <a:pt x="46" y="100"/>
                    </a:lnTo>
                    <a:lnTo>
                      <a:pt x="60" y="100"/>
                    </a:lnTo>
                    <a:lnTo>
                      <a:pt x="78" y="100"/>
                    </a:lnTo>
                    <a:lnTo>
                      <a:pt x="92" y="100"/>
                    </a:lnTo>
                    <a:lnTo>
                      <a:pt x="101" y="100"/>
                    </a:lnTo>
                    <a:lnTo>
                      <a:pt x="115" y="100"/>
                    </a:lnTo>
                    <a:lnTo>
                      <a:pt x="128" y="94"/>
                    </a:lnTo>
                    <a:lnTo>
                      <a:pt x="137" y="91"/>
                    </a:lnTo>
                    <a:lnTo>
                      <a:pt x="147" y="83"/>
                    </a:lnTo>
                    <a:lnTo>
                      <a:pt x="156" y="74"/>
                    </a:lnTo>
                    <a:lnTo>
                      <a:pt x="160" y="63"/>
                    </a:lnTo>
                    <a:lnTo>
                      <a:pt x="165" y="54"/>
                    </a:lnTo>
                    <a:lnTo>
                      <a:pt x="165" y="43"/>
                    </a:lnTo>
                    <a:lnTo>
                      <a:pt x="160" y="34"/>
                    </a:lnTo>
                    <a:lnTo>
                      <a:pt x="151" y="26"/>
                    </a:lnTo>
                    <a:lnTo>
                      <a:pt x="147" y="17"/>
                    </a:lnTo>
                    <a:lnTo>
                      <a:pt x="133" y="9"/>
                    </a:lnTo>
                    <a:lnTo>
                      <a:pt x="119" y="6"/>
                    </a:lnTo>
                    <a:lnTo>
                      <a:pt x="110" y="3"/>
                    </a:lnTo>
                    <a:lnTo>
                      <a:pt x="96" y="3"/>
                    </a:lnTo>
                    <a:lnTo>
                      <a:pt x="92" y="3"/>
                    </a:lnTo>
                    <a:lnTo>
                      <a:pt x="78" y="3"/>
                    </a:lnTo>
                    <a:lnTo>
                      <a:pt x="60" y="0"/>
                    </a:lnTo>
                    <a:lnTo>
                      <a:pt x="41" y="3"/>
                    </a:lnTo>
                    <a:lnTo>
                      <a:pt x="37" y="3"/>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5" name="Freeform 89"/>
              <p:cNvSpPr>
                <a:spLocks/>
              </p:cNvSpPr>
              <p:nvPr>
                <p:custDataLst>
                  <p:tags r:id="rId118"/>
                </p:custDataLst>
              </p:nvPr>
            </p:nvSpPr>
            <p:spPr bwMode="gray">
              <a:xfrm>
                <a:off x="4212" y="2453"/>
                <a:ext cx="168" cy="91"/>
              </a:xfrm>
              <a:custGeom>
                <a:avLst/>
                <a:gdLst>
                  <a:gd name="T0" fmla="*/ 48 w 164"/>
                  <a:gd name="T1" fmla="*/ 3 h 99"/>
                  <a:gd name="T2" fmla="*/ 34 w 164"/>
                  <a:gd name="T3" fmla="*/ 6 h 99"/>
                  <a:gd name="T4" fmla="*/ 18 w 164"/>
                  <a:gd name="T5" fmla="*/ 6 h 99"/>
                  <a:gd name="T6" fmla="*/ 9 w 164"/>
                  <a:gd name="T7" fmla="*/ 11 h 99"/>
                  <a:gd name="T8" fmla="*/ 9 w 164"/>
                  <a:gd name="T9" fmla="*/ 14 h 99"/>
                  <a:gd name="T10" fmla="*/ 4 w 164"/>
                  <a:gd name="T11" fmla="*/ 16 h 99"/>
                  <a:gd name="T12" fmla="*/ 0 w 164"/>
                  <a:gd name="T13" fmla="*/ 18 h 99"/>
                  <a:gd name="T14" fmla="*/ 0 w 164"/>
                  <a:gd name="T15" fmla="*/ 20 h 99"/>
                  <a:gd name="T16" fmla="*/ 4 w 164"/>
                  <a:gd name="T17" fmla="*/ 22 h 99"/>
                  <a:gd name="T18" fmla="*/ 9 w 164"/>
                  <a:gd name="T19" fmla="*/ 27 h 99"/>
                  <a:gd name="T20" fmla="*/ 18 w 164"/>
                  <a:gd name="T21" fmla="*/ 29 h 99"/>
                  <a:gd name="T22" fmla="*/ 34 w 164"/>
                  <a:gd name="T23" fmla="*/ 32 h 99"/>
                  <a:gd name="T24" fmla="*/ 48 w 164"/>
                  <a:gd name="T25" fmla="*/ 34 h 99"/>
                  <a:gd name="T26" fmla="*/ 62 w 164"/>
                  <a:gd name="T27" fmla="*/ 35 h 99"/>
                  <a:gd name="T28" fmla="*/ 88 w 164"/>
                  <a:gd name="T29" fmla="*/ 35 h 99"/>
                  <a:gd name="T30" fmla="*/ 101 w 164"/>
                  <a:gd name="T31" fmla="*/ 35 h 99"/>
                  <a:gd name="T32" fmla="*/ 121 w 164"/>
                  <a:gd name="T33" fmla="*/ 37 h 99"/>
                  <a:gd name="T34" fmla="*/ 141 w 164"/>
                  <a:gd name="T35" fmla="*/ 35 h 99"/>
                  <a:gd name="T36" fmla="*/ 164 w 164"/>
                  <a:gd name="T37" fmla="*/ 35 h 99"/>
                  <a:gd name="T38" fmla="*/ 170 w 164"/>
                  <a:gd name="T39" fmla="*/ 34 h 99"/>
                  <a:gd name="T40" fmla="*/ 188 w 164"/>
                  <a:gd name="T41" fmla="*/ 32 h 99"/>
                  <a:gd name="T42" fmla="*/ 201 w 164"/>
                  <a:gd name="T43" fmla="*/ 29 h 99"/>
                  <a:gd name="T44" fmla="*/ 212 w 164"/>
                  <a:gd name="T45" fmla="*/ 26 h 99"/>
                  <a:gd name="T46" fmla="*/ 218 w 164"/>
                  <a:gd name="T47" fmla="*/ 22 h 99"/>
                  <a:gd name="T48" fmla="*/ 218 w 164"/>
                  <a:gd name="T49" fmla="*/ 18 h 99"/>
                  <a:gd name="T50" fmla="*/ 218 w 164"/>
                  <a:gd name="T51" fmla="*/ 15 h 99"/>
                  <a:gd name="T52" fmla="*/ 212 w 164"/>
                  <a:gd name="T53" fmla="*/ 12 h 99"/>
                  <a:gd name="T54" fmla="*/ 207 w 164"/>
                  <a:gd name="T55" fmla="*/ 8 h 99"/>
                  <a:gd name="T56" fmla="*/ 201 w 164"/>
                  <a:gd name="T57" fmla="*/ 6 h 99"/>
                  <a:gd name="T58" fmla="*/ 182 w 164"/>
                  <a:gd name="T59" fmla="*/ 5 h 99"/>
                  <a:gd name="T60" fmla="*/ 164 w 164"/>
                  <a:gd name="T61" fmla="*/ 3 h 99"/>
                  <a:gd name="T62" fmla="*/ 145 w 164"/>
                  <a:gd name="T63" fmla="*/ 3 h 99"/>
                  <a:gd name="T64" fmla="*/ 134 w 164"/>
                  <a:gd name="T65" fmla="*/ 0 h 99"/>
                  <a:gd name="T66" fmla="*/ 121 w 164"/>
                  <a:gd name="T67" fmla="*/ 0 h 99"/>
                  <a:gd name="T68" fmla="*/ 107 w 164"/>
                  <a:gd name="T69" fmla="*/ 0 h 99"/>
                  <a:gd name="T70" fmla="*/ 88 w 164"/>
                  <a:gd name="T71" fmla="*/ 0 h 99"/>
                  <a:gd name="T72" fmla="*/ 57 w 164"/>
                  <a:gd name="T73" fmla="*/ 0 h 99"/>
                  <a:gd name="T74" fmla="*/ 48 w 164"/>
                  <a:gd name="T75" fmla="*/ 0 h 99"/>
                  <a:gd name="T76" fmla="*/ 48 w 164"/>
                  <a:gd name="T77" fmla="*/ 3 h 99"/>
                  <a:gd name="T78" fmla="*/ 48 w 164"/>
                  <a:gd name="T79" fmla="*/ 3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99"/>
                  <a:gd name="T122" fmla="*/ 164 w 164"/>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99">
                    <a:moveTo>
                      <a:pt x="36" y="3"/>
                    </a:moveTo>
                    <a:lnTo>
                      <a:pt x="22" y="11"/>
                    </a:lnTo>
                    <a:lnTo>
                      <a:pt x="18" y="17"/>
                    </a:lnTo>
                    <a:lnTo>
                      <a:pt x="9" y="28"/>
                    </a:lnTo>
                    <a:lnTo>
                      <a:pt x="9" y="37"/>
                    </a:lnTo>
                    <a:lnTo>
                      <a:pt x="4" y="45"/>
                    </a:lnTo>
                    <a:lnTo>
                      <a:pt x="0" y="51"/>
                    </a:lnTo>
                    <a:lnTo>
                      <a:pt x="0" y="57"/>
                    </a:lnTo>
                    <a:lnTo>
                      <a:pt x="4" y="62"/>
                    </a:lnTo>
                    <a:lnTo>
                      <a:pt x="9" y="74"/>
                    </a:lnTo>
                    <a:lnTo>
                      <a:pt x="18" y="80"/>
                    </a:lnTo>
                    <a:lnTo>
                      <a:pt x="22" y="88"/>
                    </a:lnTo>
                    <a:lnTo>
                      <a:pt x="36" y="94"/>
                    </a:lnTo>
                    <a:lnTo>
                      <a:pt x="50" y="97"/>
                    </a:lnTo>
                    <a:lnTo>
                      <a:pt x="64" y="97"/>
                    </a:lnTo>
                    <a:lnTo>
                      <a:pt x="77" y="97"/>
                    </a:lnTo>
                    <a:lnTo>
                      <a:pt x="91" y="99"/>
                    </a:lnTo>
                    <a:lnTo>
                      <a:pt x="105" y="97"/>
                    </a:lnTo>
                    <a:lnTo>
                      <a:pt x="123" y="97"/>
                    </a:lnTo>
                    <a:lnTo>
                      <a:pt x="128" y="94"/>
                    </a:lnTo>
                    <a:lnTo>
                      <a:pt x="141" y="88"/>
                    </a:lnTo>
                    <a:lnTo>
                      <a:pt x="150" y="80"/>
                    </a:lnTo>
                    <a:lnTo>
                      <a:pt x="159" y="71"/>
                    </a:lnTo>
                    <a:lnTo>
                      <a:pt x="164" y="60"/>
                    </a:lnTo>
                    <a:lnTo>
                      <a:pt x="164" y="51"/>
                    </a:lnTo>
                    <a:lnTo>
                      <a:pt x="164" y="40"/>
                    </a:lnTo>
                    <a:lnTo>
                      <a:pt x="159" y="31"/>
                    </a:lnTo>
                    <a:lnTo>
                      <a:pt x="155" y="23"/>
                    </a:lnTo>
                    <a:lnTo>
                      <a:pt x="150" y="17"/>
                    </a:lnTo>
                    <a:lnTo>
                      <a:pt x="137" y="5"/>
                    </a:lnTo>
                    <a:lnTo>
                      <a:pt x="123" y="3"/>
                    </a:lnTo>
                    <a:lnTo>
                      <a:pt x="109" y="3"/>
                    </a:lnTo>
                    <a:lnTo>
                      <a:pt x="100" y="0"/>
                    </a:lnTo>
                    <a:lnTo>
                      <a:pt x="91" y="0"/>
                    </a:lnTo>
                    <a:lnTo>
                      <a:pt x="82" y="0"/>
                    </a:lnTo>
                    <a:lnTo>
                      <a:pt x="64" y="0"/>
                    </a:lnTo>
                    <a:lnTo>
                      <a:pt x="45" y="0"/>
                    </a:lnTo>
                    <a:lnTo>
                      <a:pt x="36" y="0"/>
                    </a:lnTo>
                    <a:lnTo>
                      <a:pt x="36"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6" name="Freeform 90"/>
              <p:cNvSpPr>
                <a:spLocks/>
              </p:cNvSpPr>
              <p:nvPr>
                <p:custDataLst>
                  <p:tags r:id="rId119"/>
                </p:custDataLst>
              </p:nvPr>
            </p:nvSpPr>
            <p:spPr bwMode="gray">
              <a:xfrm>
                <a:off x="3668" y="2508"/>
                <a:ext cx="169" cy="87"/>
              </a:xfrm>
              <a:custGeom>
                <a:avLst/>
                <a:gdLst>
                  <a:gd name="T0" fmla="*/ 44 w 165"/>
                  <a:gd name="T1" fmla="*/ 0 h 96"/>
                  <a:gd name="T2" fmla="*/ 19 w 165"/>
                  <a:gd name="T3" fmla="*/ 5 h 96"/>
                  <a:gd name="T4" fmla="*/ 19 w 165"/>
                  <a:gd name="T5" fmla="*/ 6 h 96"/>
                  <a:gd name="T6" fmla="*/ 10 w 165"/>
                  <a:gd name="T7" fmla="*/ 9 h 96"/>
                  <a:gd name="T8" fmla="*/ 5 w 165"/>
                  <a:gd name="T9" fmla="*/ 12 h 96"/>
                  <a:gd name="T10" fmla="*/ 0 w 165"/>
                  <a:gd name="T11" fmla="*/ 13 h 96"/>
                  <a:gd name="T12" fmla="*/ 0 w 165"/>
                  <a:gd name="T13" fmla="*/ 15 h 96"/>
                  <a:gd name="T14" fmla="*/ 0 w 165"/>
                  <a:gd name="T15" fmla="*/ 18 h 96"/>
                  <a:gd name="T16" fmla="*/ 0 w 165"/>
                  <a:gd name="T17" fmla="*/ 19 h 96"/>
                  <a:gd name="T18" fmla="*/ 5 w 165"/>
                  <a:gd name="T19" fmla="*/ 22 h 96"/>
                  <a:gd name="T20" fmla="*/ 10 w 165"/>
                  <a:gd name="T21" fmla="*/ 25 h 96"/>
                  <a:gd name="T22" fmla="*/ 19 w 165"/>
                  <a:gd name="T23" fmla="*/ 26 h 96"/>
                  <a:gd name="T24" fmla="*/ 44 w 165"/>
                  <a:gd name="T25" fmla="*/ 29 h 96"/>
                  <a:gd name="T26" fmla="*/ 58 w 165"/>
                  <a:gd name="T27" fmla="*/ 29 h 96"/>
                  <a:gd name="T28" fmla="*/ 82 w 165"/>
                  <a:gd name="T29" fmla="*/ 30 h 96"/>
                  <a:gd name="T30" fmla="*/ 98 w 165"/>
                  <a:gd name="T31" fmla="*/ 30 h 96"/>
                  <a:gd name="T32" fmla="*/ 122 w 165"/>
                  <a:gd name="T33" fmla="*/ 30 h 96"/>
                  <a:gd name="T34" fmla="*/ 142 w 165"/>
                  <a:gd name="T35" fmla="*/ 30 h 96"/>
                  <a:gd name="T36" fmla="*/ 153 w 165"/>
                  <a:gd name="T37" fmla="*/ 29 h 96"/>
                  <a:gd name="T38" fmla="*/ 170 w 165"/>
                  <a:gd name="T39" fmla="*/ 28 h 96"/>
                  <a:gd name="T40" fmla="*/ 183 w 165"/>
                  <a:gd name="T41" fmla="*/ 27 h 96"/>
                  <a:gd name="T42" fmla="*/ 197 w 165"/>
                  <a:gd name="T43" fmla="*/ 24 h 96"/>
                  <a:gd name="T44" fmla="*/ 208 w 165"/>
                  <a:gd name="T45" fmla="*/ 22 h 96"/>
                  <a:gd name="T46" fmla="*/ 213 w 165"/>
                  <a:gd name="T47" fmla="*/ 19 h 96"/>
                  <a:gd name="T48" fmla="*/ 219 w 165"/>
                  <a:gd name="T49" fmla="*/ 15 h 96"/>
                  <a:gd name="T50" fmla="*/ 213 w 165"/>
                  <a:gd name="T51" fmla="*/ 13 h 96"/>
                  <a:gd name="T52" fmla="*/ 208 w 165"/>
                  <a:gd name="T53" fmla="*/ 9 h 96"/>
                  <a:gd name="T54" fmla="*/ 202 w 165"/>
                  <a:gd name="T55" fmla="*/ 6 h 96"/>
                  <a:gd name="T56" fmla="*/ 202 w 165"/>
                  <a:gd name="T57" fmla="*/ 5 h 96"/>
                  <a:gd name="T58" fmla="*/ 177 w 165"/>
                  <a:gd name="T59" fmla="*/ 5 h 96"/>
                  <a:gd name="T60" fmla="*/ 158 w 165"/>
                  <a:gd name="T61" fmla="*/ 2 h 96"/>
                  <a:gd name="T62" fmla="*/ 146 w 165"/>
                  <a:gd name="T63" fmla="*/ 0 h 96"/>
                  <a:gd name="T64" fmla="*/ 128 w 165"/>
                  <a:gd name="T65" fmla="*/ 0 h 96"/>
                  <a:gd name="T66" fmla="*/ 122 w 165"/>
                  <a:gd name="T67" fmla="*/ 0 h 96"/>
                  <a:gd name="T68" fmla="*/ 108 w 165"/>
                  <a:gd name="T69" fmla="*/ 0 h 96"/>
                  <a:gd name="T70" fmla="*/ 82 w 165"/>
                  <a:gd name="T71" fmla="*/ 0 h 96"/>
                  <a:gd name="T72" fmla="*/ 58 w 165"/>
                  <a:gd name="T73" fmla="*/ 0 h 96"/>
                  <a:gd name="T74" fmla="*/ 49 w 165"/>
                  <a:gd name="T75" fmla="*/ 0 h 96"/>
                  <a:gd name="T76" fmla="*/ 44 w 165"/>
                  <a:gd name="T77" fmla="*/ 0 h 96"/>
                  <a:gd name="T78" fmla="*/ 44 w 165"/>
                  <a:gd name="T79" fmla="*/ 0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96"/>
                  <a:gd name="T122" fmla="*/ 165 w 165"/>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96">
                    <a:moveTo>
                      <a:pt x="32" y="0"/>
                    </a:moveTo>
                    <a:lnTo>
                      <a:pt x="19" y="8"/>
                    </a:lnTo>
                    <a:lnTo>
                      <a:pt x="19" y="20"/>
                    </a:lnTo>
                    <a:lnTo>
                      <a:pt x="10" y="28"/>
                    </a:lnTo>
                    <a:lnTo>
                      <a:pt x="5" y="37"/>
                    </a:lnTo>
                    <a:lnTo>
                      <a:pt x="0" y="39"/>
                    </a:lnTo>
                    <a:lnTo>
                      <a:pt x="0" y="48"/>
                    </a:lnTo>
                    <a:lnTo>
                      <a:pt x="0" y="57"/>
                    </a:lnTo>
                    <a:lnTo>
                      <a:pt x="0" y="62"/>
                    </a:lnTo>
                    <a:lnTo>
                      <a:pt x="5" y="71"/>
                    </a:lnTo>
                    <a:lnTo>
                      <a:pt x="10" y="82"/>
                    </a:lnTo>
                    <a:lnTo>
                      <a:pt x="19" y="85"/>
                    </a:lnTo>
                    <a:lnTo>
                      <a:pt x="32" y="94"/>
                    </a:lnTo>
                    <a:lnTo>
                      <a:pt x="46" y="94"/>
                    </a:lnTo>
                    <a:lnTo>
                      <a:pt x="60" y="96"/>
                    </a:lnTo>
                    <a:lnTo>
                      <a:pt x="74" y="96"/>
                    </a:lnTo>
                    <a:lnTo>
                      <a:pt x="92" y="96"/>
                    </a:lnTo>
                    <a:lnTo>
                      <a:pt x="106" y="96"/>
                    </a:lnTo>
                    <a:lnTo>
                      <a:pt x="115" y="94"/>
                    </a:lnTo>
                    <a:lnTo>
                      <a:pt x="128" y="91"/>
                    </a:lnTo>
                    <a:lnTo>
                      <a:pt x="138" y="88"/>
                    </a:lnTo>
                    <a:lnTo>
                      <a:pt x="147" y="79"/>
                    </a:lnTo>
                    <a:lnTo>
                      <a:pt x="156" y="71"/>
                    </a:lnTo>
                    <a:lnTo>
                      <a:pt x="160" y="62"/>
                    </a:lnTo>
                    <a:lnTo>
                      <a:pt x="165" y="51"/>
                    </a:lnTo>
                    <a:lnTo>
                      <a:pt x="160" y="39"/>
                    </a:lnTo>
                    <a:lnTo>
                      <a:pt x="156" y="28"/>
                    </a:lnTo>
                    <a:lnTo>
                      <a:pt x="151" y="20"/>
                    </a:lnTo>
                    <a:lnTo>
                      <a:pt x="151" y="14"/>
                    </a:lnTo>
                    <a:lnTo>
                      <a:pt x="133" y="5"/>
                    </a:lnTo>
                    <a:lnTo>
                      <a:pt x="119" y="2"/>
                    </a:lnTo>
                    <a:lnTo>
                      <a:pt x="110" y="0"/>
                    </a:lnTo>
                    <a:lnTo>
                      <a:pt x="96" y="0"/>
                    </a:lnTo>
                    <a:lnTo>
                      <a:pt x="92" y="0"/>
                    </a:lnTo>
                    <a:lnTo>
                      <a:pt x="83" y="0"/>
                    </a:lnTo>
                    <a:lnTo>
                      <a:pt x="60" y="0"/>
                    </a:lnTo>
                    <a:lnTo>
                      <a:pt x="46" y="0"/>
                    </a:lnTo>
                    <a:lnTo>
                      <a:pt x="37" y="0"/>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7" name="Freeform 91"/>
              <p:cNvSpPr>
                <a:spLocks/>
              </p:cNvSpPr>
              <p:nvPr>
                <p:custDataLst>
                  <p:tags r:id="rId120"/>
                </p:custDataLst>
              </p:nvPr>
            </p:nvSpPr>
            <p:spPr bwMode="gray">
              <a:xfrm>
                <a:off x="2717" y="2050"/>
                <a:ext cx="197" cy="621"/>
              </a:xfrm>
              <a:custGeom>
                <a:avLst/>
                <a:gdLst>
                  <a:gd name="T0" fmla="*/ 92 w 192"/>
                  <a:gd name="T1" fmla="*/ 34 h 681"/>
                  <a:gd name="T2" fmla="*/ 66 w 192"/>
                  <a:gd name="T3" fmla="*/ 52 h 681"/>
                  <a:gd name="T4" fmla="*/ 48 w 192"/>
                  <a:gd name="T5" fmla="*/ 69 h 681"/>
                  <a:gd name="T6" fmla="*/ 35 w 192"/>
                  <a:gd name="T7" fmla="*/ 87 h 681"/>
                  <a:gd name="T8" fmla="*/ 13 w 192"/>
                  <a:gd name="T9" fmla="*/ 104 h 681"/>
                  <a:gd name="T10" fmla="*/ 9 w 192"/>
                  <a:gd name="T11" fmla="*/ 119 h 681"/>
                  <a:gd name="T12" fmla="*/ 4 w 192"/>
                  <a:gd name="T13" fmla="*/ 133 h 681"/>
                  <a:gd name="T14" fmla="*/ 0 w 192"/>
                  <a:gd name="T15" fmla="*/ 146 h 681"/>
                  <a:gd name="T16" fmla="*/ 0 w 192"/>
                  <a:gd name="T17" fmla="*/ 160 h 681"/>
                  <a:gd name="T18" fmla="*/ 0 w 192"/>
                  <a:gd name="T19" fmla="*/ 174 h 681"/>
                  <a:gd name="T20" fmla="*/ 0 w 192"/>
                  <a:gd name="T21" fmla="*/ 185 h 681"/>
                  <a:gd name="T22" fmla="*/ 0 w 192"/>
                  <a:gd name="T23" fmla="*/ 195 h 681"/>
                  <a:gd name="T24" fmla="*/ 0 w 192"/>
                  <a:gd name="T25" fmla="*/ 203 h 681"/>
                  <a:gd name="T26" fmla="*/ 0 w 192"/>
                  <a:gd name="T27" fmla="*/ 211 h 681"/>
                  <a:gd name="T28" fmla="*/ 4 w 192"/>
                  <a:gd name="T29" fmla="*/ 216 h 681"/>
                  <a:gd name="T30" fmla="*/ 13 w 192"/>
                  <a:gd name="T31" fmla="*/ 225 h 681"/>
                  <a:gd name="T32" fmla="*/ 18 w 192"/>
                  <a:gd name="T33" fmla="*/ 220 h 681"/>
                  <a:gd name="T34" fmla="*/ 35 w 192"/>
                  <a:gd name="T35" fmla="*/ 212 h 681"/>
                  <a:gd name="T36" fmla="*/ 35 w 192"/>
                  <a:gd name="T37" fmla="*/ 203 h 681"/>
                  <a:gd name="T38" fmla="*/ 35 w 192"/>
                  <a:gd name="T39" fmla="*/ 195 h 681"/>
                  <a:gd name="T40" fmla="*/ 39 w 192"/>
                  <a:gd name="T41" fmla="*/ 186 h 681"/>
                  <a:gd name="T42" fmla="*/ 39 w 192"/>
                  <a:gd name="T43" fmla="*/ 176 h 681"/>
                  <a:gd name="T44" fmla="*/ 48 w 192"/>
                  <a:gd name="T45" fmla="*/ 167 h 681"/>
                  <a:gd name="T46" fmla="*/ 48 w 192"/>
                  <a:gd name="T47" fmla="*/ 156 h 681"/>
                  <a:gd name="T48" fmla="*/ 53 w 192"/>
                  <a:gd name="T49" fmla="*/ 146 h 681"/>
                  <a:gd name="T50" fmla="*/ 57 w 192"/>
                  <a:gd name="T51" fmla="*/ 136 h 681"/>
                  <a:gd name="T52" fmla="*/ 66 w 192"/>
                  <a:gd name="T53" fmla="*/ 126 h 681"/>
                  <a:gd name="T54" fmla="*/ 83 w 192"/>
                  <a:gd name="T55" fmla="*/ 116 h 681"/>
                  <a:gd name="T56" fmla="*/ 88 w 192"/>
                  <a:gd name="T57" fmla="*/ 105 h 681"/>
                  <a:gd name="T58" fmla="*/ 92 w 192"/>
                  <a:gd name="T59" fmla="*/ 95 h 681"/>
                  <a:gd name="T60" fmla="*/ 103 w 192"/>
                  <a:gd name="T61" fmla="*/ 84 h 681"/>
                  <a:gd name="T62" fmla="*/ 111 w 192"/>
                  <a:gd name="T63" fmla="*/ 75 h 681"/>
                  <a:gd name="T64" fmla="*/ 118 w 192"/>
                  <a:gd name="T65" fmla="*/ 67 h 681"/>
                  <a:gd name="T66" fmla="*/ 124 w 192"/>
                  <a:gd name="T67" fmla="*/ 61 h 681"/>
                  <a:gd name="T68" fmla="*/ 132 w 192"/>
                  <a:gd name="T69" fmla="*/ 54 h 681"/>
                  <a:gd name="T70" fmla="*/ 136 w 192"/>
                  <a:gd name="T71" fmla="*/ 47 h 681"/>
                  <a:gd name="T72" fmla="*/ 148 w 192"/>
                  <a:gd name="T73" fmla="*/ 41 h 681"/>
                  <a:gd name="T74" fmla="*/ 160 w 192"/>
                  <a:gd name="T75" fmla="*/ 34 h 681"/>
                  <a:gd name="T76" fmla="*/ 193 w 192"/>
                  <a:gd name="T77" fmla="*/ 25 h 681"/>
                  <a:gd name="T78" fmla="*/ 222 w 192"/>
                  <a:gd name="T79" fmla="*/ 15 h 681"/>
                  <a:gd name="T80" fmla="*/ 248 w 192"/>
                  <a:gd name="T81" fmla="*/ 6 h 681"/>
                  <a:gd name="T82" fmla="*/ 261 w 192"/>
                  <a:gd name="T83" fmla="*/ 0 h 681"/>
                  <a:gd name="T84" fmla="*/ 222 w 192"/>
                  <a:gd name="T85" fmla="*/ 5 h 681"/>
                  <a:gd name="T86" fmla="*/ 143 w 192"/>
                  <a:gd name="T87" fmla="*/ 16 h 681"/>
                  <a:gd name="T88" fmla="*/ 111 w 192"/>
                  <a:gd name="T89" fmla="*/ 23 h 6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2"/>
                  <a:gd name="T136" fmla="*/ 0 h 681"/>
                  <a:gd name="T137" fmla="*/ 192 w 192"/>
                  <a:gd name="T138" fmla="*/ 681 h 6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2" h="681">
                    <a:moveTo>
                      <a:pt x="82" y="69"/>
                    </a:moveTo>
                    <a:lnTo>
                      <a:pt x="73" y="86"/>
                    </a:lnTo>
                    <a:lnTo>
                      <a:pt x="68" y="103"/>
                    </a:lnTo>
                    <a:lnTo>
                      <a:pt x="59" y="123"/>
                    </a:lnTo>
                    <a:lnTo>
                      <a:pt x="59" y="140"/>
                    </a:lnTo>
                    <a:lnTo>
                      <a:pt x="50" y="160"/>
                    </a:lnTo>
                    <a:lnTo>
                      <a:pt x="45" y="177"/>
                    </a:lnTo>
                    <a:lnTo>
                      <a:pt x="41" y="194"/>
                    </a:lnTo>
                    <a:lnTo>
                      <a:pt x="36" y="211"/>
                    </a:lnTo>
                    <a:lnTo>
                      <a:pt x="32" y="228"/>
                    </a:lnTo>
                    <a:lnTo>
                      <a:pt x="27" y="245"/>
                    </a:lnTo>
                    <a:lnTo>
                      <a:pt x="23" y="262"/>
                    </a:lnTo>
                    <a:lnTo>
                      <a:pt x="23" y="279"/>
                    </a:lnTo>
                    <a:lnTo>
                      <a:pt x="18" y="297"/>
                    </a:lnTo>
                    <a:lnTo>
                      <a:pt x="13" y="314"/>
                    </a:lnTo>
                    <a:lnTo>
                      <a:pt x="13" y="328"/>
                    </a:lnTo>
                    <a:lnTo>
                      <a:pt x="13" y="345"/>
                    </a:lnTo>
                    <a:lnTo>
                      <a:pt x="9" y="362"/>
                    </a:lnTo>
                    <a:lnTo>
                      <a:pt x="4" y="376"/>
                    </a:lnTo>
                    <a:lnTo>
                      <a:pt x="4" y="391"/>
                    </a:lnTo>
                    <a:lnTo>
                      <a:pt x="4" y="405"/>
                    </a:lnTo>
                    <a:lnTo>
                      <a:pt x="0" y="419"/>
                    </a:lnTo>
                    <a:lnTo>
                      <a:pt x="0" y="433"/>
                    </a:lnTo>
                    <a:lnTo>
                      <a:pt x="0" y="445"/>
                    </a:lnTo>
                    <a:lnTo>
                      <a:pt x="0" y="462"/>
                    </a:lnTo>
                    <a:lnTo>
                      <a:pt x="0" y="476"/>
                    </a:lnTo>
                    <a:lnTo>
                      <a:pt x="0" y="487"/>
                    </a:lnTo>
                    <a:lnTo>
                      <a:pt x="0" y="502"/>
                    </a:lnTo>
                    <a:lnTo>
                      <a:pt x="0" y="513"/>
                    </a:lnTo>
                    <a:lnTo>
                      <a:pt x="0" y="524"/>
                    </a:lnTo>
                    <a:lnTo>
                      <a:pt x="0" y="536"/>
                    </a:lnTo>
                    <a:lnTo>
                      <a:pt x="0" y="550"/>
                    </a:lnTo>
                    <a:lnTo>
                      <a:pt x="0" y="561"/>
                    </a:lnTo>
                    <a:lnTo>
                      <a:pt x="0" y="570"/>
                    </a:lnTo>
                    <a:lnTo>
                      <a:pt x="0" y="578"/>
                    </a:lnTo>
                    <a:lnTo>
                      <a:pt x="0" y="590"/>
                    </a:lnTo>
                    <a:lnTo>
                      <a:pt x="0" y="598"/>
                    </a:lnTo>
                    <a:lnTo>
                      <a:pt x="0" y="607"/>
                    </a:lnTo>
                    <a:lnTo>
                      <a:pt x="0" y="615"/>
                    </a:lnTo>
                    <a:lnTo>
                      <a:pt x="0" y="621"/>
                    </a:lnTo>
                    <a:lnTo>
                      <a:pt x="0" y="630"/>
                    </a:lnTo>
                    <a:lnTo>
                      <a:pt x="0" y="635"/>
                    </a:lnTo>
                    <a:lnTo>
                      <a:pt x="0" y="641"/>
                    </a:lnTo>
                    <a:lnTo>
                      <a:pt x="4" y="650"/>
                    </a:lnTo>
                    <a:lnTo>
                      <a:pt x="4" y="655"/>
                    </a:lnTo>
                    <a:lnTo>
                      <a:pt x="4" y="664"/>
                    </a:lnTo>
                    <a:lnTo>
                      <a:pt x="9" y="675"/>
                    </a:lnTo>
                    <a:lnTo>
                      <a:pt x="13" y="681"/>
                    </a:lnTo>
                    <a:lnTo>
                      <a:pt x="18" y="678"/>
                    </a:lnTo>
                    <a:lnTo>
                      <a:pt x="18" y="675"/>
                    </a:lnTo>
                    <a:lnTo>
                      <a:pt x="18" y="667"/>
                    </a:lnTo>
                    <a:lnTo>
                      <a:pt x="23" y="655"/>
                    </a:lnTo>
                    <a:lnTo>
                      <a:pt x="23" y="647"/>
                    </a:lnTo>
                    <a:lnTo>
                      <a:pt x="23" y="638"/>
                    </a:lnTo>
                    <a:lnTo>
                      <a:pt x="23" y="630"/>
                    </a:lnTo>
                    <a:lnTo>
                      <a:pt x="23" y="624"/>
                    </a:lnTo>
                    <a:lnTo>
                      <a:pt x="23" y="615"/>
                    </a:lnTo>
                    <a:lnTo>
                      <a:pt x="23" y="607"/>
                    </a:lnTo>
                    <a:lnTo>
                      <a:pt x="23" y="598"/>
                    </a:lnTo>
                    <a:lnTo>
                      <a:pt x="23" y="590"/>
                    </a:lnTo>
                    <a:lnTo>
                      <a:pt x="23" y="581"/>
                    </a:lnTo>
                    <a:lnTo>
                      <a:pt x="23" y="573"/>
                    </a:lnTo>
                    <a:lnTo>
                      <a:pt x="27" y="564"/>
                    </a:lnTo>
                    <a:lnTo>
                      <a:pt x="27" y="553"/>
                    </a:lnTo>
                    <a:lnTo>
                      <a:pt x="27" y="541"/>
                    </a:lnTo>
                    <a:lnTo>
                      <a:pt x="27" y="533"/>
                    </a:lnTo>
                    <a:lnTo>
                      <a:pt x="32" y="524"/>
                    </a:lnTo>
                    <a:lnTo>
                      <a:pt x="32" y="516"/>
                    </a:lnTo>
                    <a:lnTo>
                      <a:pt x="36" y="504"/>
                    </a:lnTo>
                    <a:lnTo>
                      <a:pt x="36" y="493"/>
                    </a:lnTo>
                    <a:lnTo>
                      <a:pt x="36" y="485"/>
                    </a:lnTo>
                    <a:lnTo>
                      <a:pt x="36" y="473"/>
                    </a:lnTo>
                    <a:lnTo>
                      <a:pt x="41" y="465"/>
                    </a:lnTo>
                    <a:lnTo>
                      <a:pt x="41" y="453"/>
                    </a:lnTo>
                    <a:lnTo>
                      <a:pt x="41" y="442"/>
                    </a:lnTo>
                    <a:lnTo>
                      <a:pt x="45" y="430"/>
                    </a:lnTo>
                    <a:lnTo>
                      <a:pt x="45" y="422"/>
                    </a:lnTo>
                    <a:lnTo>
                      <a:pt x="45" y="410"/>
                    </a:lnTo>
                    <a:lnTo>
                      <a:pt x="45" y="402"/>
                    </a:lnTo>
                    <a:lnTo>
                      <a:pt x="50" y="391"/>
                    </a:lnTo>
                    <a:lnTo>
                      <a:pt x="50" y="379"/>
                    </a:lnTo>
                    <a:lnTo>
                      <a:pt x="50" y="371"/>
                    </a:lnTo>
                    <a:lnTo>
                      <a:pt x="55" y="359"/>
                    </a:lnTo>
                    <a:lnTo>
                      <a:pt x="59" y="348"/>
                    </a:lnTo>
                    <a:lnTo>
                      <a:pt x="59" y="336"/>
                    </a:lnTo>
                    <a:lnTo>
                      <a:pt x="59" y="328"/>
                    </a:lnTo>
                    <a:lnTo>
                      <a:pt x="64" y="316"/>
                    </a:lnTo>
                    <a:lnTo>
                      <a:pt x="64" y="305"/>
                    </a:lnTo>
                    <a:lnTo>
                      <a:pt x="68" y="297"/>
                    </a:lnTo>
                    <a:lnTo>
                      <a:pt x="68" y="285"/>
                    </a:lnTo>
                    <a:lnTo>
                      <a:pt x="68" y="277"/>
                    </a:lnTo>
                    <a:lnTo>
                      <a:pt x="68" y="265"/>
                    </a:lnTo>
                    <a:lnTo>
                      <a:pt x="77" y="257"/>
                    </a:lnTo>
                    <a:lnTo>
                      <a:pt x="77" y="248"/>
                    </a:lnTo>
                    <a:lnTo>
                      <a:pt x="77" y="240"/>
                    </a:lnTo>
                    <a:lnTo>
                      <a:pt x="82" y="228"/>
                    </a:lnTo>
                    <a:lnTo>
                      <a:pt x="82" y="223"/>
                    </a:lnTo>
                    <a:lnTo>
                      <a:pt x="82" y="211"/>
                    </a:lnTo>
                    <a:lnTo>
                      <a:pt x="87" y="205"/>
                    </a:lnTo>
                    <a:lnTo>
                      <a:pt x="87" y="197"/>
                    </a:lnTo>
                    <a:lnTo>
                      <a:pt x="91" y="188"/>
                    </a:lnTo>
                    <a:lnTo>
                      <a:pt x="91" y="183"/>
                    </a:lnTo>
                    <a:lnTo>
                      <a:pt x="91" y="174"/>
                    </a:lnTo>
                    <a:lnTo>
                      <a:pt x="96" y="168"/>
                    </a:lnTo>
                    <a:lnTo>
                      <a:pt x="96" y="163"/>
                    </a:lnTo>
                    <a:lnTo>
                      <a:pt x="96" y="154"/>
                    </a:lnTo>
                    <a:lnTo>
                      <a:pt x="100" y="148"/>
                    </a:lnTo>
                    <a:lnTo>
                      <a:pt x="100" y="146"/>
                    </a:lnTo>
                    <a:lnTo>
                      <a:pt x="100" y="137"/>
                    </a:lnTo>
                    <a:lnTo>
                      <a:pt x="105" y="129"/>
                    </a:lnTo>
                    <a:lnTo>
                      <a:pt x="109" y="123"/>
                    </a:lnTo>
                    <a:lnTo>
                      <a:pt x="114" y="114"/>
                    </a:lnTo>
                    <a:lnTo>
                      <a:pt x="114" y="111"/>
                    </a:lnTo>
                    <a:lnTo>
                      <a:pt x="118" y="103"/>
                    </a:lnTo>
                    <a:lnTo>
                      <a:pt x="123" y="94"/>
                    </a:lnTo>
                    <a:lnTo>
                      <a:pt x="132" y="86"/>
                    </a:lnTo>
                    <a:lnTo>
                      <a:pt x="141" y="74"/>
                    </a:lnTo>
                    <a:lnTo>
                      <a:pt x="150" y="66"/>
                    </a:lnTo>
                    <a:lnTo>
                      <a:pt x="155" y="57"/>
                    </a:lnTo>
                    <a:lnTo>
                      <a:pt x="164" y="46"/>
                    </a:lnTo>
                    <a:lnTo>
                      <a:pt x="169" y="37"/>
                    </a:lnTo>
                    <a:lnTo>
                      <a:pt x="178" y="26"/>
                    </a:lnTo>
                    <a:lnTo>
                      <a:pt x="182" y="20"/>
                    </a:lnTo>
                    <a:lnTo>
                      <a:pt x="187" y="12"/>
                    </a:lnTo>
                    <a:lnTo>
                      <a:pt x="187" y="9"/>
                    </a:lnTo>
                    <a:lnTo>
                      <a:pt x="192" y="0"/>
                    </a:lnTo>
                    <a:lnTo>
                      <a:pt x="187" y="0"/>
                    </a:lnTo>
                    <a:lnTo>
                      <a:pt x="178" y="6"/>
                    </a:lnTo>
                    <a:lnTo>
                      <a:pt x="164" y="15"/>
                    </a:lnTo>
                    <a:lnTo>
                      <a:pt x="146" y="26"/>
                    </a:lnTo>
                    <a:lnTo>
                      <a:pt x="123" y="37"/>
                    </a:lnTo>
                    <a:lnTo>
                      <a:pt x="105" y="49"/>
                    </a:lnTo>
                    <a:lnTo>
                      <a:pt x="96" y="57"/>
                    </a:lnTo>
                    <a:lnTo>
                      <a:pt x="82" y="66"/>
                    </a:lnTo>
                    <a:lnTo>
                      <a:pt x="82" y="6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8" name="Freeform 92"/>
              <p:cNvSpPr>
                <a:spLocks/>
              </p:cNvSpPr>
              <p:nvPr>
                <p:custDataLst>
                  <p:tags r:id="rId121"/>
                </p:custDataLst>
              </p:nvPr>
            </p:nvSpPr>
            <p:spPr bwMode="gray">
              <a:xfrm>
                <a:off x="2656" y="2138"/>
                <a:ext cx="605" cy="46"/>
              </a:xfrm>
              <a:custGeom>
                <a:avLst/>
                <a:gdLst>
                  <a:gd name="T0" fmla="*/ 93 w 590"/>
                  <a:gd name="T1" fmla="*/ 5 h 51"/>
                  <a:gd name="T2" fmla="*/ 137 w 590"/>
                  <a:gd name="T3" fmla="*/ 5 h 51"/>
                  <a:gd name="T4" fmla="*/ 185 w 590"/>
                  <a:gd name="T5" fmla="*/ 5 h 51"/>
                  <a:gd name="T6" fmla="*/ 227 w 590"/>
                  <a:gd name="T7" fmla="*/ 3 h 51"/>
                  <a:gd name="T8" fmla="*/ 271 w 590"/>
                  <a:gd name="T9" fmla="*/ 0 h 51"/>
                  <a:gd name="T10" fmla="*/ 309 w 590"/>
                  <a:gd name="T11" fmla="*/ 0 h 51"/>
                  <a:gd name="T12" fmla="*/ 354 w 590"/>
                  <a:gd name="T13" fmla="*/ 0 h 51"/>
                  <a:gd name="T14" fmla="*/ 390 w 590"/>
                  <a:gd name="T15" fmla="*/ 0 h 51"/>
                  <a:gd name="T16" fmla="*/ 427 w 590"/>
                  <a:gd name="T17" fmla="*/ 3 h 51"/>
                  <a:gd name="T18" fmla="*/ 463 w 590"/>
                  <a:gd name="T19" fmla="*/ 3 h 51"/>
                  <a:gd name="T20" fmla="*/ 499 w 590"/>
                  <a:gd name="T21" fmla="*/ 5 h 51"/>
                  <a:gd name="T22" fmla="*/ 531 w 590"/>
                  <a:gd name="T23" fmla="*/ 5 h 51"/>
                  <a:gd name="T24" fmla="*/ 563 w 590"/>
                  <a:gd name="T25" fmla="*/ 5 h 51"/>
                  <a:gd name="T26" fmla="*/ 593 w 590"/>
                  <a:gd name="T27" fmla="*/ 5 h 51"/>
                  <a:gd name="T28" fmla="*/ 629 w 590"/>
                  <a:gd name="T29" fmla="*/ 5 h 51"/>
                  <a:gd name="T30" fmla="*/ 679 w 590"/>
                  <a:gd name="T31" fmla="*/ 8 h 51"/>
                  <a:gd name="T32" fmla="*/ 723 w 590"/>
                  <a:gd name="T33" fmla="*/ 9 h 51"/>
                  <a:gd name="T34" fmla="*/ 748 w 590"/>
                  <a:gd name="T35" fmla="*/ 11 h 51"/>
                  <a:gd name="T36" fmla="*/ 778 w 590"/>
                  <a:gd name="T37" fmla="*/ 13 h 51"/>
                  <a:gd name="T38" fmla="*/ 797 w 590"/>
                  <a:gd name="T39" fmla="*/ 14 h 51"/>
                  <a:gd name="T40" fmla="*/ 797 w 590"/>
                  <a:gd name="T41" fmla="*/ 14 h 51"/>
                  <a:gd name="T42" fmla="*/ 773 w 590"/>
                  <a:gd name="T43" fmla="*/ 14 h 51"/>
                  <a:gd name="T44" fmla="*/ 741 w 590"/>
                  <a:gd name="T45" fmla="*/ 13 h 51"/>
                  <a:gd name="T46" fmla="*/ 711 w 590"/>
                  <a:gd name="T47" fmla="*/ 12 h 51"/>
                  <a:gd name="T48" fmla="*/ 679 w 590"/>
                  <a:gd name="T49" fmla="*/ 11 h 51"/>
                  <a:gd name="T50" fmla="*/ 637 w 590"/>
                  <a:gd name="T51" fmla="*/ 11 h 51"/>
                  <a:gd name="T52" fmla="*/ 599 w 590"/>
                  <a:gd name="T53" fmla="*/ 10 h 51"/>
                  <a:gd name="T54" fmla="*/ 556 w 590"/>
                  <a:gd name="T55" fmla="*/ 10 h 51"/>
                  <a:gd name="T56" fmla="*/ 520 w 590"/>
                  <a:gd name="T57" fmla="*/ 9 h 51"/>
                  <a:gd name="T58" fmla="*/ 475 w 590"/>
                  <a:gd name="T59" fmla="*/ 8 h 51"/>
                  <a:gd name="T60" fmla="*/ 432 w 590"/>
                  <a:gd name="T61" fmla="*/ 8 h 51"/>
                  <a:gd name="T62" fmla="*/ 396 w 590"/>
                  <a:gd name="T63" fmla="*/ 8 h 51"/>
                  <a:gd name="T64" fmla="*/ 358 w 590"/>
                  <a:gd name="T65" fmla="*/ 8 h 51"/>
                  <a:gd name="T66" fmla="*/ 322 w 590"/>
                  <a:gd name="T67" fmla="*/ 8 h 51"/>
                  <a:gd name="T68" fmla="*/ 291 w 590"/>
                  <a:gd name="T69" fmla="*/ 8 h 51"/>
                  <a:gd name="T70" fmla="*/ 259 w 590"/>
                  <a:gd name="T71" fmla="*/ 8 h 51"/>
                  <a:gd name="T72" fmla="*/ 227 w 590"/>
                  <a:gd name="T73" fmla="*/ 9 h 51"/>
                  <a:gd name="T74" fmla="*/ 193 w 590"/>
                  <a:gd name="T75" fmla="*/ 10 h 51"/>
                  <a:gd name="T76" fmla="*/ 148 w 590"/>
                  <a:gd name="T77" fmla="*/ 11 h 51"/>
                  <a:gd name="T78" fmla="*/ 103 w 590"/>
                  <a:gd name="T79" fmla="*/ 11 h 51"/>
                  <a:gd name="T80" fmla="*/ 58 w 590"/>
                  <a:gd name="T81" fmla="*/ 12 h 51"/>
                  <a:gd name="T82" fmla="*/ 19 w 590"/>
                  <a:gd name="T83" fmla="*/ 13 h 51"/>
                  <a:gd name="T84" fmla="*/ 66 w 590"/>
                  <a:gd name="T85" fmla="*/ 5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0"/>
                  <a:gd name="T130" fmla="*/ 0 h 51"/>
                  <a:gd name="T131" fmla="*/ 590 w 590"/>
                  <a:gd name="T132" fmla="*/ 51 h 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0" h="51">
                    <a:moveTo>
                      <a:pt x="51" y="14"/>
                    </a:moveTo>
                    <a:lnTo>
                      <a:pt x="69" y="12"/>
                    </a:lnTo>
                    <a:lnTo>
                      <a:pt x="83" y="9"/>
                    </a:lnTo>
                    <a:lnTo>
                      <a:pt x="101" y="6"/>
                    </a:lnTo>
                    <a:lnTo>
                      <a:pt x="119" y="6"/>
                    </a:lnTo>
                    <a:lnTo>
                      <a:pt x="137" y="6"/>
                    </a:lnTo>
                    <a:lnTo>
                      <a:pt x="151" y="3"/>
                    </a:lnTo>
                    <a:lnTo>
                      <a:pt x="169" y="3"/>
                    </a:lnTo>
                    <a:lnTo>
                      <a:pt x="183" y="3"/>
                    </a:lnTo>
                    <a:lnTo>
                      <a:pt x="201" y="0"/>
                    </a:lnTo>
                    <a:lnTo>
                      <a:pt x="215" y="0"/>
                    </a:lnTo>
                    <a:lnTo>
                      <a:pt x="229" y="0"/>
                    </a:lnTo>
                    <a:lnTo>
                      <a:pt x="247" y="0"/>
                    </a:lnTo>
                    <a:lnTo>
                      <a:pt x="261" y="0"/>
                    </a:lnTo>
                    <a:lnTo>
                      <a:pt x="274" y="0"/>
                    </a:lnTo>
                    <a:lnTo>
                      <a:pt x="288" y="0"/>
                    </a:lnTo>
                    <a:lnTo>
                      <a:pt x="306" y="3"/>
                    </a:lnTo>
                    <a:lnTo>
                      <a:pt x="316" y="3"/>
                    </a:lnTo>
                    <a:lnTo>
                      <a:pt x="334" y="3"/>
                    </a:lnTo>
                    <a:lnTo>
                      <a:pt x="343" y="3"/>
                    </a:lnTo>
                    <a:lnTo>
                      <a:pt x="357" y="6"/>
                    </a:lnTo>
                    <a:lnTo>
                      <a:pt x="370" y="6"/>
                    </a:lnTo>
                    <a:lnTo>
                      <a:pt x="384" y="6"/>
                    </a:lnTo>
                    <a:lnTo>
                      <a:pt x="393" y="6"/>
                    </a:lnTo>
                    <a:lnTo>
                      <a:pt x="407" y="9"/>
                    </a:lnTo>
                    <a:lnTo>
                      <a:pt x="416" y="9"/>
                    </a:lnTo>
                    <a:lnTo>
                      <a:pt x="425" y="12"/>
                    </a:lnTo>
                    <a:lnTo>
                      <a:pt x="439" y="14"/>
                    </a:lnTo>
                    <a:lnTo>
                      <a:pt x="448" y="14"/>
                    </a:lnTo>
                    <a:lnTo>
                      <a:pt x="466" y="17"/>
                    </a:lnTo>
                    <a:lnTo>
                      <a:pt x="489" y="20"/>
                    </a:lnTo>
                    <a:lnTo>
                      <a:pt x="503" y="26"/>
                    </a:lnTo>
                    <a:lnTo>
                      <a:pt x="521" y="26"/>
                    </a:lnTo>
                    <a:lnTo>
                      <a:pt x="535" y="29"/>
                    </a:lnTo>
                    <a:lnTo>
                      <a:pt x="549" y="34"/>
                    </a:lnTo>
                    <a:lnTo>
                      <a:pt x="553" y="37"/>
                    </a:lnTo>
                    <a:lnTo>
                      <a:pt x="567" y="40"/>
                    </a:lnTo>
                    <a:lnTo>
                      <a:pt x="576" y="43"/>
                    </a:lnTo>
                    <a:lnTo>
                      <a:pt x="581" y="49"/>
                    </a:lnTo>
                    <a:lnTo>
                      <a:pt x="590" y="49"/>
                    </a:lnTo>
                    <a:lnTo>
                      <a:pt x="590" y="51"/>
                    </a:lnTo>
                    <a:lnTo>
                      <a:pt x="581" y="51"/>
                    </a:lnTo>
                    <a:lnTo>
                      <a:pt x="572" y="49"/>
                    </a:lnTo>
                    <a:lnTo>
                      <a:pt x="558" y="49"/>
                    </a:lnTo>
                    <a:lnTo>
                      <a:pt x="549" y="43"/>
                    </a:lnTo>
                    <a:lnTo>
                      <a:pt x="540" y="43"/>
                    </a:lnTo>
                    <a:lnTo>
                      <a:pt x="526" y="40"/>
                    </a:lnTo>
                    <a:lnTo>
                      <a:pt x="517" y="40"/>
                    </a:lnTo>
                    <a:lnTo>
                      <a:pt x="503" y="37"/>
                    </a:lnTo>
                    <a:lnTo>
                      <a:pt x="489" y="37"/>
                    </a:lnTo>
                    <a:lnTo>
                      <a:pt x="471" y="34"/>
                    </a:lnTo>
                    <a:lnTo>
                      <a:pt x="457" y="34"/>
                    </a:lnTo>
                    <a:lnTo>
                      <a:pt x="444" y="32"/>
                    </a:lnTo>
                    <a:lnTo>
                      <a:pt x="425" y="32"/>
                    </a:lnTo>
                    <a:lnTo>
                      <a:pt x="412" y="32"/>
                    </a:lnTo>
                    <a:lnTo>
                      <a:pt x="398" y="29"/>
                    </a:lnTo>
                    <a:lnTo>
                      <a:pt x="384" y="29"/>
                    </a:lnTo>
                    <a:lnTo>
                      <a:pt x="370" y="29"/>
                    </a:lnTo>
                    <a:lnTo>
                      <a:pt x="352" y="26"/>
                    </a:lnTo>
                    <a:lnTo>
                      <a:pt x="334" y="26"/>
                    </a:lnTo>
                    <a:lnTo>
                      <a:pt x="320" y="26"/>
                    </a:lnTo>
                    <a:lnTo>
                      <a:pt x="306" y="26"/>
                    </a:lnTo>
                    <a:lnTo>
                      <a:pt x="293" y="26"/>
                    </a:lnTo>
                    <a:lnTo>
                      <a:pt x="279" y="26"/>
                    </a:lnTo>
                    <a:lnTo>
                      <a:pt x="265" y="26"/>
                    </a:lnTo>
                    <a:lnTo>
                      <a:pt x="252" y="26"/>
                    </a:lnTo>
                    <a:lnTo>
                      <a:pt x="238" y="26"/>
                    </a:lnTo>
                    <a:lnTo>
                      <a:pt x="229" y="26"/>
                    </a:lnTo>
                    <a:lnTo>
                      <a:pt x="215" y="26"/>
                    </a:lnTo>
                    <a:lnTo>
                      <a:pt x="210" y="26"/>
                    </a:lnTo>
                    <a:lnTo>
                      <a:pt x="192" y="26"/>
                    </a:lnTo>
                    <a:lnTo>
                      <a:pt x="183" y="29"/>
                    </a:lnTo>
                    <a:lnTo>
                      <a:pt x="169" y="29"/>
                    </a:lnTo>
                    <a:lnTo>
                      <a:pt x="156" y="29"/>
                    </a:lnTo>
                    <a:lnTo>
                      <a:pt x="142" y="32"/>
                    </a:lnTo>
                    <a:lnTo>
                      <a:pt x="128" y="34"/>
                    </a:lnTo>
                    <a:lnTo>
                      <a:pt x="110" y="34"/>
                    </a:lnTo>
                    <a:lnTo>
                      <a:pt x="96" y="37"/>
                    </a:lnTo>
                    <a:lnTo>
                      <a:pt x="78" y="37"/>
                    </a:lnTo>
                    <a:lnTo>
                      <a:pt x="64" y="40"/>
                    </a:lnTo>
                    <a:lnTo>
                      <a:pt x="46" y="40"/>
                    </a:lnTo>
                    <a:lnTo>
                      <a:pt x="32" y="40"/>
                    </a:lnTo>
                    <a:lnTo>
                      <a:pt x="19" y="43"/>
                    </a:lnTo>
                    <a:lnTo>
                      <a:pt x="0" y="46"/>
                    </a:lnTo>
                    <a:lnTo>
                      <a:pt x="51"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79" name="Freeform 93"/>
              <p:cNvSpPr>
                <a:spLocks/>
              </p:cNvSpPr>
              <p:nvPr>
                <p:custDataLst>
                  <p:tags r:id="rId122"/>
                </p:custDataLst>
              </p:nvPr>
            </p:nvSpPr>
            <p:spPr bwMode="gray">
              <a:xfrm>
                <a:off x="2632" y="2239"/>
                <a:ext cx="643" cy="58"/>
              </a:xfrm>
              <a:custGeom>
                <a:avLst/>
                <a:gdLst>
                  <a:gd name="T0" fmla="*/ 67 w 627"/>
                  <a:gd name="T1" fmla="*/ 13 h 63"/>
                  <a:gd name="T2" fmla="*/ 98 w 627"/>
                  <a:gd name="T3" fmla="*/ 10 h 63"/>
                  <a:gd name="T4" fmla="*/ 137 w 627"/>
                  <a:gd name="T5" fmla="*/ 7 h 63"/>
                  <a:gd name="T6" fmla="*/ 172 w 627"/>
                  <a:gd name="T7" fmla="*/ 6 h 63"/>
                  <a:gd name="T8" fmla="*/ 210 w 627"/>
                  <a:gd name="T9" fmla="*/ 6 h 63"/>
                  <a:gd name="T10" fmla="*/ 248 w 627"/>
                  <a:gd name="T11" fmla="*/ 6 h 63"/>
                  <a:gd name="T12" fmla="*/ 291 w 627"/>
                  <a:gd name="T13" fmla="*/ 6 h 63"/>
                  <a:gd name="T14" fmla="*/ 329 w 627"/>
                  <a:gd name="T15" fmla="*/ 3 h 63"/>
                  <a:gd name="T16" fmla="*/ 365 w 627"/>
                  <a:gd name="T17" fmla="*/ 0 h 63"/>
                  <a:gd name="T18" fmla="*/ 409 w 627"/>
                  <a:gd name="T19" fmla="*/ 0 h 63"/>
                  <a:gd name="T20" fmla="*/ 446 w 627"/>
                  <a:gd name="T21" fmla="*/ 0 h 63"/>
                  <a:gd name="T22" fmla="*/ 483 w 627"/>
                  <a:gd name="T23" fmla="*/ 0 h 63"/>
                  <a:gd name="T24" fmla="*/ 520 w 627"/>
                  <a:gd name="T25" fmla="*/ 0 h 63"/>
                  <a:gd name="T26" fmla="*/ 550 w 627"/>
                  <a:gd name="T27" fmla="*/ 0 h 63"/>
                  <a:gd name="T28" fmla="*/ 581 w 627"/>
                  <a:gd name="T29" fmla="*/ 0 h 63"/>
                  <a:gd name="T30" fmla="*/ 625 w 627"/>
                  <a:gd name="T31" fmla="*/ 0 h 63"/>
                  <a:gd name="T32" fmla="*/ 650 w 627"/>
                  <a:gd name="T33" fmla="*/ 3 h 63"/>
                  <a:gd name="T34" fmla="*/ 681 w 627"/>
                  <a:gd name="T35" fmla="*/ 3 h 63"/>
                  <a:gd name="T36" fmla="*/ 724 w 627"/>
                  <a:gd name="T37" fmla="*/ 6 h 63"/>
                  <a:gd name="T38" fmla="*/ 767 w 627"/>
                  <a:gd name="T39" fmla="*/ 6 h 63"/>
                  <a:gd name="T40" fmla="*/ 806 w 627"/>
                  <a:gd name="T41" fmla="*/ 6 h 63"/>
                  <a:gd name="T42" fmla="*/ 835 w 627"/>
                  <a:gd name="T43" fmla="*/ 6 h 63"/>
                  <a:gd name="T44" fmla="*/ 841 w 627"/>
                  <a:gd name="T45" fmla="*/ 7 h 63"/>
                  <a:gd name="T46" fmla="*/ 830 w 627"/>
                  <a:gd name="T47" fmla="*/ 7 h 63"/>
                  <a:gd name="T48" fmla="*/ 798 w 627"/>
                  <a:gd name="T49" fmla="*/ 7 h 63"/>
                  <a:gd name="T50" fmla="*/ 767 w 627"/>
                  <a:gd name="T51" fmla="*/ 7 h 63"/>
                  <a:gd name="T52" fmla="*/ 724 w 627"/>
                  <a:gd name="T53" fmla="*/ 6 h 63"/>
                  <a:gd name="T54" fmla="*/ 675 w 627"/>
                  <a:gd name="T55" fmla="*/ 6 h 63"/>
                  <a:gd name="T56" fmla="*/ 633 w 627"/>
                  <a:gd name="T57" fmla="*/ 6 h 63"/>
                  <a:gd name="T58" fmla="*/ 581 w 627"/>
                  <a:gd name="T59" fmla="*/ 6 h 63"/>
                  <a:gd name="T60" fmla="*/ 532 w 627"/>
                  <a:gd name="T61" fmla="*/ 6 h 63"/>
                  <a:gd name="T62" fmla="*/ 495 w 627"/>
                  <a:gd name="T63" fmla="*/ 7 h 63"/>
                  <a:gd name="T64" fmla="*/ 464 w 627"/>
                  <a:gd name="T65" fmla="*/ 7 h 63"/>
                  <a:gd name="T66" fmla="*/ 432 w 627"/>
                  <a:gd name="T67" fmla="*/ 8 h 63"/>
                  <a:gd name="T68" fmla="*/ 396 w 627"/>
                  <a:gd name="T69" fmla="*/ 10 h 63"/>
                  <a:gd name="T70" fmla="*/ 365 w 627"/>
                  <a:gd name="T71" fmla="*/ 11 h 63"/>
                  <a:gd name="T72" fmla="*/ 322 w 627"/>
                  <a:gd name="T73" fmla="*/ 12 h 63"/>
                  <a:gd name="T74" fmla="*/ 286 w 627"/>
                  <a:gd name="T75" fmla="*/ 13 h 63"/>
                  <a:gd name="T76" fmla="*/ 248 w 627"/>
                  <a:gd name="T77" fmla="*/ 13 h 63"/>
                  <a:gd name="T78" fmla="*/ 215 w 627"/>
                  <a:gd name="T79" fmla="*/ 15 h 63"/>
                  <a:gd name="T80" fmla="*/ 179 w 627"/>
                  <a:gd name="T81" fmla="*/ 16 h 63"/>
                  <a:gd name="T82" fmla="*/ 148 w 627"/>
                  <a:gd name="T83" fmla="*/ 16 h 63"/>
                  <a:gd name="T84" fmla="*/ 125 w 627"/>
                  <a:gd name="T85" fmla="*/ 17 h 63"/>
                  <a:gd name="T86" fmla="*/ 88 w 627"/>
                  <a:gd name="T87" fmla="*/ 20 h 63"/>
                  <a:gd name="T88" fmla="*/ 40 w 627"/>
                  <a:gd name="T89" fmla="*/ 21 h 63"/>
                  <a:gd name="T90" fmla="*/ 49 w 627"/>
                  <a:gd name="T91" fmla="*/ 14 h 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7"/>
                  <a:gd name="T139" fmla="*/ 0 h 63"/>
                  <a:gd name="T140" fmla="*/ 627 w 627"/>
                  <a:gd name="T141" fmla="*/ 63 h 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7" h="63">
                    <a:moveTo>
                      <a:pt x="37" y="37"/>
                    </a:moveTo>
                    <a:lnTo>
                      <a:pt x="51" y="34"/>
                    </a:lnTo>
                    <a:lnTo>
                      <a:pt x="64" y="29"/>
                    </a:lnTo>
                    <a:lnTo>
                      <a:pt x="74" y="26"/>
                    </a:lnTo>
                    <a:lnTo>
                      <a:pt x="87" y="23"/>
                    </a:lnTo>
                    <a:lnTo>
                      <a:pt x="101" y="20"/>
                    </a:lnTo>
                    <a:lnTo>
                      <a:pt x="115" y="17"/>
                    </a:lnTo>
                    <a:lnTo>
                      <a:pt x="128" y="15"/>
                    </a:lnTo>
                    <a:lnTo>
                      <a:pt x="142" y="15"/>
                    </a:lnTo>
                    <a:lnTo>
                      <a:pt x="156" y="12"/>
                    </a:lnTo>
                    <a:lnTo>
                      <a:pt x="170" y="9"/>
                    </a:lnTo>
                    <a:lnTo>
                      <a:pt x="183" y="6"/>
                    </a:lnTo>
                    <a:lnTo>
                      <a:pt x="197" y="6"/>
                    </a:lnTo>
                    <a:lnTo>
                      <a:pt x="215" y="6"/>
                    </a:lnTo>
                    <a:lnTo>
                      <a:pt x="229" y="3"/>
                    </a:lnTo>
                    <a:lnTo>
                      <a:pt x="243" y="3"/>
                    </a:lnTo>
                    <a:lnTo>
                      <a:pt x="261" y="3"/>
                    </a:lnTo>
                    <a:lnTo>
                      <a:pt x="270" y="0"/>
                    </a:lnTo>
                    <a:lnTo>
                      <a:pt x="288" y="0"/>
                    </a:lnTo>
                    <a:lnTo>
                      <a:pt x="302" y="0"/>
                    </a:lnTo>
                    <a:lnTo>
                      <a:pt x="316" y="0"/>
                    </a:lnTo>
                    <a:lnTo>
                      <a:pt x="329" y="0"/>
                    </a:lnTo>
                    <a:lnTo>
                      <a:pt x="339" y="0"/>
                    </a:lnTo>
                    <a:lnTo>
                      <a:pt x="357" y="0"/>
                    </a:lnTo>
                    <a:lnTo>
                      <a:pt x="375" y="0"/>
                    </a:lnTo>
                    <a:lnTo>
                      <a:pt x="384" y="0"/>
                    </a:lnTo>
                    <a:lnTo>
                      <a:pt x="393" y="0"/>
                    </a:lnTo>
                    <a:lnTo>
                      <a:pt x="407" y="0"/>
                    </a:lnTo>
                    <a:lnTo>
                      <a:pt x="421" y="0"/>
                    </a:lnTo>
                    <a:lnTo>
                      <a:pt x="430" y="0"/>
                    </a:lnTo>
                    <a:lnTo>
                      <a:pt x="444" y="0"/>
                    </a:lnTo>
                    <a:lnTo>
                      <a:pt x="462" y="0"/>
                    </a:lnTo>
                    <a:lnTo>
                      <a:pt x="471" y="3"/>
                    </a:lnTo>
                    <a:lnTo>
                      <a:pt x="480" y="3"/>
                    </a:lnTo>
                    <a:lnTo>
                      <a:pt x="494" y="3"/>
                    </a:lnTo>
                    <a:lnTo>
                      <a:pt x="503" y="3"/>
                    </a:lnTo>
                    <a:lnTo>
                      <a:pt x="517" y="6"/>
                    </a:lnTo>
                    <a:lnTo>
                      <a:pt x="535" y="6"/>
                    </a:lnTo>
                    <a:lnTo>
                      <a:pt x="553" y="9"/>
                    </a:lnTo>
                    <a:lnTo>
                      <a:pt x="567" y="9"/>
                    </a:lnTo>
                    <a:lnTo>
                      <a:pt x="581" y="12"/>
                    </a:lnTo>
                    <a:lnTo>
                      <a:pt x="595" y="15"/>
                    </a:lnTo>
                    <a:lnTo>
                      <a:pt x="604" y="15"/>
                    </a:lnTo>
                    <a:lnTo>
                      <a:pt x="617" y="17"/>
                    </a:lnTo>
                    <a:lnTo>
                      <a:pt x="627" y="20"/>
                    </a:lnTo>
                    <a:lnTo>
                      <a:pt x="622" y="20"/>
                    </a:lnTo>
                    <a:lnTo>
                      <a:pt x="617" y="20"/>
                    </a:lnTo>
                    <a:lnTo>
                      <a:pt x="613" y="20"/>
                    </a:lnTo>
                    <a:lnTo>
                      <a:pt x="604" y="23"/>
                    </a:lnTo>
                    <a:lnTo>
                      <a:pt x="590" y="20"/>
                    </a:lnTo>
                    <a:lnTo>
                      <a:pt x="576" y="20"/>
                    </a:lnTo>
                    <a:lnTo>
                      <a:pt x="567" y="20"/>
                    </a:lnTo>
                    <a:lnTo>
                      <a:pt x="558" y="20"/>
                    </a:lnTo>
                    <a:lnTo>
                      <a:pt x="535" y="17"/>
                    </a:lnTo>
                    <a:lnTo>
                      <a:pt x="517" y="17"/>
                    </a:lnTo>
                    <a:lnTo>
                      <a:pt x="499" y="17"/>
                    </a:lnTo>
                    <a:lnTo>
                      <a:pt x="485" y="17"/>
                    </a:lnTo>
                    <a:lnTo>
                      <a:pt x="467" y="17"/>
                    </a:lnTo>
                    <a:lnTo>
                      <a:pt x="448" y="17"/>
                    </a:lnTo>
                    <a:lnTo>
                      <a:pt x="430" y="17"/>
                    </a:lnTo>
                    <a:lnTo>
                      <a:pt x="416" y="17"/>
                    </a:lnTo>
                    <a:lnTo>
                      <a:pt x="393" y="17"/>
                    </a:lnTo>
                    <a:lnTo>
                      <a:pt x="375" y="20"/>
                    </a:lnTo>
                    <a:lnTo>
                      <a:pt x="366" y="20"/>
                    </a:lnTo>
                    <a:lnTo>
                      <a:pt x="357" y="20"/>
                    </a:lnTo>
                    <a:lnTo>
                      <a:pt x="343" y="20"/>
                    </a:lnTo>
                    <a:lnTo>
                      <a:pt x="334" y="23"/>
                    </a:lnTo>
                    <a:lnTo>
                      <a:pt x="320" y="23"/>
                    </a:lnTo>
                    <a:lnTo>
                      <a:pt x="307" y="26"/>
                    </a:lnTo>
                    <a:lnTo>
                      <a:pt x="293" y="26"/>
                    </a:lnTo>
                    <a:lnTo>
                      <a:pt x="284" y="29"/>
                    </a:lnTo>
                    <a:lnTo>
                      <a:pt x="270" y="29"/>
                    </a:lnTo>
                    <a:lnTo>
                      <a:pt x="252" y="29"/>
                    </a:lnTo>
                    <a:lnTo>
                      <a:pt x="238" y="32"/>
                    </a:lnTo>
                    <a:lnTo>
                      <a:pt x="224" y="34"/>
                    </a:lnTo>
                    <a:lnTo>
                      <a:pt x="211" y="34"/>
                    </a:lnTo>
                    <a:lnTo>
                      <a:pt x="197" y="34"/>
                    </a:lnTo>
                    <a:lnTo>
                      <a:pt x="183" y="34"/>
                    </a:lnTo>
                    <a:lnTo>
                      <a:pt x="174" y="37"/>
                    </a:lnTo>
                    <a:lnTo>
                      <a:pt x="160" y="40"/>
                    </a:lnTo>
                    <a:lnTo>
                      <a:pt x="147" y="40"/>
                    </a:lnTo>
                    <a:lnTo>
                      <a:pt x="133" y="43"/>
                    </a:lnTo>
                    <a:lnTo>
                      <a:pt x="124" y="43"/>
                    </a:lnTo>
                    <a:lnTo>
                      <a:pt x="110" y="43"/>
                    </a:lnTo>
                    <a:lnTo>
                      <a:pt x="101" y="49"/>
                    </a:lnTo>
                    <a:lnTo>
                      <a:pt x="92" y="49"/>
                    </a:lnTo>
                    <a:lnTo>
                      <a:pt x="83" y="52"/>
                    </a:lnTo>
                    <a:lnTo>
                      <a:pt x="64" y="54"/>
                    </a:lnTo>
                    <a:lnTo>
                      <a:pt x="46" y="54"/>
                    </a:lnTo>
                    <a:lnTo>
                      <a:pt x="28" y="57"/>
                    </a:lnTo>
                    <a:lnTo>
                      <a:pt x="0" y="63"/>
                    </a:lnTo>
                    <a:lnTo>
                      <a:pt x="37"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0" name="Freeform 94"/>
              <p:cNvSpPr>
                <a:spLocks/>
              </p:cNvSpPr>
              <p:nvPr>
                <p:custDataLst>
                  <p:tags r:id="rId123"/>
                </p:custDataLst>
              </p:nvPr>
            </p:nvSpPr>
            <p:spPr bwMode="gray">
              <a:xfrm>
                <a:off x="2628" y="2323"/>
                <a:ext cx="614" cy="45"/>
              </a:xfrm>
              <a:custGeom>
                <a:avLst/>
                <a:gdLst>
                  <a:gd name="T0" fmla="*/ 141 w 599"/>
                  <a:gd name="T1" fmla="*/ 6 h 49"/>
                  <a:gd name="T2" fmla="*/ 172 w 599"/>
                  <a:gd name="T3" fmla="*/ 6 h 49"/>
                  <a:gd name="T4" fmla="*/ 208 w 599"/>
                  <a:gd name="T5" fmla="*/ 3 h 49"/>
                  <a:gd name="T6" fmla="*/ 240 w 599"/>
                  <a:gd name="T7" fmla="*/ 0 h 49"/>
                  <a:gd name="T8" fmla="*/ 270 w 599"/>
                  <a:gd name="T9" fmla="*/ 0 h 49"/>
                  <a:gd name="T10" fmla="*/ 306 w 599"/>
                  <a:gd name="T11" fmla="*/ 0 h 49"/>
                  <a:gd name="T12" fmla="*/ 344 w 599"/>
                  <a:gd name="T13" fmla="*/ 0 h 49"/>
                  <a:gd name="T14" fmla="*/ 369 w 599"/>
                  <a:gd name="T15" fmla="*/ 0 h 49"/>
                  <a:gd name="T16" fmla="*/ 406 w 599"/>
                  <a:gd name="T17" fmla="*/ 0 h 49"/>
                  <a:gd name="T18" fmla="*/ 436 w 599"/>
                  <a:gd name="T19" fmla="*/ 0 h 49"/>
                  <a:gd name="T20" fmla="*/ 467 w 599"/>
                  <a:gd name="T21" fmla="*/ 3 h 49"/>
                  <a:gd name="T22" fmla="*/ 497 w 599"/>
                  <a:gd name="T23" fmla="*/ 6 h 49"/>
                  <a:gd name="T24" fmla="*/ 534 w 599"/>
                  <a:gd name="T25" fmla="*/ 6 h 49"/>
                  <a:gd name="T26" fmla="*/ 559 w 599"/>
                  <a:gd name="T27" fmla="*/ 6 h 49"/>
                  <a:gd name="T28" fmla="*/ 584 w 599"/>
                  <a:gd name="T29" fmla="*/ 6 h 49"/>
                  <a:gd name="T30" fmla="*/ 607 w 599"/>
                  <a:gd name="T31" fmla="*/ 6 h 49"/>
                  <a:gd name="T32" fmla="*/ 651 w 599"/>
                  <a:gd name="T33" fmla="*/ 7 h 49"/>
                  <a:gd name="T34" fmla="*/ 695 w 599"/>
                  <a:gd name="T35" fmla="*/ 10 h 49"/>
                  <a:gd name="T36" fmla="*/ 732 w 599"/>
                  <a:gd name="T37" fmla="*/ 12 h 49"/>
                  <a:gd name="T38" fmla="*/ 763 w 599"/>
                  <a:gd name="T39" fmla="*/ 14 h 49"/>
                  <a:gd name="T40" fmla="*/ 793 w 599"/>
                  <a:gd name="T41" fmla="*/ 16 h 49"/>
                  <a:gd name="T42" fmla="*/ 806 w 599"/>
                  <a:gd name="T43" fmla="*/ 17 h 49"/>
                  <a:gd name="T44" fmla="*/ 781 w 599"/>
                  <a:gd name="T45" fmla="*/ 17 h 49"/>
                  <a:gd name="T46" fmla="*/ 732 w 599"/>
                  <a:gd name="T47" fmla="*/ 15 h 49"/>
                  <a:gd name="T48" fmla="*/ 682 w 599"/>
                  <a:gd name="T49" fmla="*/ 14 h 49"/>
                  <a:gd name="T50" fmla="*/ 628 w 599"/>
                  <a:gd name="T51" fmla="*/ 13 h 49"/>
                  <a:gd name="T52" fmla="*/ 584 w 599"/>
                  <a:gd name="T53" fmla="*/ 12 h 49"/>
                  <a:gd name="T54" fmla="*/ 559 w 599"/>
                  <a:gd name="T55" fmla="*/ 11 h 49"/>
                  <a:gd name="T56" fmla="*/ 529 w 599"/>
                  <a:gd name="T57" fmla="*/ 11 h 49"/>
                  <a:gd name="T58" fmla="*/ 497 w 599"/>
                  <a:gd name="T59" fmla="*/ 11 h 49"/>
                  <a:gd name="T60" fmla="*/ 461 w 599"/>
                  <a:gd name="T61" fmla="*/ 11 h 49"/>
                  <a:gd name="T62" fmla="*/ 436 w 599"/>
                  <a:gd name="T63" fmla="*/ 11 h 49"/>
                  <a:gd name="T64" fmla="*/ 400 w 599"/>
                  <a:gd name="T65" fmla="*/ 11 h 49"/>
                  <a:gd name="T66" fmla="*/ 369 w 599"/>
                  <a:gd name="T67" fmla="*/ 11 h 49"/>
                  <a:gd name="T68" fmla="*/ 344 w 599"/>
                  <a:gd name="T69" fmla="*/ 11 h 49"/>
                  <a:gd name="T70" fmla="*/ 306 w 599"/>
                  <a:gd name="T71" fmla="*/ 11 h 49"/>
                  <a:gd name="T72" fmla="*/ 270 w 599"/>
                  <a:gd name="T73" fmla="*/ 11 h 49"/>
                  <a:gd name="T74" fmla="*/ 240 w 599"/>
                  <a:gd name="T75" fmla="*/ 11 h 49"/>
                  <a:gd name="T76" fmla="*/ 208 w 599"/>
                  <a:gd name="T77" fmla="*/ 11 h 49"/>
                  <a:gd name="T78" fmla="*/ 172 w 599"/>
                  <a:gd name="T79" fmla="*/ 11 h 49"/>
                  <a:gd name="T80" fmla="*/ 141 w 599"/>
                  <a:gd name="T81" fmla="*/ 12 h 49"/>
                  <a:gd name="T82" fmla="*/ 116 w 599"/>
                  <a:gd name="T83" fmla="*/ 12 h 49"/>
                  <a:gd name="T84" fmla="*/ 88 w 599"/>
                  <a:gd name="T85" fmla="*/ 13 h 49"/>
                  <a:gd name="T86" fmla="*/ 53 w 599"/>
                  <a:gd name="T87" fmla="*/ 13 h 49"/>
                  <a:gd name="T88" fmla="*/ 18 w 599"/>
                  <a:gd name="T89" fmla="*/ 13 h 49"/>
                  <a:gd name="T90" fmla="*/ 0 w 599"/>
                  <a:gd name="T91" fmla="*/ 12 h 49"/>
                  <a:gd name="T92" fmla="*/ 35 w 599"/>
                  <a:gd name="T93" fmla="*/ 8 h 49"/>
                  <a:gd name="T94" fmla="*/ 74 w 599"/>
                  <a:gd name="T95" fmla="*/ 6 h 49"/>
                  <a:gd name="T96" fmla="*/ 103 w 599"/>
                  <a:gd name="T97" fmla="*/ 6 h 49"/>
                  <a:gd name="T98" fmla="*/ 116 w 599"/>
                  <a:gd name="T99" fmla="*/ 6 h 49"/>
                  <a:gd name="T100" fmla="*/ 122 w 599"/>
                  <a:gd name="T101" fmla="*/ 6 h 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9"/>
                  <a:gd name="T154" fmla="*/ 0 h 49"/>
                  <a:gd name="T155" fmla="*/ 599 w 599"/>
                  <a:gd name="T156" fmla="*/ 49 h 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9" h="49">
                    <a:moveTo>
                      <a:pt x="91" y="12"/>
                    </a:moveTo>
                    <a:lnTo>
                      <a:pt x="105" y="9"/>
                    </a:lnTo>
                    <a:lnTo>
                      <a:pt x="114" y="6"/>
                    </a:lnTo>
                    <a:lnTo>
                      <a:pt x="128" y="6"/>
                    </a:lnTo>
                    <a:lnTo>
                      <a:pt x="142" y="3"/>
                    </a:lnTo>
                    <a:lnTo>
                      <a:pt x="155" y="3"/>
                    </a:lnTo>
                    <a:lnTo>
                      <a:pt x="169" y="0"/>
                    </a:lnTo>
                    <a:lnTo>
                      <a:pt x="178" y="0"/>
                    </a:lnTo>
                    <a:lnTo>
                      <a:pt x="192" y="0"/>
                    </a:lnTo>
                    <a:lnTo>
                      <a:pt x="201" y="0"/>
                    </a:lnTo>
                    <a:lnTo>
                      <a:pt x="219" y="0"/>
                    </a:lnTo>
                    <a:lnTo>
                      <a:pt x="228" y="0"/>
                    </a:lnTo>
                    <a:lnTo>
                      <a:pt x="242" y="0"/>
                    </a:lnTo>
                    <a:lnTo>
                      <a:pt x="256" y="0"/>
                    </a:lnTo>
                    <a:lnTo>
                      <a:pt x="265" y="0"/>
                    </a:lnTo>
                    <a:lnTo>
                      <a:pt x="274" y="0"/>
                    </a:lnTo>
                    <a:lnTo>
                      <a:pt x="292" y="0"/>
                    </a:lnTo>
                    <a:lnTo>
                      <a:pt x="301" y="0"/>
                    </a:lnTo>
                    <a:lnTo>
                      <a:pt x="311" y="0"/>
                    </a:lnTo>
                    <a:lnTo>
                      <a:pt x="324" y="0"/>
                    </a:lnTo>
                    <a:lnTo>
                      <a:pt x="338" y="3"/>
                    </a:lnTo>
                    <a:lnTo>
                      <a:pt x="347" y="3"/>
                    </a:lnTo>
                    <a:lnTo>
                      <a:pt x="361" y="3"/>
                    </a:lnTo>
                    <a:lnTo>
                      <a:pt x="370" y="6"/>
                    </a:lnTo>
                    <a:lnTo>
                      <a:pt x="384" y="6"/>
                    </a:lnTo>
                    <a:lnTo>
                      <a:pt x="397" y="6"/>
                    </a:lnTo>
                    <a:lnTo>
                      <a:pt x="407" y="9"/>
                    </a:lnTo>
                    <a:lnTo>
                      <a:pt x="416" y="9"/>
                    </a:lnTo>
                    <a:lnTo>
                      <a:pt x="425" y="12"/>
                    </a:lnTo>
                    <a:lnTo>
                      <a:pt x="434" y="12"/>
                    </a:lnTo>
                    <a:lnTo>
                      <a:pt x="448" y="15"/>
                    </a:lnTo>
                    <a:lnTo>
                      <a:pt x="452" y="15"/>
                    </a:lnTo>
                    <a:lnTo>
                      <a:pt x="466" y="17"/>
                    </a:lnTo>
                    <a:lnTo>
                      <a:pt x="484" y="20"/>
                    </a:lnTo>
                    <a:lnTo>
                      <a:pt x="498" y="23"/>
                    </a:lnTo>
                    <a:lnTo>
                      <a:pt x="516" y="26"/>
                    </a:lnTo>
                    <a:lnTo>
                      <a:pt x="535" y="29"/>
                    </a:lnTo>
                    <a:lnTo>
                      <a:pt x="544" y="32"/>
                    </a:lnTo>
                    <a:lnTo>
                      <a:pt x="557" y="35"/>
                    </a:lnTo>
                    <a:lnTo>
                      <a:pt x="567" y="37"/>
                    </a:lnTo>
                    <a:lnTo>
                      <a:pt x="580" y="40"/>
                    </a:lnTo>
                    <a:lnTo>
                      <a:pt x="589" y="43"/>
                    </a:lnTo>
                    <a:lnTo>
                      <a:pt x="599" y="49"/>
                    </a:lnTo>
                    <a:lnTo>
                      <a:pt x="589" y="49"/>
                    </a:lnTo>
                    <a:lnTo>
                      <a:pt x="580" y="46"/>
                    </a:lnTo>
                    <a:lnTo>
                      <a:pt x="562" y="43"/>
                    </a:lnTo>
                    <a:lnTo>
                      <a:pt x="544" y="40"/>
                    </a:lnTo>
                    <a:lnTo>
                      <a:pt x="530" y="37"/>
                    </a:lnTo>
                    <a:lnTo>
                      <a:pt x="507" y="37"/>
                    </a:lnTo>
                    <a:lnTo>
                      <a:pt x="489" y="35"/>
                    </a:lnTo>
                    <a:lnTo>
                      <a:pt x="466" y="35"/>
                    </a:lnTo>
                    <a:lnTo>
                      <a:pt x="448" y="35"/>
                    </a:lnTo>
                    <a:lnTo>
                      <a:pt x="434" y="32"/>
                    </a:lnTo>
                    <a:lnTo>
                      <a:pt x="425" y="32"/>
                    </a:lnTo>
                    <a:lnTo>
                      <a:pt x="416" y="29"/>
                    </a:lnTo>
                    <a:lnTo>
                      <a:pt x="402" y="29"/>
                    </a:lnTo>
                    <a:lnTo>
                      <a:pt x="393" y="29"/>
                    </a:lnTo>
                    <a:lnTo>
                      <a:pt x="379" y="29"/>
                    </a:lnTo>
                    <a:lnTo>
                      <a:pt x="370" y="29"/>
                    </a:lnTo>
                    <a:lnTo>
                      <a:pt x="361" y="29"/>
                    </a:lnTo>
                    <a:lnTo>
                      <a:pt x="343" y="29"/>
                    </a:lnTo>
                    <a:lnTo>
                      <a:pt x="333" y="29"/>
                    </a:lnTo>
                    <a:lnTo>
                      <a:pt x="324" y="29"/>
                    </a:lnTo>
                    <a:lnTo>
                      <a:pt x="311" y="29"/>
                    </a:lnTo>
                    <a:lnTo>
                      <a:pt x="297" y="29"/>
                    </a:lnTo>
                    <a:lnTo>
                      <a:pt x="288" y="29"/>
                    </a:lnTo>
                    <a:lnTo>
                      <a:pt x="274" y="29"/>
                    </a:lnTo>
                    <a:lnTo>
                      <a:pt x="265" y="29"/>
                    </a:lnTo>
                    <a:lnTo>
                      <a:pt x="256" y="29"/>
                    </a:lnTo>
                    <a:lnTo>
                      <a:pt x="242" y="29"/>
                    </a:lnTo>
                    <a:lnTo>
                      <a:pt x="228" y="29"/>
                    </a:lnTo>
                    <a:lnTo>
                      <a:pt x="219" y="29"/>
                    </a:lnTo>
                    <a:lnTo>
                      <a:pt x="201" y="29"/>
                    </a:lnTo>
                    <a:lnTo>
                      <a:pt x="187" y="29"/>
                    </a:lnTo>
                    <a:lnTo>
                      <a:pt x="178" y="29"/>
                    </a:lnTo>
                    <a:lnTo>
                      <a:pt x="169" y="29"/>
                    </a:lnTo>
                    <a:lnTo>
                      <a:pt x="155" y="29"/>
                    </a:lnTo>
                    <a:lnTo>
                      <a:pt x="137" y="29"/>
                    </a:lnTo>
                    <a:lnTo>
                      <a:pt x="128" y="29"/>
                    </a:lnTo>
                    <a:lnTo>
                      <a:pt x="119" y="32"/>
                    </a:lnTo>
                    <a:lnTo>
                      <a:pt x="105" y="32"/>
                    </a:lnTo>
                    <a:lnTo>
                      <a:pt x="91" y="32"/>
                    </a:lnTo>
                    <a:lnTo>
                      <a:pt x="87" y="32"/>
                    </a:lnTo>
                    <a:lnTo>
                      <a:pt x="73" y="35"/>
                    </a:lnTo>
                    <a:lnTo>
                      <a:pt x="64" y="35"/>
                    </a:lnTo>
                    <a:lnTo>
                      <a:pt x="55" y="35"/>
                    </a:lnTo>
                    <a:lnTo>
                      <a:pt x="41" y="35"/>
                    </a:lnTo>
                    <a:lnTo>
                      <a:pt x="36" y="35"/>
                    </a:lnTo>
                    <a:lnTo>
                      <a:pt x="18" y="35"/>
                    </a:lnTo>
                    <a:lnTo>
                      <a:pt x="14" y="35"/>
                    </a:lnTo>
                    <a:lnTo>
                      <a:pt x="0" y="32"/>
                    </a:lnTo>
                    <a:lnTo>
                      <a:pt x="9" y="29"/>
                    </a:lnTo>
                    <a:lnTo>
                      <a:pt x="23" y="23"/>
                    </a:lnTo>
                    <a:lnTo>
                      <a:pt x="36" y="20"/>
                    </a:lnTo>
                    <a:lnTo>
                      <a:pt x="55" y="17"/>
                    </a:lnTo>
                    <a:lnTo>
                      <a:pt x="68" y="15"/>
                    </a:lnTo>
                    <a:lnTo>
                      <a:pt x="78" y="15"/>
                    </a:lnTo>
                    <a:lnTo>
                      <a:pt x="87" y="12"/>
                    </a:lnTo>
                    <a:lnTo>
                      <a:pt x="91" y="12"/>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1" name="Freeform 95"/>
              <p:cNvSpPr>
                <a:spLocks/>
              </p:cNvSpPr>
              <p:nvPr>
                <p:custDataLst>
                  <p:tags r:id="rId124"/>
                </p:custDataLst>
              </p:nvPr>
            </p:nvSpPr>
            <p:spPr bwMode="gray">
              <a:xfrm>
                <a:off x="1260" y="2190"/>
                <a:ext cx="993" cy="80"/>
              </a:xfrm>
              <a:custGeom>
                <a:avLst/>
                <a:gdLst>
                  <a:gd name="T0" fmla="*/ 53 w 969"/>
                  <a:gd name="T1" fmla="*/ 3 h 88"/>
                  <a:gd name="T2" fmla="*/ 97 w 969"/>
                  <a:gd name="T3" fmla="*/ 5 h 88"/>
                  <a:gd name="T4" fmla="*/ 159 w 969"/>
                  <a:gd name="T5" fmla="*/ 5 h 88"/>
                  <a:gd name="T6" fmla="*/ 220 w 969"/>
                  <a:gd name="T7" fmla="*/ 5 h 88"/>
                  <a:gd name="T8" fmla="*/ 257 w 969"/>
                  <a:gd name="T9" fmla="*/ 6 h 88"/>
                  <a:gd name="T10" fmla="*/ 301 w 969"/>
                  <a:gd name="T11" fmla="*/ 6 h 88"/>
                  <a:gd name="T12" fmla="*/ 343 w 969"/>
                  <a:gd name="T13" fmla="*/ 7 h 88"/>
                  <a:gd name="T14" fmla="*/ 385 w 969"/>
                  <a:gd name="T15" fmla="*/ 9 h 88"/>
                  <a:gd name="T16" fmla="*/ 436 w 969"/>
                  <a:gd name="T17" fmla="*/ 11 h 88"/>
                  <a:gd name="T18" fmla="*/ 480 w 969"/>
                  <a:gd name="T19" fmla="*/ 11 h 88"/>
                  <a:gd name="T20" fmla="*/ 522 w 969"/>
                  <a:gd name="T21" fmla="*/ 11 h 88"/>
                  <a:gd name="T22" fmla="*/ 564 w 969"/>
                  <a:gd name="T23" fmla="*/ 12 h 88"/>
                  <a:gd name="T24" fmla="*/ 620 w 969"/>
                  <a:gd name="T25" fmla="*/ 13 h 88"/>
                  <a:gd name="T26" fmla="*/ 663 w 969"/>
                  <a:gd name="T27" fmla="*/ 14 h 88"/>
                  <a:gd name="T28" fmla="*/ 705 w 969"/>
                  <a:gd name="T29" fmla="*/ 15 h 88"/>
                  <a:gd name="T30" fmla="*/ 754 w 969"/>
                  <a:gd name="T31" fmla="*/ 15 h 88"/>
                  <a:gd name="T32" fmla="*/ 834 w 969"/>
                  <a:gd name="T33" fmla="*/ 16 h 88"/>
                  <a:gd name="T34" fmla="*/ 897 w 969"/>
                  <a:gd name="T35" fmla="*/ 16 h 88"/>
                  <a:gd name="T36" fmla="*/ 956 w 969"/>
                  <a:gd name="T37" fmla="*/ 16 h 88"/>
                  <a:gd name="T38" fmla="*/ 1018 w 969"/>
                  <a:gd name="T39" fmla="*/ 16 h 88"/>
                  <a:gd name="T40" fmla="*/ 1079 w 969"/>
                  <a:gd name="T41" fmla="*/ 17 h 88"/>
                  <a:gd name="T42" fmla="*/ 1134 w 969"/>
                  <a:gd name="T43" fmla="*/ 17 h 88"/>
                  <a:gd name="T44" fmla="*/ 1177 w 969"/>
                  <a:gd name="T45" fmla="*/ 18 h 88"/>
                  <a:gd name="T46" fmla="*/ 1240 w 969"/>
                  <a:gd name="T47" fmla="*/ 19 h 88"/>
                  <a:gd name="T48" fmla="*/ 1281 w 969"/>
                  <a:gd name="T49" fmla="*/ 20 h 88"/>
                  <a:gd name="T50" fmla="*/ 1299 w 969"/>
                  <a:gd name="T51" fmla="*/ 28 h 88"/>
                  <a:gd name="T52" fmla="*/ 1257 w 969"/>
                  <a:gd name="T53" fmla="*/ 28 h 88"/>
                  <a:gd name="T54" fmla="*/ 1207 w 969"/>
                  <a:gd name="T55" fmla="*/ 26 h 88"/>
                  <a:gd name="T56" fmla="*/ 1158 w 969"/>
                  <a:gd name="T57" fmla="*/ 26 h 88"/>
                  <a:gd name="T58" fmla="*/ 1103 w 969"/>
                  <a:gd name="T59" fmla="*/ 26 h 88"/>
                  <a:gd name="T60" fmla="*/ 1029 w 969"/>
                  <a:gd name="T61" fmla="*/ 25 h 88"/>
                  <a:gd name="T62" fmla="*/ 968 w 969"/>
                  <a:gd name="T63" fmla="*/ 25 h 88"/>
                  <a:gd name="T64" fmla="*/ 901 w 969"/>
                  <a:gd name="T65" fmla="*/ 25 h 88"/>
                  <a:gd name="T66" fmla="*/ 840 w 969"/>
                  <a:gd name="T67" fmla="*/ 25 h 88"/>
                  <a:gd name="T68" fmla="*/ 773 w 969"/>
                  <a:gd name="T69" fmla="*/ 23 h 88"/>
                  <a:gd name="T70" fmla="*/ 718 w 969"/>
                  <a:gd name="T71" fmla="*/ 23 h 88"/>
                  <a:gd name="T72" fmla="*/ 651 w 969"/>
                  <a:gd name="T73" fmla="*/ 22 h 88"/>
                  <a:gd name="T74" fmla="*/ 612 w 969"/>
                  <a:gd name="T75" fmla="*/ 21 h 88"/>
                  <a:gd name="T76" fmla="*/ 564 w 969"/>
                  <a:gd name="T77" fmla="*/ 20 h 88"/>
                  <a:gd name="T78" fmla="*/ 522 w 969"/>
                  <a:gd name="T79" fmla="*/ 19 h 88"/>
                  <a:gd name="T80" fmla="*/ 472 w 969"/>
                  <a:gd name="T81" fmla="*/ 18 h 88"/>
                  <a:gd name="T82" fmla="*/ 429 w 969"/>
                  <a:gd name="T83" fmla="*/ 17 h 88"/>
                  <a:gd name="T84" fmla="*/ 374 w 969"/>
                  <a:gd name="T85" fmla="*/ 16 h 88"/>
                  <a:gd name="T86" fmla="*/ 331 w 969"/>
                  <a:gd name="T87" fmla="*/ 15 h 88"/>
                  <a:gd name="T88" fmla="*/ 282 w 969"/>
                  <a:gd name="T89" fmla="*/ 15 h 88"/>
                  <a:gd name="T90" fmla="*/ 241 w 969"/>
                  <a:gd name="T91" fmla="*/ 14 h 88"/>
                  <a:gd name="T92" fmla="*/ 198 w 969"/>
                  <a:gd name="T93" fmla="*/ 12 h 88"/>
                  <a:gd name="T94" fmla="*/ 129 w 969"/>
                  <a:gd name="T95" fmla="*/ 11 h 88"/>
                  <a:gd name="T96" fmla="*/ 65 w 969"/>
                  <a:gd name="T97" fmla="*/ 10 h 88"/>
                  <a:gd name="T98" fmla="*/ 19 w 969"/>
                  <a:gd name="T99" fmla="*/ 9 h 88"/>
                  <a:gd name="T100" fmla="*/ 44 w 969"/>
                  <a:gd name="T101" fmla="*/ 0 h 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9"/>
                  <a:gd name="T154" fmla="*/ 0 h 88"/>
                  <a:gd name="T155" fmla="*/ 969 w 969"/>
                  <a:gd name="T156" fmla="*/ 88 h 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9" h="88">
                    <a:moveTo>
                      <a:pt x="32" y="0"/>
                    </a:moveTo>
                    <a:lnTo>
                      <a:pt x="37" y="0"/>
                    </a:lnTo>
                    <a:lnTo>
                      <a:pt x="41" y="3"/>
                    </a:lnTo>
                    <a:lnTo>
                      <a:pt x="51" y="3"/>
                    </a:lnTo>
                    <a:lnTo>
                      <a:pt x="60" y="6"/>
                    </a:lnTo>
                    <a:lnTo>
                      <a:pt x="73" y="6"/>
                    </a:lnTo>
                    <a:lnTo>
                      <a:pt x="87" y="9"/>
                    </a:lnTo>
                    <a:lnTo>
                      <a:pt x="101" y="9"/>
                    </a:lnTo>
                    <a:lnTo>
                      <a:pt x="119" y="12"/>
                    </a:lnTo>
                    <a:lnTo>
                      <a:pt x="133" y="12"/>
                    </a:lnTo>
                    <a:lnTo>
                      <a:pt x="151" y="14"/>
                    </a:lnTo>
                    <a:lnTo>
                      <a:pt x="165" y="14"/>
                    </a:lnTo>
                    <a:lnTo>
                      <a:pt x="169" y="17"/>
                    </a:lnTo>
                    <a:lnTo>
                      <a:pt x="183" y="17"/>
                    </a:lnTo>
                    <a:lnTo>
                      <a:pt x="192" y="20"/>
                    </a:lnTo>
                    <a:lnTo>
                      <a:pt x="201" y="20"/>
                    </a:lnTo>
                    <a:lnTo>
                      <a:pt x="211" y="20"/>
                    </a:lnTo>
                    <a:lnTo>
                      <a:pt x="224" y="20"/>
                    </a:lnTo>
                    <a:lnTo>
                      <a:pt x="233" y="23"/>
                    </a:lnTo>
                    <a:lnTo>
                      <a:pt x="243" y="23"/>
                    </a:lnTo>
                    <a:lnTo>
                      <a:pt x="256" y="23"/>
                    </a:lnTo>
                    <a:lnTo>
                      <a:pt x="270" y="23"/>
                    </a:lnTo>
                    <a:lnTo>
                      <a:pt x="279" y="26"/>
                    </a:lnTo>
                    <a:lnTo>
                      <a:pt x="288" y="26"/>
                    </a:lnTo>
                    <a:lnTo>
                      <a:pt x="302" y="29"/>
                    </a:lnTo>
                    <a:lnTo>
                      <a:pt x="316" y="29"/>
                    </a:lnTo>
                    <a:lnTo>
                      <a:pt x="325" y="32"/>
                    </a:lnTo>
                    <a:lnTo>
                      <a:pt x="334" y="32"/>
                    </a:lnTo>
                    <a:lnTo>
                      <a:pt x="348" y="32"/>
                    </a:lnTo>
                    <a:lnTo>
                      <a:pt x="357" y="34"/>
                    </a:lnTo>
                    <a:lnTo>
                      <a:pt x="371" y="34"/>
                    </a:lnTo>
                    <a:lnTo>
                      <a:pt x="380" y="34"/>
                    </a:lnTo>
                    <a:lnTo>
                      <a:pt x="389" y="34"/>
                    </a:lnTo>
                    <a:lnTo>
                      <a:pt x="403" y="34"/>
                    </a:lnTo>
                    <a:lnTo>
                      <a:pt x="416" y="37"/>
                    </a:lnTo>
                    <a:lnTo>
                      <a:pt x="421" y="37"/>
                    </a:lnTo>
                    <a:lnTo>
                      <a:pt x="439" y="40"/>
                    </a:lnTo>
                    <a:lnTo>
                      <a:pt x="448" y="40"/>
                    </a:lnTo>
                    <a:lnTo>
                      <a:pt x="462" y="40"/>
                    </a:lnTo>
                    <a:lnTo>
                      <a:pt x="471" y="40"/>
                    </a:lnTo>
                    <a:lnTo>
                      <a:pt x="480" y="43"/>
                    </a:lnTo>
                    <a:lnTo>
                      <a:pt x="494" y="43"/>
                    </a:lnTo>
                    <a:lnTo>
                      <a:pt x="503" y="43"/>
                    </a:lnTo>
                    <a:lnTo>
                      <a:pt x="512" y="43"/>
                    </a:lnTo>
                    <a:lnTo>
                      <a:pt x="526" y="46"/>
                    </a:lnTo>
                    <a:lnTo>
                      <a:pt x="535" y="46"/>
                    </a:lnTo>
                    <a:lnTo>
                      <a:pt x="544" y="46"/>
                    </a:lnTo>
                    <a:lnTo>
                      <a:pt x="562" y="46"/>
                    </a:lnTo>
                    <a:lnTo>
                      <a:pt x="585" y="46"/>
                    </a:lnTo>
                    <a:lnTo>
                      <a:pt x="599" y="49"/>
                    </a:lnTo>
                    <a:lnTo>
                      <a:pt x="622" y="51"/>
                    </a:lnTo>
                    <a:lnTo>
                      <a:pt x="636" y="51"/>
                    </a:lnTo>
                    <a:lnTo>
                      <a:pt x="654" y="51"/>
                    </a:lnTo>
                    <a:lnTo>
                      <a:pt x="668" y="51"/>
                    </a:lnTo>
                    <a:lnTo>
                      <a:pt x="681" y="51"/>
                    </a:lnTo>
                    <a:lnTo>
                      <a:pt x="700" y="51"/>
                    </a:lnTo>
                    <a:lnTo>
                      <a:pt x="713" y="51"/>
                    </a:lnTo>
                    <a:lnTo>
                      <a:pt x="732" y="51"/>
                    </a:lnTo>
                    <a:lnTo>
                      <a:pt x="750" y="51"/>
                    </a:lnTo>
                    <a:lnTo>
                      <a:pt x="759" y="51"/>
                    </a:lnTo>
                    <a:lnTo>
                      <a:pt x="777" y="51"/>
                    </a:lnTo>
                    <a:lnTo>
                      <a:pt x="786" y="54"/>
                    </a:lnTo>
                    <a:lnTo>
                      <a:pt x="805" y="54"/>
                    </a:lnTo>
                    <a:lnTo>
                      <a:pt x="818" y="54"/>
                    </a:lnTo>
                    <a:lnTo>
                      <a:pt x="832" y="54"/>
                    </a:lnTo>
                    <a:lnTo>
                      <a:pt x="846" y="54"/>
                    </a:lnTo>
                    <a:lnTo>
                      <a:pt x="860" y="57"/>
                    </a:lnTo>
                    <a:lnTo>
                      <a:pt x="869" y="57"/>
                    </a:lnTo>
                    <a:lnTo>
                      <a:pt x="878" y="57"/>
                    </a:lnTo>
                    <a:lnTo>
                      <a:pt x="892" y="57"/>
                    </a:lnTo>
                    <a:lnTo>
                      <a:pt x="901" y="60"/>
                    </a:lnTo>
                    <a:lnTo>
                      <a:pt x="924" y="60"/>
                    </a:lnTo>
                    <a:lnTo>
                      <a:pt x="937" y="60"/>
                    </a:lnTo>
                    <a:lnTo>
                      <a:pt x="951" y="60"/>
                    </a:lnTo>
                    <a:lnTo>
                      <a:pt x="956" y="63"/>
                    </a:lnTo>
                    <a:lnTo>
                      <a:pt x="965" y="63"/>
                    </a:lnTo>
                    <a:lnTo>
                      <a:pt x="969" y="63"/>
                    </a:lnTo>
                    <a:lnTo>
                      <a:pt x="969" y="88"/>
                    </a:lnTo>
                    <a:lnTo>
                      <a:pt x="965" y="86"/>
                    </a:lnTo>
                    <a:lnTo>
                      <a:pt x="951" y="86"/>
                    </a:lnTo>
                    <a:lnTo>
                      <a:pt x="937" y="86"/>
                    </a:lnTo>
                    <a:lnTo>
                      <a:pt x="924" y="86"/>
                    </a:lnTo>
                    <a:lnTo>
                      <a:pt x="914" y="83"/>
                    </a:lnTo>
                    <a:lnTo>
                      <a:pt x="901" y="83"/>
                    </a:lnTo>
                    <a:lnTo>
                      <a:pt x="887" y="83"/>
                    </a:lnTo>
                    <a:lnTo>
                      <a:pt x="878" y="83"/>
                    </a:lnTo>
                    <a:lnTo>
                      <a:pt x="864" y="83"/>
                    </a:lnTo>
                    <a:lnTo>
                      <a:pt x="846" y="83"/>
                    </a:lnTo>
                    <a:lnTo>
                      <a:pt x="837" y="83"/>
                    </a:lnTo>
                    <a:lnTo>
                      <a:pt x="823" y="83"/>
                    </a:lnTo>
                    <a:lnTo>
                      <a:pt x="805" y="83"/>
                    </a:lnTo>
                    <a:lnTo>
                      <a:pt x="786" y="83"/>
                    </a:lnTo>
                    <a:lnTo>
                      <a:pt x="768" y="80"/>
                    </a:lnTo>
                    <a:lnTo>
                      <a:pt x="754" y="80"/>
                    </a:lnTo>
                    <a:lnTo>
                      <a:pt x="736" y="80"/>
                    </a:lnTo>
                    <a:lnTo>
                      <a:pt x="722" y="80"/>
                    </a:lnTo>
                    <a:lnTo>
                      <a:pt x="704" y="80"/>
                    </a:lnTo>
                    <a:lnTo>
                      <a:pt x="690" y="80"/>
                    </a:lnTo>
                    <a:lnTo>
                      <a:pt x="672" y="77"/>
                    </a:lnTo>
                    <a:lnTo>
                      <a:pt x="658" y="77"/>
                    </a:lnTo>
                    <a:lnTo>
                      <a:pt x="640" y="77"/>
                    </a:lnTo>
                    <a:lnTo>
                      <a:pt x="626" y="77"/>
                    </a:lnTo>
                    <a:lnTo>
                      <a:pt x="608" y="74"/>
                    </a:lnTo>
                    <a:lnTo>
                      <a:pt x="590" y="74"/>
                    </a:lnTo>
                    <a:lnTo>
                      <a:pt x="576" y="74"/>
                    </a:lnTo>
                    <a:lnTo>
                      <a:pt x="567" y="74"/>
                    </a:lnTo>
                    <a:lnTo>
                      <a:pt x="549" y="71"/>
                    </a:lnTo>
                    <a:lnTo>
                      <a:pt x="535" y="71"/>
                    </a:lnTo>
                    <a:lnTo>
                      <a:pt x="517" y="69"/>
                    </a:lnTo>
                    <a:lnTo>
                      <a:pt x="499" y="69"/>
                    </a:lnTo>
                    <a:lnTo>
                      <a:pt x="485" y="69"/>
                    </a:lnTo>
                    <a:lnTo>
                      <a:pt x="476" y="69"/>
                    </a:lnTo>
                    <a:lnTo>
                      <a:pt x="467" y="66"/>
                    </a:lnTo>
                    <a:lnTo>
                      <a:pt x="457" y="66"/>
                    </a:lnTo>
                    <a:lnTo>
                      <a:pt x="444" y="66"/>
                    </a:lnTo>
                    <a:lnTo>
                      <a:pt x="435" y="63"/>
                    </a:lnTo>
                    <a:lnTo>
                      <a:pt x="421" y="63"/>
                    </a:lnTo>
                    <a:lnTo>
                      <a:pt x="412" y="63"/>
                    </a:lnTo>
                    <a:lnTo>
                      <a:pt x="403" y="60"/>
                    </a:lnTo>
                    <a:lnTo>
                      <a:pt x="389" y="60"/>
                    </a:lnTo>
                    <a:lnTo>
                      <a:pt x="380" y="57"/>
                    </a:lnTo>
                    <a:lnTo>
                      <a:pt x="366" y="57"/>
                    </a:lnTo>
                    <a:lnTo>
                      <a:pt x="352" y="57"/>
                    </a:lnTo>
                    <a:lnTo>
                      <a:pt x="343" y="54"/>
                    </a:lnTo>
                    <a:lnTo>
                      <a:pt x="334" y="54"/>
                    </a:lnTo>
                    <a:lnTo>
                      <a:pt x="320" y="54"/>
                    </a:lnTo>
                    <a:lnTo>
                      <a:pt x="307" y="51"/>
                    </a:lnTo>
                    <a:lnTo>
                      <a:pt x="297" y="51"/>
                    </a:lnTo>
                    <a:lnTo>
                      <a:pt x="279" y="51"/>
                    </a:lnTo>
                    <a:lnTo>
                      <a:pt x="270" y="51"/>
                    </a:lnTo>
                    <a:lnTo>
                      <a:pt x="261" y="49"/>
                    </a:lnTo>
                    <a:lnTo>
                      <a:pt x="247" y="46"/>
                    </a:lnTo>
                    <a:lnTo>
                      <a:pt x="238" y="46"/>
                    </a:lnTo>
                    <a:lnTo>
                      <a:pt x="224" y="46"/>
                    </a:lnTo>
                    <a:lnTo>
                      <a:pt x="211" y="46"/>
                    </a:lnTo>
                    <a:lnTo>
                      <a:pt x="201" y="43"/>
                    </a:lnTo>
                    <a:lnTo>
                      <a:pt x="188" y="43"/>
                    </a:lnTo>
                    <a:lnTo>
                      <a:pt x="179" y="43"/>
                    </a:lnTo>
                    <a:lnTo>
                      <a:pt x="165" y="40"/>
                    </a:lnTo>
                    <a:lnTo>
                      <a:pt x="156" y="40"/>
                    </a:lnTo>
                    <a:lnTo>
                      <a:pt x="147" y="37"/>
                    </a:lnTo>
                    <a:lnTo>
                      <a:pt x="137" y="37"/>
                    </a:lnTo>
                    <a:lnTo>
                      <a:pt x="115" y="34"/>
                    </a:lnTo>
                    <a:lnTo>
                      <a:pt x="96" y="34"/>
                    </a:lnTo>
                    <a:lnTo>
                      <a:pt x="78" y="32"/>
                    </a:lnTo>
                    <a:lnTo>
                      <a:pt x="69" y="32"/>
                    </a:lnTo>
                    <a:lnTo>
                      <a:pt x="51" y="29"/>
                    </a:lnTo>
                    <a:lnTo>
                      <a:pt x="41" y="26"/>
                    </a:lnTo>
                    <a:lnTo>
                      <a:pt x="23" y="26"/>
                    </a:lnTo>
                    <a:lnTo>
                      <a:pt x="19" y="26"/>
                    </a:lnTo>
                    <a:lnTo>
                      <a:pt x="5" y="23"/>
                    </a:lnTo>
                    <a:lnTo>
                      <a:pt x="0" y="23"/>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2" name="Freeform 96"/>
              <p:cNvSpPr>
                <a:spLocks/>
              </p:cNvSpPr>
              <p:nvPr>
                <p:custDataLst>
                  <p:tags r:id="rId125"/>
                </p:custDataLst>
              </p:nvPr>
            </p:nvSpPr>
            <p:spPr bwMode="gray">
              <a:xfrm>
                <a:off x="3720" y="2221"/>
                <a:ext cx="623" cy="63"/>
              </a:xfrm>
              <a:custGeom>
                <a:avLst/>
                <a:gdLst>
                  <a:gd name="T0" fmla="*/ 13 w 608"/>
                  <a:gd name="T1" fmla="*/ 13 h 69"/>
                  <a:gd name="T2" fmla="*/ 53 w 608"/>
                  <a:gd name="T3" fmla="*/ 13 h 69"/>
                  <a:gd name="T4" fmla="*/ 92 w 608"/>
                  <a:gd name="T5" fmla="*/ 13 h 69"/>
                  <a:gd name="T6" fmla="*/ 135 w 608"/>
                  <a:gd name="T7" fmla="*/ 13 h 69"/>
                  <a:gd name="T8" fmla="*/ 171 w 608"/>
                  <a:gd name="T9" fmla="*/ 12 h 69"/>
                  <a:gd name="T10" fmla="*/ 208 w 608"/>
                  <a:gd name="T11" fmla="*/ 12 h 69"/>
                  <a:gd name="T12" fmla="*/ 244 w 608"/>
                  <a:gd name="T13" fmla="*/ 12 h 69"/>
                  <a:gd name="T14" fmla="*/ 281 w 608"/>
                  <a:gd name="T15" fmla="*/ 12 h 69"/>
                  <a:gd name="T16" fmla="*/ 317 w 608"/>
                  <a:gd name="T17" fmla="*/ 11 h 69"/>
                  <a:gd name="T18" fmla="*/ 348 w 608"/>
                  <a:gd name="T19" fmla="*/ 10 h 69"/>
                  <a:gd name="T20" fmla="*/ 391 w 608"/>
                  <a:gd name="T21" fmla="*/ 10 h 69"/>
                  <a:gd name="T22" fmla="*/ 422 w 608"/>
                  <a:gd name="T23" fmla="*/ 9 h 69"/>
                  <a:gd name="T24" fmla="*/ 453 w 608"/>
                  <a:gd name="T25" fmla="*/ 9 h 69"/>
                  <a:gd name="T26" fmla="*/ 484 w 608"/>
                  <a:gd name="T27" fmla="*/ 8 h 69"/>
                  <a:gd name="T28" fmla="*/ 521 w 608"/>
                  <a:gd name="T29" fmla="*/ 6 h 69"/>
                  <a:gd name="T30" fmla="*/ 550 w 608"/>
                  <a:gd name="T31" fmla="*/ 6 h 69"/>
                  <a:gd name="T32" fmla="*/ 593 w 608"/>
                  <a:gd name="T33" fmla="*/ 5 h 69"/>
                  <a:gd name="T34" fmla="*/ 642 w 608"/>
                  <a:gd name="T35" fmla="*/ 5 h 69"/>
                  <a:gd name="T36" fmla="*/ 691 w 608"/>
                  <a:gd name="T37" fmla="*/ 5 h 69"/>
                  <a:gd name="T38" fmla="*/ 729 w 608"/>
                  <a:gd name="T39" fmla="*/ 5 h 69"/>
                  <a:gd name="T40" fmla="*/ 758 w 608"/>
                  <a:gd name="T41" fmla="*/ 3 h 69"/>
                  <a:gd name="T42" fmla="*/ 784 w 608"/>
                  <a:gd name="T43" fmla="*/ 0 h 69"/>
                  <a:gd name="T44" fmla="*/ 808 w 608"/>
                  <a:gd name="T45" fmla="*/ 0 h 69"/>
                  <a:gd name="T46" fmla="*/ 815 w 608"/>
                  <a:gd name="T47" fmla="*/ 10 h 69"/>
                  <a:gd name="T48" fmla="*/ 800 w 608"/>
                  <a:gd name="T49" fmla="*/ 10 h 69"/>
                  <a:gd name="T50" fmla="*/ 777 w 608"/>
                  <a:gd name="T51" fmla="*/ 11 h 69"/>
                  <a:gd name="T52" fmla="*/ 753 w 608"/>
                  <a:gd name="T53" fmla="*/ 12 h 69"/>
                  <a:gd name="T54" fmla="*/ 715 w 608"/>
                  <a:gd name="T55" fmla="*/ 12 h 69"/>
                  <a:gd name="T56" fmla="*/ 687 w 608"/>
                  <a:gd name="T57" fmla="*/ 13 h 69"/>
                  <a:gd name="T58" fmla="*/ 642 w 608"/>
                  <a:gd name="T59" fmla="*/ 13 h 69"/>
                  <a:gd name="T60" fmla="*/ 599 w 608"/>
                  <a:gd name="T61" fmla="*/ 14 h 69"/>
                  <a:gd name="T62" fmla="*/ 557 w 608"/>
                  <a:gd name="T63" fmla="*/ 15 h 69"/>
                  <a:gd name="T64" fmla="*/ 513 w 608"/>
                  <a:gd name="T65" fmla="*/ 15 h 69"/>
                  <a:gd name="T66" fmla="*/ 472 w 608"/>
                  <a:gd name="T67" fmla="*/ 16 h 69"/>
                  <a:gd name="T68" fmla="*/ 428 w 608"/>
                  <a:gd name="T69" fmla="*/ 18 h 69"/>
                  <a:gd name="T70" fmla="*/ 391 w 608"/>
                  <a:gd name="T71" fmla="*/ 18 h 69"/>
                  <a:gd name="T72" fmla="*/ 348 w 608"/>
                  <a:gd name="T73" fmla="*/ 18 h 69"/>
                  <a:gd name="T74" fmla="*/ 324 w 608"/>
                  <a:gd name="T75" fmla="*/ 19 h 69"/>
                  <a:gd name="T76" fmla="*/ 301 w 608"/>
                  <a:gd name="T77" fmla="*/ 20 h 69"/>
                  <a:gd name="T78" fmla="*/ 251 w 608"/>
                  <a:gd name="T79" fmla="*/ 22 h 69"/>
                  <a:gd name="T80" fmla="*/ 196 w 608"/>
                  <a:gd name="T81" fmla="*/ 22 h 69"/>
                  <a:gd name="T82" fmla="*/ 146 w 608"/>
                  <a:gd name="T83" fmla="*/ 22 h 69"/>
                  <a:gd name="T84" fmla="*/ 101 w 608"/>
                  <a:gd name="T85" fmla="*/ 24 h 69"/>
                  <a:gd name="T86" fmla="*/ 57 w 608"/>
                  <a:gd name="T87" fmla="*/ 24 h 69"/>
                  <a:gd name="T88" fmla="*/ 35 w 608"/>
                  <a:gd name="T89" fmla="*/ 24 h 69"/>
                  <a:gd name="T90" fmla="*/ 0 w 608"/>
                  <a:gd name="T91" fmla="*/ 24 h 69"/>
                  <a:gd name="T92" fmla="*/ 0 w 608"/>
                  <a:gd name="T93" fmla="*/ 14 h 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8"/>
                  <a:gd name="T142" fmla="*/ 0 h 69"/>
                  <a:gd name="T143" fmla="*/ 608 w 608"/>
                  <a:gd name="T144" fmla="*/ 69 h 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8" h="69">
                    <a:moveTo>
                      <a:pt x="0" y="40"/>
                    </a:moveTo>
                    <a:lnTo>
                      <a:pt x="13" y="37"/>
                    </a:lnTo>
                    <a:lnTo>
                      <a:pt x="27" y="37"/>
                    </a:lnTo>
                    <a:lnTo>
                      <a:pt x="41" y="37"/>
                    </a:lnTo>
                    <a:lnTo>
                      <a:pt x="59" y="37"/>
                    </a:lnTo>
                    <a:lnTo>
                      <a:pt x="68" y="37"/>
                    </a:lnTo>
                    <a:lnTo>
                      <a:pt x="87" y="37"/>
                    </a:lnTo>
                    <a:lnTo>
                      <a:pt x="100" y="37"/>
                    </a:lnTo>
                    <a:lnTo>
                      <a:pt x="119" y="37"/>
                    </a:lnTo>
                    <a:lnTo>
                      <a:pt x="128" y="35"/>
                    </a:lnTo>
                    <a:lnTo>
                      <a:pt x="141" y="35"/>
                    </a:lnTo>
                    <a:lnTo>
                      <a:pt x="155" y="35"/>
                    </a:lnTo>
                    <a:lnTo>
                      <a:pt x="169" y="35"/>
                    </a:lnTo>
                    <a:lnTo>
                      <a:pt x="182" y="35"/>
                    </a:lnTo>
                    <a:lnTo>
                      <a:pt x="201" y="35"/>
                    </a:lnTo>
                    <a:lnTo>
                      <a:pt x="210" y="35"/>
                    </a:lnTo>
                    <a:lnTo>
                      <a:pt x="224" y="35"/>
                    </a:lnTo>
                    <a:lnTo>
                      <a:pt x="237" y="32"/>
                    </a:lnTo>
                    <a:lnTo>
                      <a:pt x="251" y="32"/>
                    </a:lnTo>
                    <a:lnTo>
                      <a:pt x="260" y="29"/>
                    </a:lnTo>
                    <a:lnTo>
                      <a:pt x="278" y="29"/>
                    </a:lnTo>
                    <a:lnTo>
                      <a:pt x="292" y="29"/>
                    </a:lnTo>
                    <a:lnTo>
                      <a:pt x="301" y="26"/>
                    </a:lnTo>
                    <a:lnTo>
                      <a:pt x="315" y="26"/>
                    </a:lnTo>
                    <a:lnTo>
                      <a:pt x="329" y="26"/>
                    </a:lnTo>
                    <a:lnTo>
                      <a:pt x="338" y="26"/>
                    </a:lnTo>
                    <a:lnTo>
                      <a:pt x="352" y="23"/>
                    </a:lnTo>
                    <a:lnTo>
                      <a:pt x="361" y="23"/>
                    </a:lnTo>
                    <a:lnTo>
                      <a:pt x="374" y="23"/>
                    </a:lnTo>
                    <a:lnTo>
                      <a:pt x="388" y="20"/>
                    </a:lnTo>
                    <a:lnTo>
                      <a:pt x="397" y="20"/>
                    </a:lnTo>
                    <a:lnTo>
                      <a:pt x="411" y="20"/>
                    </a:lnTo>
                    <a:lnTo>
                      <a:pt x="425" y="20"/>
                    </a:lnTo>
                    <a:lnTo>
                      <a:pt x="443" y="17"/>
                    </a:lnTo>
                    <a:lnTo>
                      <a:pt x="461" y="17"/>
                    </a:lnTo>
                    <a:lnTo>
                      <a:pt x="480" y="12"/>
                    </a:lnTo>
                    <a:lnTo>
                      <a:pt x="498" y="12"/>
                    </a:lnTo>
                    <a:lnTo>
                      <a:pt x="516" y="12"/>
                    </a:lnTo>
                    <a:lnTo>
                      <a:pt x="530" y="9"/>
                    </a:lnTo>
                    <a:lnTo>
                      <a:pt x="544" y="6"/>
                    </a:lnTo>
                    <a:lnTo>
                      <a:pt x="557" y="6"/>
                    </a:lnTo>
                    <a:lnTo>
                      <a:pt x="566" y="3"/>
                    </a:lnTo>
                    <a:lnTo>
                      <a:pt x="580" y="0"/>
                    </a:lnTo>
                    <a:lnTo>
                      <a:pt x="585" y="0"/>
                    </a:lnTo>
                    <a:lnTo>
                      <a:pt x="594" y="0"/>
                    </a:lnTo>
                    <a:lnTo>
                      <a:pt x="603" y="0"/>
                    </a:lnTo>
                    <a:lnTo>
                      <a:pt x="608" y="0"/>
                    </a:lnTo>
                    <a:lnTo>
                      <a:pt x="608" y="29"/>
                    </a:lnTo>
                    <a:lnTo>
                      <a:pt x="603" y="29"/>
                    </a:lnTo>
                    <a:lnTo>
                      <a:pt x="598" y="29"/>
                    </a:lnTo>
                    <a:lnTo>
                      <a:pt x="585" y="29"/>
                    </a:lnTo>
                    <a:lnTo>
                      <a:pt x="580" y="32"/>
                    </a:lnTo>
                    <a:lnTo>
                      <a:pt x="571" y="32"/>
                    </a:lnTo>
                    <a:lnTo>
                      <a:pt x="562" y="35"/>
                    </a:lnTo>
                    <a:lnTo>
                      <a:pt x="548" y="35"/>
                    </a:lnTo>
                    <a:lnTo>
                      <a:pt x="534" y="35"/>
                    </a:lnTo>
                    <a:lnTo>
                      <a:pt x="525" y="35"/>
                    </a:lnTo>
                    <a:lnTo>
                      <a:pt x="512" y="37"/>
                    </a:lnTo>
                    <a:lnTo>
                      <a:pt x="498" y="37"/>
                    </a:lnTo>
                    <a:lnTo>
                      <a:pt x="480" y="37"/>
                    </a:lnTo>
                    <a:lnTo>
                      <a:pt x="466" y="40"/>
                    </a:lnTo>
                    <a:lnTo>
                      <a:pt x="448" y="40"/>
                    </a:lnTo>
                    <a:lnTo>
                      <a:pt x="434" y="40"/>
                    </a:lnTo>
                    <a:lnTo>
                      <a:pt x="416" y="43"/>
                    </a:lnTo>
                    <a:lnTo>
                      <a:pt x="402" y="43"/>
                    </a:lnTo>
                    <a:lnTo>
                      <a:pt x="384" y="46"/>
                    </a:lnTo>
                    <a:lnTo>
                      <a:pt x="370" y="49"/>
                    </a:lnTo>
                    <a:lnTo>
                      <a:pt x="352" y="49"/>
                    </a:lnTo>
                    <a:lnTo>
                      <a:pt x="333" y="49"/>
                    </a:lnTo>
                    <a:lnTo>
                      <a:pt x="320" y="54"/>
                    </a:lnTo>
                    <a:lnTo>
                      <a:pt x="301" y="54"/>
                    </a:lnTo>
                    <a:lnTo>
                      <a:pt x="292" y="54"/>
                    </a:lnTo>
                    <a:lnTo>
                      <a:pt x="278" y="54"/>
                    </a:lnTo>
                    <a:lnTo>
                      <a:pt x="260" y="54"/>
                    </a:lnTo>
                    <a:lnTo>
                      <a:pt x="251" y="57"/>
                    </a:lnTo>
                    <a:lnTo>
                      <a:pt x="242" y="57"/>
                    </a:lnTo>
                    <a:lnTo>
                      <a:pt x="228" y="60"/>
                    </a:lnTo>
                    <a:lnTo>
                      <a:pt x="224" y="60"/>
                    </a:lnTo>
                    <a:lnTo>
                      <a:pt x="201" y="60"/>
                    </a:lnTo>
                    <a:lnTo>
                      <a:pt x="187" y="63"/>
                    </a:lnTo>
                    <a:lnTo>
                      <a:pt x="164" y="63"/>
                    </a:lnTo>
                    <a:lnTo>
                      <a:pt x="146" y="63"/>
                    </a:lnTo>
                    <a:lnTo>
                      <a:pt x="128" y="63"/>
                    </a:lnTo>
                    <a:lnTo>
                      <a:pt x="109" y="63"/>
                    </a:lnTo>
                    <a:lnTo>
                      <a:pt x="91" y="66"/>
                    </a:lnTo>
                    <a:lnTo>
                      <a:pt x="77" y="69"/>
                    </a:lnTo>
                    <a:lnTo>
                      <a:pt x="59" y="69"/>
                    </a:lnTo>
                    <a:lnTo>
                      <a:pt x="45" y="69"/>
                    </a:lnTo>
                    <a:lnTo>
                      <a:pt x="32" y="69"/>
                    </a:lnTo>
                    <a:lnTo>
                      <a:pt x="23" y="69"/>
                    </a:lnTo>
                    <a:lnTo>
                      <a:pt x="0" y="69"/>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3" name="Freeform 97"/>
              <p:cNvSpPr>
                <a:spLocks/>
              </p:cNvSpPr>
              <p:nvPr>
                <p:custDataLst>
                  <p:tags r:id="rId126"/>
                </p:custDataLst>
              </p:nvPr>
            </p:nvSpPr>
            <p:spPr bwMode="gray">
              <a:xfrm>
                <a:off x="2328" y="1914"/>
                <a:ext cx="193" cy="794"/>
              </a:xfrm>
              <a:custGeom>
                <a:avLst/>
                <a:gdLst>
                  <a:gd name="T0" fmla="*/ 0 w 188"/>
                  <a:gd name="T1" fmla="*/ 291 h 869"/>
                  <a:gd name="T2" fmla="*/ 31 w 188"/>
                  <a:gd name="T3" fmla="*/ 293 h 869"/>
                  <a:gd name="T4" fmla="*/ 49 w 188"/>
                  <a:gd name="T5" fmla="*/ 294 h 869"/>
                  <a:gd name="T6" fmla="*/ 88 w 188"/>
                  <a:gd name="T7" fmla="*/ 294 h 869"/>
                  <a:gd name="T8" fmla="*/ 113 w 188"/>
                  <a:gd name="T9" fmla="*/ 294 h 869"/>
                  <a:gd name="T10" fmla="*/ 144 w 188"/>
                  <a:gd name="T11" fmla="*/ 294 h 869"/>
                  <a:gd name="T12" fmla="*/ 175 w 188"/>
                  <a:gd name="T13" fmla="*/ 291 h 869"/>
                  <a:gd name="T14" fmla="*/ 175 w 188"/>
                  <a:gd name="T15" fmla="*/ 287 h 869"/>
                  <a:gd name="T16" fmla="*/ 175 w 188"/>
                  <a:gd name="T17" fmla="*/ 285 h 869"/>
                  <a:gd name="T18" fmla="*/ 183 w 188"/>
                  <a:gd name="T19" fmla="*/ 278 h 869"/>
                  <a:gd name="T20" fmla="*/ 183 w 188"/>
                  <a:gd name="T21" fmla="*/ 272 h 869"/>
                  <a:gd name="T22" fmla="*/ 183 w 188"/>
                  <a:gd name="T23" fmla="*/ 266 h 869"/>
                  <a:gd name="T24" fmla="*/ 188 w 188"/>
                  <a:gd name="T25" fmla="*/ 257 h 869"/>
                  <a:gd name="T26" fmla="*/ 188 w 188"/>
                  <a:gd name="T27" fmla="*/ 249 h 869"/>
                  <a:gd name="T28" fmla="*/ 188 w 188"/>
                  <a:gd name="T29" fmla="*/ 239 h 869"/>
                  <a:gd name="T30" fmla="*/ 195 w 188"/>
                  <a:gd name="T31" fmla="*/ 229 h 869"/>
                  <a:gd name="T32" fmla="*/ 195 w 188"/>
                  <a:gd name="T33" fmla="*/ 219 h 869"/>
                  <a:gd name="T34" fmla="*/ 201 w 188"/>
                  <a:gd name="T35" fmla="*/ 208 h 869"/>
                  <a:gd name="T36" fmla="*/ 201 w 188"/>
                  <a:gd name="T37" fmla="*/ 198 h 869"/>
                  <a:gd name="T38" fmla="*/ 201 w 188"/>
                  <a:gd name="T39" fmla="*/ 187 h 869"/>
                  <a:gd name="T40" fmla="*/ 201 w 188"/>
                  <a:gd name="T41" fmla="*/ 175 h 869"/>
                  <a:gd name="T42" fmla="*/ 213 w 188"/>
                  <a:gd name="T43" fmla="*/ 164 h 869"/>
                  <a:gd name="T44" fmla="*/ 213 w 188"/>
                  <a:gd name="T45" fmla="*/ 151 h 869"/>
                  <a:gd name="T46" fmla="*/ 219 w 188"/>
                  <a:gd name="T47" fmla="*/ 138 h 869"/>
                  <a:gd name="T48" fmla="*/ 219 w 188"/>
                  <a:gd name="T49" fmla="*/ 127 h 869"/>
                  <a:gd name="T50" fmla="*/ 219 w 188"/>
                  <a:gd name="T51" fmla="*/ 117 h 869"/>
                  <a:gd name="T52" fmla="*/ 226 w 188"/>
                  <a:gd name="T53" fmla="*/ 105 h 869"/>
                  <a:gd name="T54" fmla="*/ 226 w 188"/>
                  <a:gd name="T55" fmla="*/ 95 h 869"/>
                  <a:gd name="T56" fmla="*/ 232 w 188"/>
                  <a:gd name="T57" fmla="*/ 84 h 869"/>
                  <a:gd name="T58" fmla="*/ 232 w 188"/>
                  <a:gd name="T59" fmla="*/ 75 h 869"/>
                  <a:gd name="T60" fmla="*/ 232 w 188"/>
                  <a:gd name="T61" fmla="*/ 65 h 869"/>
                  <a:gd name="T62" fmla="*/ 239 w 188"/>
                  <a:gd name="T63" fmla="*/ 58 h 869"/>
                  <a:gd name="T64" fmla="*/ 239 w 188"/>
                  <a:gd name="T65" fmla="*/ 49 h 869"/>
                  <a:gd name="T66" fmla="*/ 245 w 188"/>
                  <a:gd name="T67" fmla="*/ 44 h 869"/>
                  <a:gd name="T68" fmla="*/ 250 w 188"/>
                  <a:gd name="T69" fmla="*/ 38 h 869"/>
                  <a:gd name="T70" fmla="*/ 250 w 188"/>
                  <a:gd name="T71" fmla="*/ 35 h 869"/>
                  <a:gd name="T72" fmla="*/ 257 w 188"/>
                  <a:gd name="T73" fmla="*/ 31 h 869"/>
                  <a:gd name="T74" fmla="*/ 257 w 188"/>
                  <a:gd name="T75" fmla="*/ 24 h 869"/>
                  <a:gd name="T76" fmla="*/ 239 w 188"/>
                  <a:gd name="T77" fmla="*/ 18 h 869"/>
                  <a:gd name="T78" fmla="*/ 206 w 188"/>
                  <a:gd name="T79" fmla="*/ 14 h 869"/>
                  <a:gd name="T80" fmla="*/ 175 w 188"/>
                  <a:gd name="T81" fmla="*/ 10 h 869"/>
                  <a:gd name="T82" fmla="*/ 138 w 188"/>
                  <a:gd name="T83" fmla="*/ 5 h 869"/>
                  <a:gd name="T84" fmla="*/ 106 w 188"/>
                  <a:gd name="T85" fmla="*/ 5 h 869"/>
                  <a:gd name="T86" fmla="*/ 77 w 188"/>
                  <a:gd name="T87" fmla="*/ 0 h 86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8"/>
                  <a:gd name="T133" fmla="*/ 0 h 869"/>
                  <a:gd name="T134" fmla="*/ 188 w 188"/>
                  <a:gd name="T135" fmla="*/ 869 h 86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8" h="869">
                    <a:moveTo>
                      <a:pt x="55" y="0"/>
                    </a:moveTo>
                    <a:lnTo>
                      <a:pt x="0" y="860"/>
                    </a:lnTo>
                    <a:lnTo>
                      <a:pt x="9" y="860"/>
                    </a:lnTo>
                    <a:lnTo>
                      <a:pt x="19" y="863"/>
                    </a:lnTo>
                    <a:lnTo>
                      <a:pt x="28" y="863"/>
                    </a:lnTo>
                    <a:lnTo>
                      <a:pt x="37" y="866"/>
                    </a:lnTo>
                    <a:lnTo>
                      <a:pt x="51" y="866"/>
                    </a:lnTo>
                    <a:lnTo>
                      <a:pt x="64" y="869"/>
                    </a:lnTo>
                    <a:lnTo>
                      <a:pt x="69" y="869"/>
                    </a:lnTo>
                    <a:lnTo>
                      <a:pt x="83" y="869"/>
                    </a:lnTo>
                    <a:lnTo>
                      <a:pt x="92" y="869"/>
                    </a:lnTo>
                    <a:lnTo>
                      <a:pt x="105" y="869"/>
                    </a:lnTo>
                    <a:lnTo>
                      <a:pt x="119" y="866"/>
                    </a:lnTo>
                    <a:lnTo>
                      <a:pt x="128" y="860"/>
                    </a:lnTo>
                    <a:lnTo>
                      <a:pt x="128" y="857"/>
                    </a:lnTo>
                    <a:lnTo>
                      <a:pt x="128" y="849"/>
                    </a:lnTo>
                    <a:lnTo>
                      <a:pt x="128" y="843"/>
                    </a:lnTo>
                    <a:lnTo>
                      <a:pt x="128" y="838"/>
                    </a:lnTo>
                    <a:lnTo>
                      <a:pt x="128" y="829"/>
                    </a:lnTo>
                    <a:lnTo>
                      <a:pt x="133" y="823"/>
                    </a:lnTo>
                    <a:lnTo>
                      <a:pt x="133" y="812"/>
                    </a:lnTo>
                    <a:lnTo>
                      <a:pt x="133" y="803"/>
                    </a:lnTo>
                    <a:lnTo>
                      <a:pt x="133" y="795"/>
                    </a:lnTo>
                    <a:lnTo>
                      <a:pt x="133" y="786"/>
                    </a:lnTo>
                    <a:lnTo>
                      <a:pt x="133" y="775"/>
                    </a:lnTo>
                    <a:lnTo>
                      <a:pt x="137" y="761"/>
                    </a:lnTo>
                    <a:lnTo>
                      <a:pt x="137" y="749"/>
                    </a:lnTo>
                    <a:lnTo>
                      <a:pt x="137" y="738"/>
                    </a:lnTo>
                    <a:lnTo>
                      <a:pt x="137" y="724"/>
                    </a:lnTo>
                    <a:lnTo>
                      <a:pt x="137" y="709"/>
                    </a:lnTo>
                    <a:lnTo>
                      <a:pt x="137" y="695"/>
                    </a:lnTo>
                    <a:lnTo>
                      <a:pt x="142" y="678"/>
                    </a:lnTo>
                    <a:lnTo>
                      <a:pt x="142" y="664"/>
                    </a:lnTo>
                    <a:lnTo>
                      <a:pt x="142" y="650"/>
                    </a:lnTo>
                    <a:lnTo>
                      <a:pt x="142" y="635"/>
                    </a:lnTo>
                    <a:lnTo>
                      <a:pt x="147" y="618"/>
                    </a:lnTo>
                    <a:lnTo>
                      <a:pt x="147" y="601"/>
                    </a:lnTo>
                    <a:lnTo>
                      <a:pt x="147" y="584"/>
                    </a:lnTo>
                    <a:lnTo>
                      <a:pt x="147" y="567"/>
                    </a:lnTo>
                    <a:lnTo>
                      <a:pt x="147" y="550"/>
                    </a:lnTo>
                    <a:lnTo>
                      <a:pt x="147" y="533"/>
                    </a:lnTo>
                    <a:lnTo>
                      <a:pt x="147" y="519"/>
                    </a:lnTo>
                    <a:lnTo>
                      <a:pt x="151" y="499"/>
                    </a:lnTo>
                    <a:lnTo>
                      <a:pt x="156" y="482"/>
                    </a:lnTo>
                    <a:lnTo>
                      <a:pt x="156" y="464"/>
                    </a:lnTo>
                    <a:lnTo>
                      <a:pt x="156" y="447"/>
                    </a:lnTo>
                    <a:lnTo>
                      <a:pt x="156" y="430"/>
                    </a:lnTo>
                    <a:lnTo>
                      <a:pt x="160" y="410"/>
                    </a:lnTo>
                    <a:lnTo>
                      <a:pt x="160" y="396"/>
                    </a:lnTo>
                    <a:lnTo>
                      <a:pt x="160" y="376"/>
                    </a:lnTo>
                    <a:lnTo>
                      <a:pt x="160" y="362"/>
                    </a:lnTo>
                    <a:lnTo>
                      <a:pt x="160" y="345"/>
                    </a:lnTo>
                    <a:lnTo>
                      <a:pt x="160" y="328"/>
                    </a:lnTo>
                    <a:lnTo>
                      <a:pt x="165" y="311"/>
                    </a:lnTo>
                    <a:lnTo>
                      <a:pt x="165" y="294"/>
                    </a:lnTo>
                    <a:lnTo>
                      <a:pt x="165" y="282"/>
                    </a:lnTo>
                    <a:lnTo>
                      <a:pt x="165" y="265"/>
                    </a:lnTo>
                    <a:lnTo>
                      <a:pt x="169" y="251"/>
                    </a:lnTo>
                    <a:lnTo>
                      <a:pt x="169" y="237"/>
                    </a:lnTo>
                    <a:lnTo>
                      <a:pt x="169" y="222"/>
                    </a:lnTo>
                    <a:lnTo>
                      <a:pt x="169" y="208"/>
                    </a:lnTo>
                    <a:lnTo>
                      <a:pt x="169" y="194"/>
                    </a:lnTo>
                    <a:lnTo>
                      <a:pt x="174" y="183"/>
                    </a:lnTo>
                    <a:lnTo>
                      <a:pt x="174" y="171"/>
                    </a:lnTo>
                    <a:lnTo>
                      <a:pt x="174" y="160"/>
                    </a:lnTo>
                    <a:lnTo>
                      <a:pt x="174" y="148"/>
                    </a:lnTo>
                    <a:lnTo>
                      <a:pt x="179" y="140"/>
                    </a:lnTo>
                    <a:lnTo>
                      <a:pt x="179" y="131"/>
                    </a:lnTo>
                    <a:lnTo>
                      <a:pt x="179" y="123"/>
                    </a:lnTo>
                    <a:lnTo>
                      <a:pt x="183" y="114"/>
                    </a:lnTo>
                    <a:lnTo>
                      <a:pt x="183" y="106"/>
                    </a:lnTo>
                    <a:lnTo>
                      <a:pt x="183" y="103"/>
                    </a:lnTo>
                    <a:lnTo>
                      <a:pt x="183" y="91"/>
                    </a:lnTo>
                    <a:lnTo>
                      <a:pt x="188" y="89"/>
                    </a:lnTo>
                    <a:lnTo>
                      <a:pt x="188" y="77"/>
                    </a:lnTo>
                    <a:lnTo>
                      <a:pt x="188" y="69"/>
                    </a:lnTo>
                    <a:lnTo>
                      <a:pt x="179" y="60"/>
                    </a:lnTo>
                    <a:lnTo>
                      <a:pt x="174" y="54"/>
                    </a:lnTo>
                    <a:lnTo>
                      <a:pt x="160" y="46"/>
                    </a:lnTo>
                    <a:lnTo>
                      <a:pt x="151" y="40"/>
                    </a:lnTo>
                    <a:lnTo>
                      <a:pt x="137" y="35"/>
                    </a:lnTo>
                    <a:lnTo>
                      <a:pt x="128" y="29"/>
                    </a:lnTo>
                    <a:lnTo>
                      <a:pt x="115" y="20"/>
                    </a:lnTo>
                    <a:lnTo>
                      <a:pt x="101" y="15"/>
                    </a:lnTo>
                    <a:lnTo>
                      <a:pt x="87" y="12"/>
                    </a:lnTo>
                    <a:lnTo>
                      <a:pt x="78" y="9"/>
                    </a:lnTo>
                    <a:lnTo>
                      <a:pt x="60" y="3"/>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4" name="Freeform 98"/>
              <p:cNvSpPr>
                <a:spLocks/>
              </p:cNvSpPr>
              <p:nvPr>
                <p:custDataLst>
                  <p:tags r:id="rId127"/>
                </p:custDataLst>
              </p:nvPr>
            </p:nvSpPr>
            <p:spPr bwMode="gray">
              <a:xfrm>
                <a:off x="3443" y="1961"/>
                <a:ext cx="188" cy="716"/>
              </a:xfrm>
              <a:custGeom>
                <a:avLst/>
                <a:gdLst>
                  <a:gd name="T0" fmla="*/ 190 w 183"/>
                  <a:gd name="T1" fmla="*/ 5 h 783"/>
                  <a:gd name="T2" fmla="*/ 196 w 183"/>
                  <a:gd name="T3" fmla="*/ 14 h 783"/>
                  <a:gd name="T4" fmla="*/ 208 w 183"/>
                  <a:gd name="T5" fmla="*/ 24 h 783"/>
                  <a:gd name="T6" fmla="*/ 208 w 183"/>
                  <a:gd name="T7" fmla="*/ 37 h 783"/>
                  <a:gd name="T8" fmla="*/ 221 w 183"/>
                  <a:gd name="T9" fmla="*/ 51 h 783"/>
                  <a:gd name="T10" fmla="*/ 229 w 183"/>
                  <a:gd name="T11" fmla="*/ 65 h 783"/>
                  <a:gd name="T12" fmla="*/ 234 w 183"/>
                  <a:gd name="T13" fmla="*/ 83 h 783"/>
                  <a:gd name="T14" fmla="*/ 234 w 183"/>
                  <a:gd name="T15" fmla="*/ 100 h 783"/>
                  <a:gd name="T16" fmla="*/ 240 w 183"/>
                  <a:gd name="T17" fmla="*/ 116 h 783"/>
                  <a:gd name="T18" fmla="*/ 246 w 183"/>
                  <a:gd name="T19" fmla="*/ 134 h 783"/>
                  <a:gd name="T20" fmla="*/ 253 w 183"/>
                  <a:gd name="T21" fmla="*/ 152 h 783"/>
                  <a:gd name="T22" fmla="*/ 253 w 183"/>
                  <a:gd name="T23" fmla="*/ 167 h 783"/>
                  <a:gd name="T24" fmla="*/ 253 w 183"/>
                  <a:gd name="T25" fmla="*/ 183 h 783"/>
                  <a:gd name="T26" fmla="*/ 253 w 183"/>
                  <a:gd name="T27" fmla="*/ 199 h 783"/>
                  <a:gd name="T28" fmla="*/ 253 w 183"/>
                  <a:gd name="T29" fmla="*/ 214 h 783"/>
                  <a:gd name="T30" fmla="*/ 253 w 183"/>
                  <a:gd name="T31" fmla="*/ 229 h 783"/>
                  <a:gd name="T32" fmla="*/ 253 w 183"/>
                  <a:gd name="T33" fmla="*/ 240 h 783"/>
                  <a:gd name="T34" fmla="*/ 253 w 183"/>
                  <a:gd name="T35" fmla="*/ 250 h 783"/>
                  <a:gd name="T36" fmla="*/ 253 w 183"/>
                  <a:gd name="T37" fmla="*/ 257 h 783"/>
                  <a:gd name="T38" fmla="*/ 246 w 183"/>
                  <a:gd name="T39" fmla="*/ 264 h 783"/>
                  <a:gd name="T40" fmla="*/ 240 w 183"/>
                  <a:gd name="T41" fmla="*/ 268 h 783"/>
                  <a:gd name="T42" fmla="*/ 177 w 183"/>
                  <a:gd name="T43" fmla="*/ 265 h 783"/>
                  <a:gd name="T44" fmla="*/ 107 w 183"/>
                  <a:gd name="T45" fmla="*/ 265 h 783"/>
                  <a:gd name="T46" fmla="*/ 88 w 183"/>
                  <a:gd name="T47" fmla="*/ 265 h 783"/>
                  <a:gd name="T48" fmla="*/ 88 w 183"/>
                  <a:gd name="T49" fmla="*/ 258 h 783"/>
                  <a:gd name="T50" fmla="*/ 88 w 183"/>
                  <a:gd name="T51" fmla="*/ 250 h 783"/>
                  <a:gd name="T52" fmla="*/ 88 w 183"/>
                  <a:gd name="T53" fmla="*/ 242 h 783"/>
                  <a:gd name="T54" fmla="*/ 83 w 183"/>
                  <a:gd name="T55" fmla="*/ 233 h 783"/>
                  <a:gd name="T56" fmla="*/ 83 w 183"/>
                  <a:gd name="T57" fmla="*/ 220 h 783"/>
                  <a:gd name="T58" fmla="*/ 83 w 183"/>
                  <a:gd name="T59" fmla="*/ 209 h 783"/>
                  <a:gd name="T60" fmla="*/ 79 w 183"/>
                  <a:gd name="T61" fmla="*/ 196 h 783"/>
                  <a:gd name="T62" fmla="*/ 69 w 183"/>
                  <a:gd name="T63" fmla="*/ 181 h 783"/>
                  <a:gd name="T64" fmla="*/ 69 w 183"/>
                  <a:gd name="T65" fmla="*/ 167 h 783"/>
                  <a:gd name="T66" fmla="*/ 69 w 183"/>
                  <a:gd name="T67" fmla="*/ 153 h 783"/>
                  <a:gd name="T68" fmla="*/ 61 w 183"/>
                  <a:gd name="T69" fmla="*/ 139 h 783"/>
                  <a:gd name="T70" fmla="*/ 61 w 183"/>
                  <a:gd name="T71" fmla="*/ 126 h 783"/>
                  <a:gd name="T72" fmla="*/ 61 w 183"/>
                  <a:gd name="T73" fmla="*/ 112 h 783"/>
                  <a:gd name="T74" fmla="*/ 61 w 183"/>
                  <a:gd name="T75" fmla="*/ 100 h 783"/>
                  <a:gd name="T76" fmla="*/ 61 w 183"/>
                  <a:gd name="T77" fmla="*/ 87 h 783"/>
                  <a:gd name="T78" fmla="*/ 61 w 183"/>
                  <a:gd name="T79" fmla="*/ 78 h 783"/>
                  <a:gd name="T80" fmla="*/ 61 w 183"/>
                  <a:gd name="T81" fmla="*/ 68 h 783"/>
                  <a:gd name="T82" fmla="*/ 61 w 183"/>
                  <a:gd name="T83" fmla="*/ 59 h 783"/>
                  <a:gd name="T84" fmla="*/ 61 w 183"/>
                  <a:gd name="T85" fmla="*/ 53 h 783"/>
                  <a:gd name="T86" fmla="*/ 53 w 183"/>
                  <a:gd name="T87" fmla="*/ 45 h 783"/>
                  <a:gd name="T88" fmla="*/ 49 w 183"/>
                  <a:gd name="T89" fmla="*/ 34 h 783"/>
                  <a:gd name="T90" fmla="*/ 39 w 183"/>
                  <a:gd name="T91" fmla="*/ 24 h 783"/>
                  <a:gd name="T92" fmla="*/ 14 w 183"/>
                  <a:gd name="T93" fmla="*/ 16 h 783"/>
                  <a:gd name="T94" fmla="*/ 0 w 183"/>
                  <a:gd name="T95" fmla="*/ 11 h 783"/>
                  <a:gd name="T96" fmla="*/ 185 w 183"/>
                  <a:gd name="T97" fmla="*/ 0 h 7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
                  <a:gd name="T148" fmla="*/ 0 h 783"/>
                  <a:gd name="T149" fmla="*/ 183 w 183"/>
                  <a:gd name="T150" fmla="*/ 783 h 7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 h="783">
                    <a:moveTo>
                      <a:pt x="133" y="0"/>
                    </a:moveTo>
                    <a:lnTo>
                      <a:pt x="133" y="5"/>
                    </a:lnTo>
                    <a:lnTo>
                      <a:pt x="137" y="11"/>
                    </a:lnTo>
                    <a:lnTo>
                      <a:pt x="137" y="20"/>
                    </a:lnTo>
                    <a:lnTo>
                      <a:pt x="142" y="28"/>
                    </a:lnTo>
                    <a:lnTo>
                      <a:pt x="142" y="39"/>
                    </a:lnTo>
                    <a:lnTo>
                      <a:pt x="146" y="48"/>
                    </a:lnTo>
                    <a:lnTo>
                      <a:pt x="146" y="59"/>
                    </a:lnTo>
                    <a:lnTo>
                      <a:pt x="151" y="71"/>
                    </a:lnTo>
                    <a:lnTo>
                      <a:pt x="151" y="82"/>
                    </a:lnTo>
                    <a:lnTo>
                      <a:pt x="151" y="94"/>
                    </a:lnTo>
                    <a:lnTo>
                      <a:pt x="151" y="108"/>
                    </a:lnTo>
                    <a:lnTo>
                      <a:pt x="155" y="122"/>
                    </a:lnTo>
                    <a:lnTo>
                      <a:pt x="155" y="136"/>
                    </a:lnTo>
                    <a:lnTo>
                      <a:pt x="160" y="151"/>
                    </a:lnTo>
                    <a:lnTo>
                      <a:pt x="160" y="165"/>
                    </a:lnTo>
                    <a:lnTo>
                      <a:pt x="165" y="179"/>
                    </a:lnTo>
                    <a:lnTo>
                      <a:pt x="165" y="193"/>
                    </a:lnTo>
                    <a:lnTo>
                      <a:pt x="165" y="207"/>
                    </a:lnTo>
                    <a:lnTo>
                      <a:pt x="169" y="225"/>
                    </a:lnTo>
                    <a:lnTo>
                      <a:pt x="169" y="242"/>
                    </a:lnTo>
                    <a:lnTo>
                      <a:pt x="169" y="256"/>
                    </a:lnTo>
                    <a:lnTo>
                      <a:pt x="169" y="273"/>
                    </a:lnTo>
                    <a:lnTo>
                      <a:pt x="169" y="290"/>
                    </a:lnTo>
                    <a:lnTo>
                      <a:pt x="174" y="307"/>
                    </a:lnTo>
                    <a:lnTo>
                      <a:pt x="174" y="324"/>
                    </a:lnTo>
                    <a:lnTo>
                      <a:pt x="174" y="338"/>
                    </a:lnTo>
                    <a:lnTo>
                      <a:pt x="174" y="356"/>
                    </a:lnTo>
                    <a:lnTo>
                      <a:pt x="178" y="373"/>
                    </a:lnTo>
                    <a:lnTo>
                      <a:pt x="178" y="390"/>
                    </a:lnTo>
                    <a:lnTo>
                      <a:pt x="178" y="407"/>
                    </a:lnTo>
                    <a:lnTo>
                      <a:pt x="183" y="424"/>
                    </a:lnTo>
                    <a:lnTo>
                      <a:pt x="183" y="444"/>
                    </a:lnTo>
                    <a:lnTo>
                      <a:pt x="183" y="458"/>
                    </a:lnTo>
                    <a:lnTo>
                      <a:pt x="183" y="475"/>
                    </a:lnTo>
                    <a:lnTo>
                      <a:pt x="183" y="489"/>
                    </a:lnTo>
                    <a:lnTo>
                      <a:pt x="183" y="509"/>
                    </a:lnTo>
                    <a:lnTo>
                      <a:pt x="183" y="521"/>
                    </a:lnTo>
                    <a:lnTo>
                      <a:pt x="183" y="538"/>
                    </a:lnTo>
                    <a:lnTo>
                      <a:pt x="183" y="555"/>
                    </a:lnTo>
                    <a:lnTo>
                      <a:pt x="183" y="569"/>
                    </a:lnTo>
                    <a:lnTo>
                      <a:pt x="183" y="583"/>
                    </a:lnTo>
                    <a:lnTo>
                      <a:pt x="183" y="598"/>
                    </a:lnTo>
                    <a:lnTo>
                      <a:pt x="183" y="612"/>
                    </a:lnTo>
                    <a:lnTo>
                      <a:pt x="183" y="626"/>
                    </a:lnTo>
                    <a:lnTo>
                      <a:pt x="183" y="637"/>
                    </a:lnTo>
                    <a:lnTo>
                      <a:pt x="183" y="655"/>
                    </a:lnTo>
                    <a:lnTo>
                      <a:pt x="183" y="666"/>
                    </a:lnTo>
                    <a:lnTo>
                      <a:pt x="183" y="680"/>
                    </a:lnTo>
                    <a:lnTo>
                      <a:pt x="183" y="689"/>
                    </a:lnTo>
                    <a:lnTo>
                      <a:pt x="183" y="700"/>
                    </a:lnTo>
                    <a:lnTo>
                      <a:pt x="183" y="709"/>
                    </a:lnTo>
                    <a:lnTo>
                      <a:pt x="183" y="720"/>
                    </a:lnTo>
                    <a:lnTo>
                      <a:pt x="183" y="729"/>
                    </a:lnTo>
                    <a:lnTo>
                      <a:pt x="183" y="737"/>
                    </a:lnTo>
                    <a:lnTo>
                      <a:pt x="183" y="746"/>
                    </a:lnTo>
                    <a:lnTo>
                      <a:pt x="183" y="751"/>
                    </a:lnTo>
                    <a:lnTo>
                      <a:pt x="178" y="760"/>
                    </a:lnTo>
                    <a:lnTo>
                      <a:pt x="178" y="766"/>
                    </a:lnTo>
                    <a:lnTo>
                      <a:pt x="178" y="771"/>
                    </a:lnTo>
                    <a:lnTo>
                      <a:pt x="178" y="774"/>
                    </a:lnTo>
                    <a:lnTo>
                      <a:pt x="174" y="780"/>
                    </a:lnTo>
                    <a:lnTo>
                      <a:pt x="174" y="783"/>
                    </a:lnTo>
                    <a:lnTo>
                      <a:pt x="165" y="780"/>
                    </a:lnTo>
                    <a:lnTo>
                      <a:pt x="151" y="780"/>
                    </a:lnTo>
                    <a:lnTo>
                      <a:pt x="128" y="780"/>
                    </a:lnTo>
                    <a:lnTo>
                      <a:pt x="110" y="780"/>
                    </a:lnTo>
                    <a:lnTo>
                      <a:pt x="96" y="777"/>
                    </a:lnTo>
                    <a:lnTo>
                      <a:pt x="78" y="777"/>
                    </a:lnTo>
                    <a:lnTo>
                      <a:pt x="69" y="777"/>
                    </a:lnTo>
                    <a:lnTo>
                      <a:pt x="64" y="777"/>
                    </a:lnTo>
                    <a:lnTo>
                      <a:pt x="64" y="771"/>
                    </a:lnTo>
                    <a:lnTo>
                      <a:pt x="64" y="763"/>
                    </a:lnTo>
                    <a:lnTo>
                      <a:pt x="64" y="754"/>
                    </a:lnTo>
                    <a:lnTo>
                      <a:pt x="64" y="749"/>
                    </a:lnTo>
                    <a:lnTo>
                      <a:pt x="64" y="740"/>
                    </a:lnTo>
                    <a:lnTo>
                      <a:pt x="64" y="734"/>
                    </a:lnTo>
                    <a:lnTo>
                      <a:pt x="64" y="726"/>
                    </a:lnTo>
                    <a:lnTo>
                      <a:pt x="64" y="714"/>
                    </a:lnTo>
                    <a:lnTo>
                      <a:pt x="64" y="709"/>
                    </a:lnTo>
                    <a:lnTo>
                      <a:pt x="64" y="700"/>
                    </a:lnTo>
                    <a:lnTo>
                      <a:pt x="64" y="692"/>
                    </a:lnTo>
                    <a:lnTo>
                      <a:pt x="59" y="680"/>
                    </a:lnTo>
                    <a:lnTo>
                      <a:pt x="59" y="669"/>
                    </a:lnTo>
                    <a:lnTo>
                      <a:pt x="59" y="657"/>
                    </a:lnTo>
                    <a:lnTo>
                      <a:pt x="59" y="646"/>
                    </a:lnTo>
                    <a:lnTo>
                      <a:pt x="59" y="632"/>
                    </a:lnTo>
                    <a:lnTo>
                      <a:pt x="59" y="620"/>
                    </a:lnTo>
                    <a:lnTo>
                      <a:pt x="59" y="609"/>
                    </a:lnTo>
                    <a:lnTo>
                      <a:pt x="59" y="598"/>
                    </a:lnTo>
                    <a:lnTo>
                      <a:pt x="55" y="583"/>
                    </a:lnTo>
                    <a:lnTo>
                      <a:pt x="55" y="572"/>
                    </a:lnTo>
                    <a:lnTo>
                      <a:pt x="50" y="558"/>
                    </a:lnTo>
                    <a:lnTo>
                      <a:pt x="50" y="543"/>
                    </a:lnTo>
                    <a:lnTo>
                      <a:pt x="50" y="529"/>
                    </a:lnTo>
                    <a:lnTo>
                      <a:pt x="50" y="521"/>
                    </a:lnTo>
                    <a:lnTo>
                      <a:pt x="50" y="506"/>
                    </a:lnTo>
                    <a:lnTo>
                      <a:pt x="50" y="492"/>
                    </a:lnTo>
                    <a:lnTo>
                      <a:pt x="50" y="478"/>
                    </a:lnTo>
                    <a:lnTo>
                      <a:pt x="50" y="464"/>
                    </a:lnTo>
                    <a:lnTo>
                      <a:pt x="50" y="450"/>
                    </a:lnTo>
                    <a:lnTo>
                      <a:pt x="50" y="435"/>
                    </a:lnTo>
                    <a:lnTo>
                      <a:pt x="46" y="421"/>
                    </a:lnTo>
                    <a:lnTo>
                      <a:pt x="46" y="407"/>
                    </a:lnTo>
                    <a:lnTo>
                      <a:pt x="46" y="393"/>
                    </a:lnTo>
                    <a:lnTo>
                      <a:pt x="46" y="381"/>
                    </a:lnTo>
                    <a:lnTo>
                      <a:pt x="46" y="367"/>
                    </a:lnTo>
                    <a:lnTo>
                      <a:pt x="46" y="353"/>
                    </a:lnTo>
                    <a:lnTo>
                      <a:pt x="46" y="338"/>
                    </a:lnTo>
                    <a:lnTo>
                      <a:pt x="46" y="327"/>
                    </a:lnTo>
                    <a:lnTo>
                      <a:pt x="46" y="313"/>
                    </a:lnTo>
                    <a:lnTo>
                      <a:pt x="46" y="301"/>
                    </a:lnTo>
                    <a:lnTo>
                      <a:pt x="46" y="290"/>
                    </a:lnTo>
                    <a:lnTo>
                      <a:pt x="46" y="279"/>
                    </a:lnTo>
                    <a:lnTo>
                      <a:pt x="46" y="267"/>
                    </a:lnTo>
                    <a:lnTo>
                      <a:pt x="46" y="256"/>
                    </a:lnTo>
                    <a:lnTo>
                      <a:pt x="46" y="244"/>
                    </a:lnTo>
                    <a:lnTo>
                      <a:pt x="46" y="233"/>
                    </a:lnTo>
                    <a:lnTo>
                      <a:pt x="46" y="225"/>
                    </a:lnTo>
                    <a:lnTo>
                      <a:pt x="46" y="213"/>
                    </a:lnTo>
                    <a:lnTo>
                      <a:pt x="46" y="207"/>
                    </a:lnTo>
                    <a:lnTo>
                      <a:pt x="46" y="199"/>
                    </a:lnTo>
                    <a:lnTo>
                      <a:pt x="46" y="188"/>
                    </a:lnTo>
                    <a:lnTo>
                      <a:pt x="46" y="182"/>
                    </a:lnTo>
                    <a:lnTo>
                      <a:pt x="46" y="176"/>
                    </a:lnTo>
                    <a:lnTo>
                      <a:pt x="46" y="170"/>
                    </a:lnTo>
                    <a:lnTo>
                      <a:pt x="46" y="159"/>
                    </a:lnTo>
                    <a:lnTo>
                      <a:pt x="46" y="153"/>
                    </a:lnTo>
                    <a:lnTo>
                      <a:pt x="41" y="145"/>
                    </a:lnTo>
                    <a:lnTo>
                      <a:pt x="41" y="136"/>
                    </a:lnTo>
                    <a:lnTo>
                      <a:pt x="41" y="131"/>
                    </a:lnTo>
                    <a:lnTo>
                      <a:pt x="41" y="125"/>
                    </a:lnTo>
                    <a:lnTo>
                      <a:pt x="41" y="113"/>
                    </a:lnTo>
                    <a:lnTo>
                      <a:pt x="37" y="102"/>
                    </a:lnTo>
                    <a:lnTo>
                      <a:pt x="32" y="91"/>
                    </a:lnTo>
                    <a:lnTo>
                      <a:pt x="27" y="79"/>
                    </a:lnTo>
                    <a:lnTo>
                      <a:pt x="27" y="71"/>
                    </a:lnTo>
                    <a:lnTo>
                      <a:pt x="23" y="62"/>
                    </a:lnTo>
                    <a:lnTo>
                      <a:pt x="18" y="54"/>
                    </a:lnTo>
                    <a:lnTo>
                      <a:pt x="14" y="48"/>
                    </a:lnTo>
                    <a:lnTo>
                      <a:pt x="9" y="39"/>
                    </a:lnTo>
                    <a:lnTo>
                      <a:pt x="5" y="37"/>
                    </a:lnTo>
                    <a:lnTo>
                      <a:pt x="0" y="31"/>
                    </a:lnTo>
                    <a:lnTo>
                      <a:pt x="0" y="28"/>
                    </a:lnTo>
                    <a:lnTo>
                      <a:pt x="13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5" name="Freeform 99"/>
              <p:cNvSpPr>
                <a:spLocks/>
              </p:cNvSpPr>
              <p:nvPr>
                <p:custDataLst>
                  <p:tags r:id="rId128"/>
                </p:custDataLst>
              </p:nvPr>
            </p:nvSpPr>
            <p:spPr bwMode="gray">
              <a:xfrm>
                <a:off x="1495" y="2448"/>
                <a:ext cx="168" cy="93"/>
              </a:xfrm>
              <a:custGeom>
                <a:avLst/>
                <a:gdLst>
                  <a:gd name="T0" fmla="*/ 44 w 164"/>
                  <a:gd name="T1" fmla="*/ 3 h 103"/>
                  <a:gd name="T2" fmla="*/ 35 w 164"/>
                  <a:gd name="T3" fmla="*/ 5 h 103"/>
                  <a:gd name="T4" fmla="*/ 14 w 164"/>
                  <a:gd name="T5" fmla="*/ 7 h 103"/>
                  <a:gd name="T6" fmla="*/ 9 w 164"/>
                  <a:gd name="T7" fmla="*/ 10 h 103"/>
                  <a:gd name="T8" fmla="*/ 4 w 164"/>
                  <a:gd name="T9" fmla="*/ 12 h 103"/>
                  <a:gd name="T10" fmla="*/ 0 w 164"/>
                  <a:gd name="T11" fmla="*/ 14 h 103"/>
                  <a:gd name="T12" fmla="*/ 0 w 164"/>
                  <a:gd name="T13" fmla="*/ 15 h 103"/>
                  <a:gd name="T14" fmla="*/ 0 w 164"/>
                  <a:gd name="T15" fmla="*/ 17 h 103"/>
                  <a:gd name="T16" fmla="*/ 4 w 164"/>
                  <a:gd name="T17" fmla="*/ 20 h 103"/>
                  <a:gd name="T18" fmla="*/ 4 w 164"/>
                  <a:gd name="T19" fmla="*/ 22 h 103"/>
                  <a:gd name="T20" fmla="*/ 14 w 164"/>
                  <a:gd name="T21" fmla="*/ 25 h 103"/>
                  <a:gd name="T22" fmla="*/ 35 w 164"/>
                  <a:gd name="T23" fmla="*/ 27 h 103"/>
                  <a:gd name="T24" fmla="*/ 44 w 164"/>
                  <a:gd name="T25" fmla="*/ 28 h 103"/>
                  <a:gd name="T26" fmla="*/ 58 w 164"/>
                  <a:gd name="T27" fmla="*/ 30 h 103"/>
                  <a:gd name="T28" fmla="*/ 80 w 164"/>
                  <a:gd name="T29" fmla="*/ 30 h 103"/>
                  <a:gd name="T30" fmla="*/ 97 w 164"/>
                  <a:gd name="T31" fmla="*/ 30 h 103"/>
                  <a:gd name="T32" fmla="*/ 121 w 164"/>
                  <a:gd name="T33" fmla="*/ 31 h 103"/>
                  <a:gd name="T34" fmla="*/ 141 w 164"/>
                  <a:gd name="T35" fmla="*/ 30 h 103"/>
                  <a:gd name="T36" fmla="*/ 152 w 164"/>
                  <a:gd name="T37" fmla="*/ 30 h 103"/>
                  <a:gd name="T38" fmla="*/ 164 w 164"/>
                  <a:gd name="T39" fmla="*/ 28 h 103"/>
                  <a:gd name="T40" fmla="*/ 182 w 164"/>
                  <a:gd name="T41" fmla="*/ 28 h 103"/>
                  <a:gd name="T42" fmla="*/ 202 w 164"/>
                  <a:gd name="T43" fmla="*/ 25 h 103"/>
                  <a:gd name="T44" fmla="*/ 207 w 164"/>
                  <a:gd name="T45" fmla="*/ 22 h 103"/>
                  <a:gd name="T46" fmla="*/ 213 w 164"/>
                  <a:gd name="T47" fmla="*/ 20 h 103"/>
                  <a:gd name="T48" fmla="*/ 218 w 164"/>
                  <a:gd name="T49" fmla="*/ 17 h 103"/>
                  <a:gd name="T50" fmla="*/ 213 w 164"/>
                  <a:gd name="T51" fmla="*/ 14 h 103"/>
                  <a:gd name="T52" fmla="*/ 213 w 164"/>
                  <a:gd name="T53" fmla="*/ 11 h 103"/>
                  <a:gd name="T54" fmla="*/ 207 w 164"/>
                  <a:gd name="T55" fmla="*/ 8 h 103"/>
                  <a:gd name="T56" fmla="*/ 202 w 164"/>
                  <a:gd name="T57" fmla="*/ 5 h 103"/>
                  <a:gd name="T58" fmla="*/ 182 w 164"/>
                  <a:gd name="T59" fmla="*/ 5 h 103"/>
                  <a:gd name="T60" fmla="*/ 158 w 164"/>
                  <a:gd name="T61" fmla="*/ 5 h 103"/>
                  <a:gd name="T62" fmla="*/ 146 w 164"/>
                  <a:gd name="T63" fmla="*/ 5 h 103"/>
                  <a:gd name="T64" fmla="*/ 134 w 164"/>
                  <a:gd name="T65" fmla="*/ 3 h 103"/>
                  <a:gd name="T66" fmla="*/ 121 w 164"/>
                  <a:gd name="T67" fmla="*/ 3 h 103"/>
                  <a:gd name="T68" fmla="*/ 107 w 164"/>
                  <a:gd name="T69" fmla="*/ 3 h 103"/>
                  <a:gd name="T70" fmla="*/ 80 w 164"/>
                  <a:gd name="T71" fmla="*/ 0 h 103"/>
                  <a:gd name="T72" fmla="*/ 58 w 164"/>
                  <a:gd name="T73" fmla="*/ 0 h 103"/>
                  <a:gd name="T74" fmla="*/ 48 w 164"/>
                  <a:gd name="T75" fmla="*/ 0 h 103"/>
                  <a:gd name="T76" fmla="*/ 44 w 164"/>
                  <a:gd name="T77" fmla="*/ 3 h 103"/>
                  <a:gd name="T78" fmla="*/ 44 w 164"/>
                  <a:gd name="T79" fmla="*/ 3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103"/>
                  <a:gd name="T122" fmla="*/ 164 w 164"/>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103">
                    <a:moveTo>
                      <a:pt x="32" y="3"/>
                    </a:moveTo>
                    <a:lnTo>
                      <a:pt x="23" y="11"/>
                    </a:lnTo>
                    <a:lnTo>
                      <a:pt x="14" y="23"/>
                    </a:lnTo>
                    <a:lnTo>
                      <a:pt x="9" y="31"/>
                    </a:lnTo>
                    <a:lnTo>
                      <a:pt x="4" y="40"/>
                    </a:lnTo>
                    <a:lnTo>
                      <a:pt x="0" y="46"/>
                    </a:lnTo>
                    <a:lnTo>
                      <a:pt x="0" y="51"/>
                    </a:lnTo>
                    <a:lnTo>
                      <a:pt x="0" y="57"/>
                    </a:lnTo>
                    <a:lnTo>
                      <a:pt x="4" y="66"/>
                    </a:lnTo>
                    <a:lnTo>
                      <a:pt x="4" y="74"/>
                    </a:lnTo>
                    <a:lnTo>
                      <a:pt x="14" y="86"/>
                    </a:lnTo>
                    <a:lnTo>
                      <a:pt x="23" y="91"/>
                    </a:lnTo>
                    <a:lnTo>
                      <a:pt x="32" y="97"/>
                    </a:lnTo>
                    <a:lnTo>
                      <a:pt x="46" y="100"/>
                    </a:lnTo>
                    <a:lnTo>
                      <a:pt x="59" y="100"/>
                    </a:lnTo>
                    <a:lnTo>
                      <a:pt x="73" y="100"/>
                    </a:lnTo>
                    <a:lnTo>
                      <a:pt x="91" y="103"/>
                    </a:lnTo>
                    <a:lnTo>
                      <a:pt x="105" y="100"/>
                    </a:lnTo>
                    <a:lnTo>
                      <a:pt x="114" y="100"/>
                    </a:lnTo>
                    <a:lnTo>
                      <a:pt x="123" y="94"/>
                    </a:lnTo>
                    <a:lnTo>
                      <a:pt x="137" y="94"/>
                    </a:lnTo>
                    <a:lnTo>
                      <a:pt x="151" y="86"/>
                    </a:lnTo>
                    <a:lnTo>
                      <a:pt x="155" y="74"/>
                    </a:lnTo>
                    <a:lnTo>
                      <a:pt x="160" y="66"/>
                    </a:lnTo>
                    <a:lnTo>
                      <a:pt x="164" y="57"/>
                    </a:lnTo>
                    <a:lnTo>
                      <a:pt x="160" y="46"/>
                    </a:lnTo>
                    <a:lnTo>
                      <a:pt x="160" y="34"/>
                    </a:lnTo>
                    <a:lnTo>
                      <a:pt x="155" y="26"/>
                    </a:lnTo>
                    <a:lnTo>
                      <a:pt x="151" y="20"/>
                    </a:lnTo>
                    <a:lnTo>
                      <a:pt x="137" y="9"/>
                    </a:lnTo>
                    <a:lnTo>
                      <a:pt x="119" y="9"/>
                    </a:lnTo>
                    <a:lnTo>
                      <a:pt x="110" y="6"/>
                    </a:lnTo>
                    <a:lnTo>
                      <a:pt x="100" y="3"/>
                    </a:lnTo>
                    <a:lnTo>
                      <a:pt x="91" y="3"/>
                    </a:lnTo>
                    <a:lnTo>
                      <a:pt x="82" y="3"/>
                    </a:lnTo>
                    <a:lnTo>
                      <a:pt x="59" y="0"/>
                    </a:lnTo>
                    <a:lnTo>
                      <a:pt x="46" y="0"/>
                    </a:lnTo>
                    <a:lnTo>
                      <a:pt x="36"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6" name="Freeform 100"/>
              <p:cNvSpPr>
                <a:spLocks/>
              </p:cNvSpPr>
              <p:nvPr>
                <p:custDataLst>
                  <p:tags r:id="rId129"/>
                </p:custDataLst>
              </p:nvPr>
            </p:nvSpPr>
            <p:spPr bwMode="gray">
              <a:xfrm>
                <a:off x="1382" y="1589"/>
                <a:ext cx="1064" cy="63"/>
              </a:xfrm>
              <a:custGeom>
                <a:avLst/>
                <a:gdLst>
                  <a:gd name="T0" fmla="*/ 116 w 1038"/>
                  <a:gd name="T1" fmla="*/ 5 h 69"/>
                  <a:gd name="T2" fmla="*/ 192 w 1038"/>
                  <a:gd name="T3" fmla="*/ 5 h 69"/>
                  <a:gd name="T4" fmla="*/ 270 w 1038"/>
                  <a:gd name="T5" fmla="*/ 5 h 69"/>
                  <a:gd name="T6" fmla="*/ 352 w 1038"/>
                  <a:gd name="T7" fmla="*/ 5 h 69"/>
                  <a:gd name="T8" fmla="*/ 437 w 1038"/>
                  <a:gd name="T9" fmla="*/ 8 h 69"/>
                  <a:gd name="T10" fmla="*/ 523 w 1038"/>
                  <a:gd name="T11" fmla="*/ 9 h 69"/>
                  <a:gd name="T12" fmla="*/ 611 w 1038"/>
                  <a:gd name="T13" fmla="*/ 10 h 69"/>
                  <a:gd name="T14" fmla="*/ 696 w 1038"/>
                  <a:gd name="T15" fmla="*/ 12 h 69"/>
                  <a:gd name="T16" fmla="*/ 782 w 1038"/>
                  <a:gd name="T17" fmla="*/ 12 h 69"/>
                  <a:gd name="T18" fmla="*/ 862 w 1038"/>
                  <a:gd name="T19" fmla="*/ 13 h 69"/>
                  <a:gd name="T20" fmla="*/ 947 w 1038"/>
                  <a:gd name="T21" fmla="*/ 15 h 69"/>
                  <a:gd name="T22" fmla="*/ 1014 w 1038"/>
                  <a:gd name="T23" fmla="*/ 15 h 69"/>
                  <a:gd name="T24" fmla="*/ 1088 w 1038"/>
                  <a:gd name="T25" fmla="*/ 15 h 69"/>
                  <a:gd name="T26" fmla="*/ 1157 w 1038"/>
                  <a:gd name="T27" fmla="*/ 15 h 69"/>
                  <a:gd name="T28" fmla="*/ 1218 w 1038"/>
                  <a:gd name="T29" fmla="*/ 16 h 69"/>
                  <a:gd name="T30" fmla="*/ 1267 w 1038"/>
                  <a:gd name="T31" fmla="*/ 16 h 69"/>
                  <a:gd name="T32" fmla="*/ 1310 w 1038"/>
                  <a:gd name="T33" fmla="*/ 16 h 69"/>
                  <a:gd name="T34" fmla="*/ 1359 w 1038"/>
                  <a:gd name="T35" fmla="*/ 16 h 69"/>
                  <a:gd name="T36" fmla="*/ 1396 w 1038"/>
                  <a:gd name="T37" fmla="*/ 18 h 69"/>
                  <a:gd name="T38" fmla="*/ 1383 w 1038"/>
                  <a:gd name="T39" fmla="*/ 18 h 69"/>
                  <a:gd name="T40" fmla="*/ 1335 w 1038"/>
                  <a:gd name="T41" fmla="*/ 18 h 69"/>
                  <a:gd name="T42" fmla="*/ 1280 w 1038"/>
                  <a:gd name="T43" fmla="*/ 19 h 69"/>
                  <a:gd name="T44" fmla="*/ 1199 w 1038"/>
                  <a:gd name="T45" fmla="*/ 20 h 69"/>
                  <a:gd name="T46" fmla="*/ 1143 w 1038"/>
                  <a:gd name="T47" fmla="*/ 20 h 69"/>
                  <a:gd name="T48" fmla="*/ 1101 w 1038"/>
                  <a:gd name="T49" fmla="*/ 20 h 69"/>
                  <a:gd name="T50" fmla="*/ 1053 w 1038"/>
                  <a:gd name="T51" fmla="*/ 22 h 69"/>
                  <a:gd name="T52" fmla="*/ 1004 w 1038"/>
                  <a:gd name="T53" fmla="*/ 22 h 69"/>
                  <a:gd name="T54" fmla="*/ 955 w 1038"/>
                  <a:gd name="T55" fmla="*/ 22 h 69"/>
                  <a:gd name="T56" fmla="*/ 897 w 1038"/>
                  <a:gd name="T57" fmla="*/ 24 h 69"/>
                  <a:gd name="T58" fmla="*/ 849 w 1038"/>
                  <a:gd name="T59" fmla="*/ 24 h 69"/>
                  <a:gd name="T60" fmla="*/ 800 w 1038"/>
                  <a:gd name="T61" fmla="*/ 24 h 69"/>
                  <a:gd name="T62" fmla="*/ 756 w 1038"/>
                  <a:gd name="T63" fmla="*/ 24 h 69"/>
                  <a:gd name="T64" fmla="*/ 708 w 1038"/>
                  <a:gd name="T65" fmla="*/ 24 h 69"/>
                  <a:gd name="T66" fmla="*/ 659 w 1038"/>
                  <a:gd name="T67" fmla="*/ 24 h 69"/>
                  <a:gd name="T68" fmla="*/ 615 w 1038"/>
                  <a:gd name="T69" fmla="*/ 22 h 69"/>
                  <a:gd name="T70" fmla="*/ 547 w 1038"/>
                  <a:gd name="T71" fmla="*/ 22 h 69"/>
                  <a:gd name="T72" fmla="*/ 504 w 1038"/>
                  <a:gd name="T73" fmla="*/ 20 h 69"/>
                  <a:gd name="T74" fmla="*/ 437 w 1038"/>
                  <a:gd name="T75" fmla="*/ 20 h 69"/>
                  <a:gd name="T76" fmla="*/ 363 w 1038"/>
                  <a:gd name="T77" fmla="*/ 18 h 69"/>
                  <a:gd name="T78" fmla="*/ 290 w 1038"/>
                  <a:gd name="T79" fmla="*/ 16 h 69"/>
                  <a:gd name="T80" fmla="*/ 221 w 1038"/>
                  <a:gd name="T81" fmla="*/ 15 h 69"/>
                  <a:gd name="T82" fmla="*/ 166 w 1038"/>
                  <a:gd name="T83" fmla="*/ 15 h 69"/>
                  <a:gd name="T84" fmla="*/ 109 w 1038"/>
                  <a:gd name="T85" fmla="*/ 13 h 69"/>
                  <a:gd name="T86" fmla="*/ 64 w 1038"/>
                  <a:gd name="T87" fmla="*/ 12 h 69"/>
                  <a:gd name="T88" fmla="*/ 18 w 1038"/>
                  <a:gd name="T89" fmla="*/ 11 h 69"/>
                  <a:gd name="T90" fmla="*/ 74 w 1038"/>
                  <a:gd name="T91" fmla="*/ 0 h 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8"/>
                  <a:gd name="T139" fmla="*/ 0 h 69"/>
                  <a:gd name="T140" fmla="*/ 1038 w 1038"/>
                  <a:gd name="T141" fmla="*/ 69 h 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8" h="69">
                    <a:moveTo>
                      <a:pt x="55" y="0"/>
                    </a:moveTo>
                    <a:lnTo>
                      <a:pt x="69" y="3"/>
                    </a:lnTo>
                    <a:lnTo>
                      <a:pt x="87" y="6"/>
                    </a:lnTo>
                    <a:lnTo>
                      <a:pt x="105" y="6"/>
                    </a:lnTo>
                    <a:lnTo>
                      <a:pt x="124" y="9"/>
                    </a:lnTo>
                    <a:lnTo>
                      <a:pt x="142" y="9"/>
                    </a:lnTo>
                    <a:lnTo>
                      <a:pt x="160" y="12"/>
                    </a:lnTo>
                    <a:lnTo>
                      <a:pt x="178" y="15"/>
                    </a:lnTo>
                    <a:lnTo>
                      <a:pt x="201" y="15"/>
                    </a:lnTo>
                    <a:lnTo>
                      <a:pt x="220" y="15"/>
                    </a:lnTo>
                    <a:lnTo>
                      <a:pt x="242" y="17"/>
                    </a:lnTo>
                    <a:lnTo>
                      <a:pt x="261" y="17"/>
                    </a:lnTo>
                    <a:lnTo>
                      <a:pt x="284" y="20"/>
                    </a:lnTo>
                    <a:lnTo>
                      <a:pt x="302" y="20"/>
                    </a:lnTo>
                    <a:lnTo>
                      <a:pt x="325" y="23"/>
                    </a:lnTo>
                    <a:lnTo>
                      <a:pt x="348" y="23"/>
                    </a:lnTo>
                    <a:lnTo>
                      <a:pt x="370" y="26"/>
                    </a:lnTo>
                    <a:lnTo>
                      <a:pt x="389" y="26"/>
                    </a:lnTo>
                    <a:lnTo>
                      <a:pt x="407" y="26"/>
                    </a:lnTo>
                    <a:lnTo>
                      <a:pt x="430" y="26"/>
                    </a:lnTo>
                    <a:lnTo>
                      <a:pt x="453" y="29"/>
                    </a:lnTo>
                    <a:lnTo>
                      <a:pt x="471" y="32"/>
                    </a:lnTo>
                    <a:lnTo>
                      <a:pt x="494" y="32"/>
                    </a:lnTo>
                    <a:lnTo>
                      <a:pt x="517" y="35"/>
                    </a:lnTo>
                    <a:lnTo>
                      <a:pt x="539" y="35"/>
                    </a:lnTo>
                    <a:lnTo>
                      <a:pt x="558" y="35"/>
                    </a:lnTo>
                    <a:lnTo>
                      <a:pt x="581" y="35"/>
                    </a:lnTo>
                    <a:lnTo>
                      <a:pt x="599" y="37"/>
                    </a:lnTo>
                    <a:lnTo>
                      <a:pt x="622" y="37"/>
                    </a:lnTo>
                    <a:lnTo>
                      <a:pt x="640" y="37"/>
                    </a:lnTo>
                    <a:lnTo>
                      <a:pt x="658" y="37"/>
                    </a:lnTo>
                    <a:lnTo>
                      <a:pt x="681" y="40"/>
                    </a:lnTo>
                    <a:lnTo>
                      <a:pt x="704" y="43"/>
                    </a:lnTo>
                    <a:lnTo>
                      <a:pt x="718" y="43"/>
                    </a:lnTo>
                    <a:lnTo>
                      <a:pt x="736" y="43"/>
                    </a:lnTo>
                    <a:lnTo>
                      <a:pt x="754" y="43"/>
                    </a:lnTo>
                    <a:lnTo>
                      <a:pt x="773" y="43"/>
                    </a:lnTo>
                    <a:lnTo>
                      <a:pt x="791" y="43"/>
                    </a:lnTo>
                    <a:lnTo>
                      <a:pt x="809" y="43"/>
                    </a:lnTo>
                    <a:lnTo>
                      <a:pt x="827" y="43"/>
                    </a:lnTo>
                    <a:lnTo>
                      <a:pt x="846" y="46"/>
                    </a:lnTo>
                    <a:lnTo>
                      <a:pt x="859" y="46"/>
                    </a:lnTo>
                    <a:lnTo>
                      <a:pt x="873" y="46"/>
                    </a:lnTo>
                    <a:lnTo>
                      <a:pt x="887" y="46"/>
                    </a:lnTo>
                    <a:lnTo>
                      <a:pt x="905" y="49"/>
                    </a:lnTo>
                    <a:lnTo>
                      <a:pt x="914" y="49"/>
                    </a:lnTo>
                    <a:lnTo>
                      <a:pt x="928" y="49"/>
                    </a:lnTo>
                    <a:lnTo>
                      <a:pt x="942" y="49"/>
                    </a:lnTo>
                    <a:lnTo>
                      <a:pt x="955" y="49"/>
                    </a:lnTo>
                    <a:lnTo>
                      <a:pt x="964" y="49"/>
                    </a:lnTo>
                    <a:lnTo>
                      <a:pt x="974" y="49"/>
                    </a:lnTo>
                    <a:lnTo>
                      <a:pt x="987" y="49"/>
                    </a:lnTo>
                    <a:lnTo>
                      <a:pt x="992" y="49"/>
                    </a:lnTo>
                    <a:lnTo>
                      <a:pt x="1010" y="49"/>
                    </a:lnTo>
                    <a:lnTo>
                      <a:pt x="1028" y="52"/>
                    </a:lnTo>
                    <a:lnTo>
                      <a:pt x="1033" y="52"/>
                    </a:lnTo>
                    <a:lnTo>
                      <a:pt x="1038" y="54"/>
                    </a:lnTo>
                    <a:lnTo>
                      <a:pt x="1033" y="54"/>
                    </a:lnTo>
                    <a:lnTo>
                      <a:pt x="1028" y="54"/>
                    </a:lnTo>
                    <a:lnTo>
                      <a:pt x="1015" y="54"/>
                    </a:lnTo>
                    <a:lnTo>
                      <a:pt x="1006" y="54"/>
                    </a:lnTo>
                    <a:lnTo>
                      <a:pt x="992" y="54"/>
                    </a:lnTo>
                    <a:lnTo>
                      <a:pt x="978" y="54"/>
                    </a:lnTo>
                    <a:lnTo>
                      <a:pt x="964" y="57"/>
                    </a:lnTo>
                    <a:lnTo>
                      <a:pt x="951" y="57"/>
                    </a:lnTo>
                    <a:lnTo>
                      <a:pt x="932" y="57"/>
                    </a:lnTo>
                    <a:lnTo>
                      <a:pt x="914" y="60"/>
                    </a:lnTo>
                    <a:lnTo>
                      <a:pt x="891" y="60"/>
                    </a:lnTo>
                    <a:lnTo>
                      <a:pt x="873" y="60"/>
                    </a:lnTo>
                    <a:lnTo>
                      <a:pt x="864" y="60"/>
                    </a:lnTo>
                    <a:lnTo>
                      <a:pt x="850" y="60"/>
                    </a:lnTo>
                    <a:lnTo>
                      <a:pt x="837" y="60"/>
                    </a:lnTo>
                    <a:lnTo>
                      <a:pt x="827" y="60"/>
                    </a:lnTo>
                    <a:lnTo>
                      <a:pt x="818" y="60"/>
                    </a:lnTo>
                    <a:lnTo>
                      <a:pt x="805" y="63"/>
                    </a:lnTo>
                    <a:lnTo>
                      <a:pt x="795" y="63"/>
                    </a:lnTo>
                    <a:lnTo>
                      <a:pt x="782" y="66"/>
                    </a:lnTo>
                    <a:lnTo>
                      <a:pt x="773" y="66"/>
                    </a:lnTo>
                    <a:lnTo>
                      <a:pt x="759" y="66"/>
                    </a:lnTo>
                    <a:lnTo>
                      <a:pt x="745" y="66"/>
                    </a:lnTo>
                    <a:lnTo>
                      <a:pt x="736" y="66"/>
                    </a:lnTo>
                    <a:lnTo>
                      <a:pt x="722" y="66"/>
                    </a:lnTo>
                    <a:lnTo>
                      <a:pt x="709" y="66"/>
                    </a:lnTo>
                    <a:lnTo>
                      <a:pt x="695" y="66"/>
                    </a:lnTo>
                    <a:lnTo>
                      <a:pt x="686" y="69"/>
                    </a:lnTo>
                    <a:lnTo>
                      <a:pt x="667" y="69"/>
                    </a:lnTo>
                    <a:lnTo>
                      <a:pt x="658" y="69"/>
                    </a:lnTo>
                    <a:lnTo>
                      <a:pt x="649" y="69"/>
                    </a:lnTo>
                    <a:lnTo>
                      <a:pt x="631" y="69"/>
                    </a:lnTo>
                    <a:lnTo>
                      <a:pt x="622" y="69"/>
                    </a:lnTo>
                    <a:lnTo>
                      <a:pt x="613" y="69"/>
                    </a:lnTo>
                    <a:lnTo>
                      <a:pt x="594" y="69"/>
                    </a:lnTo>
                    <a:lnTo>
                      <a:pt x="585" y="69"/>
                    </a:lnTo>
                    <a:lnTo>
                      <a:pt x="571" y="69"/>
                    </a:lnTo>
                    <a:lnTo>
                      <a:pt x="562" y="69"/>
                    </a:lnTo>
                    <a:lnTo>
                      <a:pt x="544" y="69"/>
                    </a:lnTo>
                    <a:lnTo>
                      <a:pt x="535" y="69"/>
                    </a:lnTo>
                    <a:lnTo>
                      <a:pt x="526" y="69"/>
                    </a:lnTo>
                    <a:lnTo>
                      <a:pt x="512" y="69"/>
                    </a:lnTo>
                    <a:lnTo>
                      <a:pt x="503" y="69"/>
                    </a:lnTo>
                    <a:lnTo>
                      <a:pt x="489" y="69"/>
                    </a:lnTo>
                    <a:lnTo>
                      <a:pt x="480" y="66"/>
                    </a:lnTo>
                    <a:lnTo>
                      <a:pt x="471" y="66"/>
                    </a:lnTo>
                    <a:lnTo>
                      <a:pt x="457" y="66"/>
                    </a:lnTo>
                    <a:lnTo>
                      <a:pt x="443" y="66"/>
                    </a:lnTo>
                    <a:lnTo>
                      <a:pt x="425" y="66"/>
                    </a:lnTo>
                    <a:lnTo>
                      <a:pt x="407" y="66"/>
                    </a:lnTo>
                    <a:lnTo>
                      <a:pt x="393" y="63"/>
                    </a:lnTo>
                    <a:lnTo>
                      <a:pt x="384" y="60"/>
                    </a:lnTo>
                    <a:lnTo>
                      <a:pt x="375" y="60"/>
                    </a:lnTo>
                    <a:lnTo>
                      <a:pt x="366" y="60"/>
                    </a:lnTo>
                    <a:lnTo>
                      <a:pt x="343" y="60"/>
                    </a:lnTo>
                    <a:lnTo>
                      <a:pt x="325" y="60"/>
                    </a:lnTo>
                    <a:lnTo>
                      <a:pt x="302" y="57"/>
                    </a:lnTo>
                    <a:lnTo>
                      <a:pt x="288" y="57"/>
                    </a:lnTo>
                    <a:lnTo>
                      <a:pt x="270" y="54"/>
                    </a:lnTo>
                    <a:lnTo>
                      <a:pt x="252" y="54"/>
                    </a:lnTo>
                    <a:lnTo>
                      <a:pt x="233" y="52"/>
                    </a:lnTo>
                    <a:lnTo>
                      <a:pt x="215" y="49"/>
                    </a:lnTo>
                    <a:lnTo>
                      <a:pt x="197" y="49"/>
                    </a:lnTo>
                    <a:lnTo>
                      <a:pt x="183" y="49"/>
                    </a:lnTo>
                    <a:lnTo>
                      <a:pt x="165" y="46"/>
                    </a:lnTo>
                    <a:lnTo>
                      <a:pt x="151" y="46"/>
                    </a:lnTo>
                    <a:lnTo>
                      <a:pt x="137" y="43"/>
                    </a:lnTo>
                    <a:lnTo>
                      <a:pt x="124" y="43"/>
                    </a:lnTo>
                    <a:lnTo>
                      <a:pt x="110" y="40"/>
                    </a:lnTo>
                    <a:lnTo>
                      <a:pt x="96" y="37"/>
                    </a:lnTo>
                    <a:lnTo>
                      <a:pt x="82" y="37"/>
                    </a:lnTo>
                    <a:lnTo>
                      <a:pt x="73" y="37"/>
                    </a:lnTo>
                    <a:lnTo>
                      <a:pt x="64" y="35"/>
                    </a:lnTo>
                    <a:lnTo>
                      <a:pt x="50" y="35"/>
                    </a:lnTo>
                    <a:lnTo>
                      <a:pt x="41" y="35"/>
                    </a:lnTo>
                    <a:lnTo>
                      <a:pt x="37" y="35"/>
                    </a:lnTo>
                    <a:lnTo>
                      <a:pt x="18" y="32"/>
                    </a:lnTo>
                    <a:lnTo>
                      <a:pt x="14" y="29"/>
                    </a:lnTo>
                    <a:lnTo>
                      <a:pt x="0" y="29"/>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7" name="Freeform 101"/>
              <p:cNvSpPr>
                <a:spLocks/>
              </p:cNvSpPr>
              <p:nvPr>
                <p:custDataLst>
                  <p:tags r:id="rId130"/>
                </p:custDataLst>
              </p:nvPr>
            </p:nvSpPr>
            <p:spPr bwMode="gray">
              <a:xfrm>
                <a:off x="2900" y="1545"/>
                <a:ext cx="1387" cy="114"/>
              </a:xfrm>
              <a:custGeom>
                <a:avLst/>
                <a:gdLst>
                  <a:gd name="T0" fmla="*/ 320 w 1353"/>
                  <a:gd name="T1" fmla="*/ 36 h 125"/>
                  <a:gd name="T2" fmla="*/ 419 w 1353"/>
                  <a:gd name="T3" fmla="*/ 34 h 125"/>
                  <a:gd name="T4" fmla="*/ 524 w 1353"/>
                  <a:gd name="T5" fmla="*/ 33 h 125"/>
                  <a:gd name="T6" fmla="*/ 615 w 1353"/>
                  <a:gd name="T7" fmla="*/ 31 h 125"/>
                  <a:gd name="T8" fmla="*/ 720 w 1353"/>
                  <a:gd name="T9" fmla="*/ 30 h 125"/>
                  <a:gd name="T10" fmla="*/ 824 w 1353"/>
                  <a:gd name="T11" fmla="*/ 27 h 125"/>
                  <a:gd name="T12" fmla="*/ 925 w 1353"/>
                  <a:gd name="T13" fmla="*/ 25 h 125"/>
                  <a:gd name="T14" fmla="*/ 1023 w 1353"/>
                  <a:gd name="T15" fmla="*/ 23 h 125"/>
                  <a:gd name="T16" fmla="*/ 1114 w 1353"/>
                  <a:gd name="T17" fmla="*/ 21 h 125"/>
                  <a:gd name="T18" fmla="*/ 1213 w 1353"/>
                  <a:gd name="T19" fmla="*/ 18 h 125"/>
                  <a:gd name="T20" fmla="*/ 1298 w 1353"/>
                  <a:gd name="T21" fmla="*/ 16 h 125"/>
                  <a:gd name="T22" fmla="*/ 1379 w 1353"/>
                  <a:gd name="T23" fmla="*/ 15 h 125"/>
                  <a:gd name="T24" fmla="*/ 1452 w 1353"/>
                  <a:gd name="T25" fmla="*/ 12 h 125"/>
                  <a:gd name="T26" fmla="*/ 1525 w 1353"/>
                  <a:gd name="T27" fmla="*/ 9 h 125"/>
                  <a:gd name="T28" fmla="*/ 1600 w 1353"/>
                  <a:gd name="T29" fmla="*/ 8 h 125"/>
                  <a:gd name="T30" fmla="*/ 1657 w 1353"/>
                  <a:gd name="T31" fmla="*/ 5 h 125"/>
                  <a:gd name="T32" fmla="*/ 1706 w 1353"/>
                  <a:gd name="T33" fmla="*/ 5 h 125"/>
                  <a:gd name="T34" fmla="*/ 1760 w 1353"/>
                  <a:gd name="T35" fmla="*/ 5 h 125"/>
                  <a:gd name="T36" fmla="*/ 1814 w 1353"/>
                  <a:gd name="T37" fmla="*/ 0 h 125"/>
                  <a:gd name="T38" fmla="*/ 1827 w 1353"/>
                  <a:gd name="T39" fmla="*/ 13 h 125"/>
                  <a:gd name="T40" fmla="*/ 1787 w 1353"/>
                  <a:gd name="T41" fmla="*/ 14 h 125"/>
                  <a:gd name="T42" fmla="*/ 1728 w 1353"/>
                  <a:gd name="T43" fmla="*/ 15 h 125"/>
                  <a:gd name="T44" fmla="*/ 1663 w 1353"/>
                  <a:gd name="T45" fmla="*/ 16 h 125"/>
                  <a:gd name="T46" fmla="*/ 1620 w 1353"/>
                  <a:gd name="T47" fmla="*/ 18 h 125"/>
                  <a:gd name="T48" fmla="*/ 1570 w 1353"/>
                  <a:gd name="T49" fmla="*/ 18 h 125"/>
                  <a:gd name="T50" fmla="*/ 1520 w 1353"/>
                  <a:gd name="T51" fmla="*/ 21 h 125"/>
                  <a:gd name="T52" fmla="*/ 1465 w 1353"/>
                  <a:gd name="T53" fmla="*/ 22 h 125"/>
                  <a:gd name="T54" fmla="*/ 1404 w 1353"/>
                  <a:gd name="T55" fmla="*/ 23 h 125"/>
                  <a:gd name="T56" fmla="*/ 1347 w 1353"/>
                  <a:gd name="T57" fmla="*/ 25 h 125"/>
                  <a:gd name="T58" fmla="*/ 1288 w 1353"/>
                  <a:gd name="T59" fmla="*/ 25 h 125"/>
                  <a:gd name="T60" fmla="*/ 1213 w 1353"/>
                  <a:gd name="T61" fmla="*/ 27 h 125"/>
                  <a:gd name="T62" fmla="*/ 1157 w 1353"/>
                  <a:gd name="T63" fmla="*/ 28 h 125"/>
                  <a:gd name="T64" fmla="*/ 1083 w 1353"/>
                  <a:gd name="T65" fmla="*/ 30 h 125"/>
                  <a:gd name="T66" fmla="*/ 1015 w 1353"/>
                  <a:gd name="T67" fmla="*/ 33 h 125"/>
                  <a:gd name="T68" fmla="*/ 950 w 1353"/>
                  <a:gd name="T69" fmla="*/ 33 h 125"/>
                  <a:gd name="T70" fmla="*/ 881 w 1353"/>
                  <a:gd name="T71" fmla="*/ 34 h 125"/>
                  <a:gd name="T72" fmla="*/ 812 w 1353"/>
                  <a:gd name="T73" fmla="*/ 36 h 125"/>
                  <a:gd name="T74" fmla="*/ 749 w 1353"/>
                  <a:gd name="T75" fmla="*/ 36 h 125"/>
                  <a:gd name="T76" fmla="*/ 678 w 1353"/>
                  <a:gd name="T77" fmla="*/ 38 h 125"/>
                  <a:gd name="T78" fmla="*/ 615 w 1353"/>
                  <a:gd name="T79" fmla="*/ 39 h 125"/>
                  <a:gd name="T80" fmla="*/ 560 w 1353"/>
                  <a:gd name="T81" fmla="*/ 39 h 125"/>
                  <a:gd name="T82" fmla="*/ 499 w 1353"/>
                  <a:gd name="T83" fmla="*/ 39 h 125"/>
                  <a:gd name="T84" fmla="*/ 436 w 1353"/>
                  <a:gd name="T85" fmla="*/ 39 h 125"/>
                  <a:gd name="T86" fmla="*/ 387 w 1353"/>
                  <a:gd name="T87" fmla="*/ 40 h 125"/>
                  <a:gd name="T88" fmla="*/ 337 w 1353"/>
                  <a:gd name="T89" fmla="*/ 40 h 125"/>
                  <a:gd name="T90" fmla="*/ 290 w 1353"/>
                  <a:gd name="T91" fmla="*/ 42 h 125"/>
                  <a:gd name="T92" fmla="*/ 227 w 1353"/>
                  <a:gd name="T93" fmla="*/ 42 h 125"/>
                  <a:gd name="T94" fmla="*/ 153 w 1353"/>
                  <a:gd name="T95" fmla="*/ 42 h 125"/>
                  <a:gd name="T96" fmla="*/ 92 w 1353"/>
                  <a:gd name="T97" fmla="*/ 42 h 125"/>
                  <a:gd name="T98" fmla="*/ 44 w 1353"/>
                  <a:gd name="T99" fmla="*/ 42 h 125"/>
                  <a:gd name="T100" fmla="*/ 0 w 1353"/>
                  <a:gd name="T101" fmla="*/ 42 h 125"/>
                  <a:gd name="T102" fmla="*/ 35 w 1353"/>
                  <a:gd name="T103" fmla="*/ 42 h 125"/>
                  <a:gd name="T104" fmla="*/ 82 w 1353"/>
                  <a:gd name="T105" fmla="*/ 39 h 125"/>
                  <a:gd name="T106" fmla="*/ 153 w 1353"/>
                  <a:gd name="T107" fmla="*/ 39 h 125"/>
                  <a:gd name="T108" fmla="*/ 203 w 1353"/>
                  <a:gd name="T109" fmla="*/ 36 h 125"/>
                  <a:gd name="T110" fmla="*/ 247 w 1353"/>
                  <a:gd name="T111" fmla="*/ 36 h 125"/>
                  <a:gd name="T112" fmla="*/ 252 w 1353"/>
                  <a:gd name="T113" fmla="*/ 36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53"/>
                  <a:gd name="T172" fmla="*/ 0 h 125"/>
                  <a:gd name="T173" fmla="*/ 1353 w 1353"/>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53" h="125">
                    <a:moveTo>
                      <a:pt x="187" y="108"/>
                    </a:moveTo>
                    <a:lnTo>
                      <a:pt x="210" y="108"/>
                    </a:lnTo>
                    <a:lnTo>
                      <a:pt x="238" y="108"/>
                    </a:lnTo>
                    <a:lnTo>
                      <a:pt x="260" y="105"/>
                    </a:lnTo>
                    <a:lnTo>
                      <a:pt x="283" y="105"/>
                    </a:lnTo>
                    <a:lnTo>
                      <a:pt x="311" y="102"/>
                    </a:lnTo>
                    <a:lnTo>
                      <a:pt x="334" y="102"/>
                    </a:lnTo>
                    <a:lnTo>
                      <a:pt x="361" y="102"/>
                    </a:lnTo>
                    <a:lnTo>
                      <a:pt x="388" y="100"/>
                    </a:lnTo>
                    <a:lnTo>
                      <a:pt x="407" y="97"/>
                    </a:lnTo>
                    <a:lnTo>
                      <a:pt x="434" y="97"/>
                    </a:lnTo>
                    <a:lnTo>
                      <a:pt x="457" y="94"/>
                    </a:lnTo>
                    <a:lnTo>
                      <a:pt x="484" y="94"/>
                    </a:lnTo>
                    <a:lnTo>
                      <a:pt x="512" y="91"/>
                    </a:lnTo>
                    <a:lnTo>
                      <a:pt x="535" y="91"/>
                    </a:lnTo>
                    <a:lnTo>
                      <a:pt x="562" y="85"/>
                    </a:lnTo>
                    <a:lnTo>
                      <a:pt x="589" y="85"/>
                    </a:lnTo>
                    <a:lnTo>
                      <a:pt x="612" y="83"/>
                    </a:lnTo>
                    <a:lnTo>
                      <a:pt x="635" y="83"/>
                    </a:lnTo>
                    <a:lnTo>
                      <a:pt x="658" y="77"/>
                    </a:lnTo>
                    <a:lnTo>
                      <a:pt x="685" y="74"/>
                    </a:lnTo>
                    <a:lnTo>
                      <a:pt x="708" y="74"/>
                    </a:lnTo>
                    <a:lnTo>
                      <a:pt x="736" y="71"/>
                    </a:lnTo>
                    <a:lnTo>
                      <a:pt x="759" y="68"/>
                    </a:lnTo>
                    <a:lnTo>
                      <a:pt x="781" y="68"/>
                    </a:lnTo>
                    <a:lnTo>
                      <a:pt x="804" y="65"/>
                    </a:lnTo>
                    <a:lnTo>
                      <a:pt x="827" y="63"/>
                    </a:lnTo>
                    <a:lnTo>
                      <a:pt x="850" y="60"/>
                    </a:lnTo>
                    <a:lnTo>
                      <a:pt x="877" y="60"/>
                    </a:lnTo>
                    <a:lnTo>
                      <a:pt x="900" y="54"/>
                    </a:lnTo>
                    <a:lnTo>
                      <a:pt x="919" y="54"/>
                    </a:lnTo>
                    <a:lnTo>
                      <a:pt x="941" y="51"/>
                    </a:lnTo>
                    <a:lnTo>
                      <a:pt x="964" y="48"/>
                    </a:lnTo>
                    <a:lnTo>
                      <a:pt x="982" y="46"/>
                    </a:lnTo>
                    <a:lnTo>
                      <a:pt x="1005" y="43"/>
                    </a:lnTo>
                    <a:lnTo>
                      <a:pt x="1024" y="43"/>
                    </a:lnTo>
                    <a:lnTo>
                      <a:pt x="1042" y="40"/>
                    </a:lnTo>
                    <a:lnTo>
                      <a:pt x="1060" y="34"/>
                    </a:lnTo>
                    <a:lnTo>
                      <a:pt x="1078" y="34"/>
                    </a:lnTo>
                    <a:lnTo>
                      <a:pt x="1101" y="31"/>
                    </a:lnTo>
                    <a:lnTo>
                      <a:pt x="1120" y="31"/>
                    </a:lnTo>
                    <a:lnTo>
                      <a:pt x="1133" y="26"/>
                    </a:lnTo>
                    <a:lnTo>
                      <a:pt x="1152" y="26"/>
                    </a:lnTo>
                    <a:lnTo>
                      <a:pt x="1170" y="23"/>
                    </a:lnTo>
                    <a:lnTo>
                      <a:pt x="1188" y="23"/>
                    </a:lnTo>
                    <a:lnTo>
                      <a:pt x="1202" y="20"/>
                    </a:lnTo>
                    <a:lnTo>
                      <a:pt x="1216" y="20"/>
                    </a:lnTo>
                    <a:lnTo>
                      <a:pt x="1229" y="14"/>
                    </a:lnTo>
                    <a:lnTo>
                      <a:pt x="1243" y="14"/>
                    </a:lnTo>
                    <a:lnTo>
                      <a:pt x="1257" y="11"/>
                    </a:lnTo>
                    <a:lnTo>
                      <a:pt x="1266" y="11"/>
                    </a:lnTo>
                    <a:lnTo>
                      <a:pt x="1280" y="9"/>
                    </a:lnTo>
                    <a:lnTo>
                      <a:pt x="1289" y="9"/>
                    </a:lnTo>
                    <a:lnTo>
                      <a:pt x="1307" y="6"/>
                    </a:lnTo>
                    <a:lnTo>
                      <a:pt x="1325" y="6"/>
                    </a:lnTo>
                    <a:lnTo>
                      <a:pt x="1334" y="0"/>
                    </a:lnTo>
                    <a:lnTo>
                      <a:pt x="1348" y="0"/>
                    </a:lnTo>
                    <a:lnTo>
                      <a:pt x="1353" y="0"/>
                    </a:lnTo>
                    <a:lnTo>
                      <a:pt x="1353" y="37"/>
                    </a:lnTo>
                    <a:lnTo>
                      <a:pt x="1348" y="37"/>
                    </a:lnTo>
                    <a:lnTo>
                      <a:pt x="1334" y="40"/>
                    </a:lnTo>
                    <a:lnTo>
                      <a:pt x="1325" y="40"/>
                    </a:lnTo>
                    <a:lnTo>
                      <a:pt x="1316" y="43"/>
                    </a:lnTo>
                    <a:lnTo>
                      <a:pt x="1298" y="43"/>
                    </a:lnTo>
                    <a:lnTo>
                      <a:pt x="1284" y="46"/>
                    </a:lnTo>
                    <a:lnTo>
                      <a:pt x="1266" y="46"/>
                    </a:lnTo>
                    <a:lnTo>
                      <a:pt x="1243" y="48"/>
                    </a:lnTo>
                    <a:lnTo>
                      <a:pt x="1234" y="48"/>
                    </a:lnTo>
                    <a:lnTo>
                      <a:pt x="1225" y="48"/>
                    </a:lnTo>
                    <a:lnTo>
                      <a:pt x="1211" y="51"/>
                    </a:lnTo>
                    <a:lnTo>
                      <a:pt x="1202" y="54"/>
                    </a:lnTo>
                    <a:lnTo>
                      <a:pt x="1188" y="54"/>
                    </a:lnTo>
                    <a:lnTo>
                      <a:pt x="1179" y="54"/>
                    </a:lnTo>
                    <a:lnTo>
                      <a:pt x="1165" y="54"/>
                    </a:lnTo>
                    <a:lnTo>
                      <a:pt x="1152" y="57"/>
                    </a:lnTo>
                    <a:lnTo>
                      <a:pt x="1138" y="60"/>
                    </a:lnTo>
                    <a:lnTo>
                      <a:pt x="1129" y="63"/>
                    </a:lnTo>
                    <a:lnTo>
                      <a:pt x="1115" y="63"/>
                    </a:lnTo>
                    <a:lnTo>
                      <a:pt x="1101" y="65"/>
                    </a:lnTo>
                    <a:lnTo>
                      <a:pt x="1088" y="65"/>
                    </a:lnTo>
                    <a:lnTo>
                      <a:pt x="1074" y="68"/>
                    </a:lnTo>
                    <a:lnTo>
                      <a:pt x="1060" y="68"/>
                    </a:lnTo>
                    <a:lnTo>
                      <a:pt x="1042" y="68"/>
                    </a:lnTo>
                    <a:lnTo>
                      <a:pt x="1024" y="71"/>
                    </a:lnTo>
                    <a:lnTo>
                      <a:pt x="1010" y="71"/>
                    </a:lnTo>
                    <a:lnTo>
                      <a:pt x="1001" y="74"/>
                    </a:lnTo>
                    <a:lnTo>
                      <a:pt x="982" y="74"/>
                    </a:lnTo>
                    <a:lnTo>
                      <a:pt x="969" y="74"/>
                    </a:lnTo>
                    <a:lnTo>
                      <a:pt x="955" y="77"/>
                    </a:lnTo>
                    <a:lnTo>
                      <a:pt x="937" y="80"/>
                    </a:lnTo>
                    <a:lnTo>
                      <a:pt x="919" y="83"/>
                    </a:lnTo>
                    <a:lnTo>
                      <a:pt x="900" y="83"/>
                    </a:lnTo>
                    <a:lnTo>
                      <a:pt x="887" y="83"/>
                    </a:lnTo>
                    <a:lnTo>
                      <a:pt x="868" y="85"/>
                    </a:lnTo>
                    <a:lnTo>
                      <a:pt x="859" y="85"/>
                    </a:lnTo>
                    <a:lnTo>
                      <a:pt x="841" y="85"/>
                    </a:lnTo>
                    <a:lnTo>
                      <a:pt x="823" y="91"/>
                    </a:lnTo>
                    <a:lnTo>
                      <a:pt x="804" y="91"/>
                    </a:lnTo>
                    <a:lnTo>
                      <a:pt x="791" y="94"/>
                    </a:lnTo>
                    <a:lnTo>
                      <a:pt x="772" y="94"/>
                    </a:lnTo>
                    <a:lnTo>
                      <a:pt x="754" y="97"/>
                    </a:lnTo>
                    <a:lnTo>
                      <a:pt x="736" y="97"/>
                    </a:lnTo>
                    <a:lnTo>
                      <a:pt x="722" y="97"/>
                    </a:lnTo>
                    <a:lnTo>
                      <a:pt x="704" y="97"/>
                    </a:lnTo>
                    <a:lnTo>
                      <a:pt x="690" y="102"/>
                    </a:lnTo>
                    <a:lnTo>
                      <a:pt x="672" y="102"/>
                    </a:lnTo>
                    <a:lnTo>
                      <a:pt x="653" y="102"/>
                    </a:lnTo>
                    <a:lnTo>
                      <a:pt x="635" y="105"/>
                    </a:lnTo>
                    <a:lnTo>
                      <a:pt x="621" y="105"/>
                    </a:lnTo>
                    <a:lnTo>
                      <a:pt x="603" y="108"/>
                    </a:lnTo>
                    <a:lnTo>
                      <a:pt x="589" y="108"/>
                    </a:lnTo>
                    <a:lnTo>
                      <a:pt x="571" y="108"/>
                    </a:lnTo>
                    <a:lnTo>
                      <a:pt x="557" y="108"/>
                    </a:lnTo>
                    <a:lnTo>
                      <a:pt x="539" y="111"/>
                    </a:lnTo>
                    <a:lnTo>
                      <a:pt x="521" y="114"/>
                    </a:lnTo>
                    <a:lnTo>
                      <a:pt x="503" y="114"/>
                    </a:lnTo>
                    <a:lnTo>
                      <a:pt x="493" y="114"/>
                    </a:lnTo>
                    <a:lnTo>
                      <a:pt x="475" y="117"/>
                    </a:lnTo>
                    <a:lnTo>
                      <a:pt x="457" y="117"/>
                    </a:lnTo>
                    <a:lnTo>
                      <a:pt x="443" y="117"/>
                    </a:lnTo>
                    <a:lnTo>
                      <a:pt x="425" y="117"/>
                    </a:lnTo>
                    <a:lnTo>
                      <a:pt x="416" y="117"/>
                    </a:lnTo>
                    <a:lnTo>
                      <a:pt x="398" y="117"/>
                    </a:lnTo>
                    <a:lnTo>
                      <a:pt x="384" y="117"/>
                    </a:lnTo>
                    <a:lnTo>
                      <a:pt x="370" y="117"/>
                    </a:lnTo>
                    <a:lnTo>
                      <a:pt x="352" y="120"/>
                    </a:lnTo>
                    <a:lnTo>
                      <a:pt x="343" y="120"/>
                    </a:lnTo>
                    <a:lnTo>
                      <a:pt x="324" y="120"/>
                    </a:lnTo>
                    <a:lnTo>
                      <a:pt x="315" y="120"/>
                    </a:lnTo>
                    <a:lnTo>
                      <a:pt x="297" y="120"/>
                    </a:lnTo>
                    <a:lnTo>
                      <a:pt x="288" y="122"/>
                    </a:lnTo>
                    <a:lnTo>
                      <a:pt x="274" y="122"/>
                    </a:lnTo>
                    <a:lnTo>
                      <a:pt x="260" y="122"/>
                    </a:lnTo>
                    <a:lnTo>
                      <a:pt x="251" y="122"/>
                    </a:lnTo>
                    <a:lnTo>
                      <a:pt x="238" y="125"/>
                    </a:lnTo>
                    <a:lnTo>
                      <a:pt x="224" y="125"/>
                    </a:lnTo>
                    <a:lnTo>
                      <a:pt x="215" y="125"/>
                    </a:lnTo>
                    <a:lnTo>
                      <a:pt x="201" y="125"/>
                    </a:lnTo>
                    <a:lnTo>
                      <a:pt x="192" y="125"/>
                    </a:lnTo>
                    <a:lnTo>
                      <a:pt x="169" y="125"/>
                    </a:lnTo>
                    <a:lnTo>
                      <a:pt x="151" y="125"/>
                    </a:lnTo>
                    <a:lnTo>
                      <a:pt x="132" y="125"/>
                    </a:lnTo>
                    <a:lnTo>
                      <a:pt x="114" y="125"/>
                    </a:lnTo>
                    <a:lnTo>
                      <a:pt x="96" y="125"/>
                    </a:lnTo>
                    <a:lnTo>
                      <a:pt x="78" y="125"/>
                    </a:lnTo>
                    <a:lnTo>
                      <a:pt x="68" y="125"/>
                    </a:lnTo>
                    <a:lnTo>
                      <a:pt x="55" y="125"/>
                    </a:lnTo>
                    <a:lnTo>
                      <a:pt x="46" y="125"/>
                    </a:lnTo>
                    <a:lnTo>
                      <a:pt x="32" y="125"/>
                    </a:lnTo>
                    <a:lnTo>
                      <a:pt x="14" y="125"/>
                    </a:lnTo>
                    <a:lnTo>
                      <a:pt x="9" y="125"/>
                    </a:lnTo>
                    <a:lnTo>
                      <a:pt x="0" y="125"/>
                    </a:lnTo>
                    <a:lnTo>
                      <a:pt x="9" y="125"/>
                    </a:lnTo>
                    <a:lnTo>
                      <a:pt x="23" y="125"/>
                    </a:lnTo>
                    <a:lnTo>
                      <a:pt x="32" y="125"/>
                    </a:lnTo>
                    <a:lnTo>
                      <a:pt x="46" y="122"/>
                    </a:lnTo>
                    <a:lnTo>
                      <a:pt x="59" y="120"/>
                    </a:lnTo>
                    <a:lnTo>
                      <a:pt x="78" y="120"/>
                    </a:lnTo>
                    <a:lnTo>
                      <a:pt x="96" y="117"/>
                    </a:lnTo>
                    <a:lnTo>
                      <a:pt x="114" y="117"/>
                    </a:lnTo>
                    <a:lnTo>
                      <a:pt x="123" y="117"/>
                    </a:lnTo>
                    <a:lnTo>
                      <a:pt x="137" y="114"/>
                    </a:lnTo>
                    <a:lnTo>
                      <a:pt x="151" y="111"/>
                    </a:lnTo>
                    <a:lnTo>
                      <a:pt x="164" y="111"/>
                    </a:lnTo>
                    <a:lnTo>
                      <a:pt x="174" y="108"/>
                    </a:lnTo>
                    <a:lnTo>
                      <a:pt x="183" y="108"/>
                    </a:lnTo>
                    <a:lnTo>
                      <a:pt x="187" y="108"/>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8" name="Freeform 102"/>
              <p:cNvSpPr>
                <a:spLocks/>
              </p:cNvSpPr>
              <p:nvPr>
                <p:custDataLst>
                  <p:tags r:id="rId131"/>
                </p:custDataLst>
              </p:nvPr>
            </p:nvSpPr>
            <p:spPr bwMode="gray">
              <a:xfrm>
                <a:off x="1265" y="1784"/>
                <a:ext cx="1077" cy="162"/>
              </a:xfrm>
              <a:custGeom>
                <a:avLst/>
                <a:gdLst>
                  <a:gd name="T0" fmla="*/ 9 w 1051"/>
                  <a:gd name="T1" fmla="*/ 29 h 177"/>
                  <a:gd name="T2" fmla="*/ 48 w 1051"/>
                  <a:gd name="T3" fmla="*/ 26 h 177"/>
                  <a:gd name="T4" fmla="*/ 92 w 1051"/>
                  <a:gd name="T5" fmla="*/ 23 h 177"/>
                  <a:gd name="T6" fmla="*/ 121 w 1051"/>
                  <a:gd name="T7" fmla="*/ 19 h 177"/>
                  <a:gd name="T8" fmla="*/ 147 w 1051"/>
                  <a:gd name="T9" fmla="*/ 16 h 177"/>
                  <a:gd name="T10" fmla="*/ 176 w 1051"/>
                  <a:gd name="T11" fmla="*/ 14 h 177"/>
                  <a:gd name="T12" fmla="*/ 214 w 1051"/>
                  <a:gd name="T13" fmla="*/ 12 h 177"/>
                  <a:gd name="T14" fmla="*/ 239 w 1051"/>
                  <a:gd name="T15" fmla="*/ 9 h 177"/>
                  <a:gd name="T16" fmla="*/ 281 w 1051"/>
                  <a:gd name="T17" fmla="*/ 5 h 177"/>
                  <a:gd name="T18" fmla="*/ 324 w 1051"/>
                  <a:gd name="T19" fmla="*/ 3 h 177"/>
                  <a:gd name="T20" fmla="*/ 356 w 1051"/>
                  <a:gd name="T21" fmla="*/ 0 h 177"/>
                  <a:gd name="T22" fmla="*/ 692 w 1051"/>
                  <a:gd name="T23" fmla="*/ 48 h 177"/>
                  <a:gd name="T24" fmla="*/ 704 w 1051"/>
                  <a:gd name="T25" fmla="*/ 46 h 177"/>
                  <a:gd name="T26" fmla="*/ 747 w 1051"/>
                  <a:gd name="T27" fmla="*/ 41 h 177"/>
                  <a:gd name="T28" fmla="*/ 773 w 1051"/>
                  <a:gd name="T29" fmla="*/ 38 h 177"/>
                  <a:gd name="T30" fmla="*/ 809 w 1051"/>
                  <a:gd name="T31" fmla="*/ 35 h 177"/>
                  <a:gd name="T32" fmla="*/ 838 w 1051"/>
                  <a:gd name="T33" fmla="*/ 32 h 177"/>
                  <a:gd name="T34" fmla="*/ 882 w 1051"/>
                  <a:gd name="T35" fmla="*/ 27 h 177"/>
                  <a:gd name="T36" fmla="*/ 915 w 1051"/>
                  <a:gd name="T37" fmla="*/ 24 h 177"/>
                  <a:gd name="T38" fmla="*/ 949 w 1051"/>
                  <a:gd name="T39" fmla="*/ 21 h 177"/>
                  <a:gd name="T40" fmla="*/ 974 w 1051"/>
                  <a:gd name="T41" fmla="*/ 16 h 177"/>
                  <a:gd name="T42" fmla="*/ 1012 w 1051"/>
                  <a:gd name="T43" fmla="*/ 14 h 177"/>
                  <a:gd name="T44" fmla="*/ 1042 w 1051"/>
                  <a:gd name="T45" fmla="*/ 12 h 177"/>
                  <a:gd name="T46" fmla="*/ 1067 w 1051"/>
                  <a:gd name="T47" fmla="*/ 10 h 177"/>
                  <a:gd name="T48" fmla="*/ 1096 w 1051"/>
                  <a:gd name="T49" fmla="*/ 9 h 177"/>
                  <a:gd name="T50" fmla="*/ 1116 w 1051"/>
                  <a:gd name="T51" fmla="*/ 12 h 177"/>
                  <a:gd name="T52" fmla="*/ 1158 w 1051"/>
                  <a:gd name="T53" fmla="*/ 17 h 177"/>
                  <a:gd name="T54" fmla="*/ 1206 w 1051"/>
                  <a:gd name="T55" fmla="*/ 25 h 177"/>
                  <a:gd name="T56" fmla="*/ 1232 w 1051"/>
                  <a:gd name="T57" fmla="*/ 29 h 177"/>
                  <a:gd name="T58" fmla="*/ 1261 w 1051"/>
                  <a:gd name="T59" fmla="*/ 35 h 177"/>
                  <a:gd name="T60" fmla="*/ 1318 w 1051"/>
                  <a:gd name="T61" fmla="*/ 42 h 177"/>
                  <a:gd name="T62" fmla="*/ 1365 w 1051"/>
                  <a:gd name="T63" fmla="*/ 49 h 177"/>
                  <a:gd name="T64" fmla="*/ 1391 w 1051"/>
                  <a:gd name="T65" fmla="*/ 54 h 177"/>
                  <a:gd name="T66" fmla="*/ 1409 w 1051"/>
                  <a:gd name="T67" fmla="*/ 55 h 177"/>
                  <a:gd name="T68" fmla="*/ 1062 w 1051"/>
                  <a:gd name="T69" fmla="*/ 23 h 177"/>
                  <a:gd name="T70" fmla="*/ 337 w 1051"/>
                  <a:gd name="T71" fmla="*/ 14 h 177"/>
                  <a:gd name="T72" fmla="*/ 0 w 1051"/>
                  <a:gd name="T73" fmla="*/ 32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1"/>
                  <a:gd name="T112" fmla="*/ 0 h 177"/>
                  <a:gd name="T113" fmla="*/ 1051 w 1051"/>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1" h="177">
                    <a:moveTo>
                      <a:pt x="0" y="91"/>
                    </a:moveTo>
                    <a:lnTo>
                      <a:pt x="9" y="85"/>
                    </a:lnTo>
                    <a:lnTo>
                      <a:pt x="23" y="80"/>
                    </a:lnTo>
                    <a:lnTo>
                      <a:pt x="36" y="74"/>
                    </a:lnTo>
                    <a:lnTo>
                      <a:pt x="55" y="68"/>
                    </a:lnTo>
                    <a:lnTo>
                      <a:pt x="68" y="63"/>
                    </a:lnTo>
                    <a:lnTo>
                      <a:pt x="73" y="60"/>
                    </a:lnTo>
                    <a:lnTo>
                      <a:pt x="91" y="54"/>
                    </a:lnTo>
                    <a:lnTo>
                      <a:pt x="96" y="51"/>
                    </a:lnTo>
                    <a:lnTo>
                      <a:pt x="110" y="48"/>
                    </a:lnTo>
                    <a:lnTo>
                      <a:pt x="123" y="46"/>
                    </a:lnTo>
                    <a:lnTo>
                      <a:pt x="132" y="40"/>
                    </a:lnTo>
                    <a:lnTo>
                      <a:pt x="146" y="37"/>
                    </a:lnTo>
                    <a:lnTo>
                      <a:pt x="160" y="34"/>
                    </a:lnTo>
                    <a:lnTo>
                      <a:pt x="169" y="28"/>
                    </a:lnTo>
                    <a:lnTo>
                      <a:pt x="178" y="26"/>
                    </a:lnTo>
                    <a:lnTo>
                      <a:pt x="192" y="23"/>
                    </a:lnTo>
                    <a:lnTo>
                      <a:pt x="210" y="14"/>
                    </a:lnTo>
                    <a:lnTo>
                      <a:pt x="228" y="8"/>
                    </a:lnTo>
                    <a:lnTo>
                      <a:pt x="242" y="3"/>
                    </a:lnTo>
                    <a:lnTo>
                      <a:pt x="256" y="3"/>
                    </a:lnTo>
                    <a:lnTo>
                      <a:pt x="265" y="0"/>
                    </a:lnTo>
                    <a:lnTo>
                      <a:pt x="516" y="139"/>
                    </a:lnTo>
                    <a:lnTo>
                      <a:pt x="516" y="137"/>
                    </a:lnTo>
                    <a:lnTo>
                      <a:pt x="525" y="134"/>
                    </a:lnTo>
                    <a:lnTo>
                      <a:pt x="539" y="125"/>
                    </a:lnTo>
                    <a:lnTo>
                      <a:pt x="557" y="120"/>
                    </a:lnTo>
                    <a:lnTo>
                      <a:pt x="567" y="114"/>
                    </a:lnTo>
                    <a:lnTo>
                      <a:pt x="576" y="111"/>
                    </a:lnTo>
                    <a:lnTo>
                      <a:pt x="585" y="105"/>
                    </a:lnTo>
                    <a:lnTo>
                      <a:pt x="603" y="100"/>
                    </a:lnTo>
                    <a:lnTo>
                      <a:pt x="612" y="94"/>
                    </a:lnTo>
                    <a:lnTo>
                      <a:pt x="626" y="91"/>
                    </a:lnTo>
                    <a:lnTo>
                      <a:pt x="640" y="85"/>
                    </a:lnTo>
                    <a:lnTo>
                      <a:pt x="658" y="80"/>
                    </a:lnTo>
                    <a:lnTo>
                      <a:pt x="663" y="71"/>
                    </a:lnTo>
                    <a:lnTo>
                      <a:pt x="681" y="68"/>
                    </a:lnTo>
                    <a:lnTo>
                      <a:pt x="695" y="63"/>
                    </a:lnTo>
                    <a:lnTo>
                      <a:pt x="708" y="60"/>
                    </a:lnTo>
                    <a:lnTo>
                      <a:pt x="717" y="51"/>
                    </a:lnTo>
                    <a:lnTo>
                      <a:pt x="727" y="48"/>
                    </a:lnTo>
                    <a:lnTo>
                      <a:pt x="745" y="46"/>
                    </a:lnTo>
                    <a:lnTo>
                      <a:pt x="754" y="40"/>
                    </a:lnTo>
                    <a:lnTo>
                      <a:pt x="763" y="37"/>
                    </a:lnTo>
                    <a:lnTo>
                      <a:pt x="777" y="34"/>
                    </a:lnTo>
                    <a:lnTo>
                      <a:pt x="781" y="28"/>
                    </a:lnTo>
                    <a:lnTo>
                      <a:pt x="795" y="28"/>
                    </a:lnTo>
                    <a:lnTo>
                      <a:pt x="804" y="26"/>
                    </a:lnTo>
                    <a:lnTo>
                      <a:pt x="818" y="26"/>
                    </a:lnTo>
                    <a:lnTo>
                      <a:pt x="818" y="28"/>
                    </a:lnTo>
                    <a:lnTo>
                      <a:pt x="832" y="34"/>
                    </a:lnTo>
                    <a:lnTo>
                      <a:pt x="845" y="40"/>
                    </a:lnTo>
                    <a:lnTo>
                      <a:pt x="864" y="51"/>
                    </a:lnTo>
                    <a:lnTo>
                      <a:pt x="877" y="60"/>
                    </a:lnTo>
                    <a:lnTo>
                      <a:pt x="900" y="71"/>
                    </a:lnTo>
                    <a:lnTo>
                      <a:pt x="909" y="80"/>
                    </a:lnTo>
                    <a:lnTo>
                      <a:pt x="919" y="85"/>
                    </a:lnTo>
                    <a:lnTo>
                      <a:pt x="932" y="91"/>
                    </a:lnTo>
                    <a:lnTo>
                      <a:pt x="941" y="100"/>
                    </a:lnTo>
                    <a:lnTo>
                      <a:pt x="964" y="111"/>
                    </a:lnTo>
                    <a:lnTo>
                      <a:pt x="983" y="122"/>
                    </a:lnTo>
                    <a:lnTo>
                      <a:pt x="1001" y="134"/>
                    </a:lnTo>
                    <a:lnTo>
                      <a:pt x="1019" y="142"/>
                    </a:lnTo>
                    <a:lnTo>
                      <a:pt x="1028" y="151"/>
                    </a:lnTo>
                    <a:lnTo>
                      <a:pt x="1037" y="157"/>
                    </a:lnTo>
                    <a:lnTo>
                      <a:pt x="1051" y="162"/>
                    </a:lnTo>
                    <a:lnTo>
                      <a:pt x="992" y="171"/>
                    </a:lnTo>
                    <a:lnTo>
                      <a:pt x="791" y="63"/>
                    </a:lnTo>
                    <a:lnTo>
                      <a:pt x="489" y="177"/>
                    </a:lnTo>
                    <a:lnTo>
                      <a:pt x="251" y="40"/>
                    </a:lnTo>
                    <a:lnTo>
                      <a:pt x="0" y="9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89" name="Freeform 103"/>
              <p:cNvSpPr>
                <a:spLocks/>
              </p:cNvSpPr>
              <p:nvPr>
                <p:custDataLst>
                  <p:tags r:id="rId132"/>
                </p:custDataLst>
              </p:nvPr>
            </p:nvSpPr>
            <p:spPr bwMode="gray">
              <a:xfrm>
                <a:off x="3448" y="1776"/>
                <a:ext cx="890" cy="193"/>
              </a:xfrm>
              <a:custGeom>
                <a:avLst/>
                <a:gdLst>
                  <a:gd name="T0" fmla="*/ 13 w 868"/>
                  <a:gd name="T1" fmla="*/ 45 h 211"/>
                  <a:gd name="T2" fmla="*/ 53 w 868"/>
                  <a:gd name="T3" fmla="*/ 38 h 211"/>
                  <a:gd name="T4" fmla="*/ 88 w 868"/>
                  <a:gd name="T5" fmla="*/ 32 h 211"/>
                  <a:gd name="T6" fmla="*/ 123 w 868"/>
                  <a:gd name="T7" fmla="*/ 26 h 211"/>
                  <a:gd name="T8" fmla="*/ 147 w 868"/>
                  <a:gd name="T9" fmla="*/ 20 h 211"/>
                  <a:gd name="T10" fmla="*/ 177 w 868"/>
                  <a:gd name="T11" fmla="*/ 15 h 211"/>
                  <a:gd name="T12" fmla="*/ 215 w 868"/>
                  <a:gd name="T13" fmla="*/ 11 h 211"/>
                  <a:gd name="T14" fmla="*/ 242 w 868"/>
                  <a:gd name="T15" fmla="*/ 11 h 211"/>
                  <a:gd name="T16" fmla="*/ 271 w 868"/>
                  <a:gd name="T17" fmla="*/ 13 h 211"/>
                  <a:gd name="T18" fmla="*/ 315 w 868"/>
                  <a:gd name="T19" fmla="*/ 20 h 211"/>
                  <a:gd name="T20" fmla="*/ 358 w 868"/>
                  <a:gd name="T21" fmla="*/ 27 h 211"/>
                  <a:gd name="T22" fmla="*/ 413 w 868"/>
                  <a:gd name="T23" fmla="*/ 35 h 211"/>
                  <a:gd name="T24" fmla="*/ 462 w 868"/>
                  <a:gd name="T25" fmla="*/ 43 h 211"/>
                  <a:gd name="T26" fmla="*/ 492 w 868"/>
                  <a:gd name="T27" fmla="*/ 49 h 211"/>
                  <a:gd name="T28" fmla="*/ 524 w 868"/>
                  <a:gd name="T29" fmla="*/ 50 h 211"/>
                  <a:gd name="T30" fmla="*/ 530 w 868"/>
                  <a:gd name="T31" fmla="*/ 49 h 211"/>
                  <a:gd name="T32" fmla="*/ 549 w 868"/>
                  <a:gd name="T33" fmla="*/ 43 h 211"/>
                  <a:gd name="T34" fmla="*/ 585 w 868"/>
                  <a:gd name="T35" fmla="*/ 35 h 211"/>
                  <a:gd name="T36" fmla="*/ 616 w 868"/>
                  <a:gd name="T37" fmla="*/ 29 h 211"/>
                  <a:gd name="T38" fmla="*/ 636 w 868"/>
                  <a:gd name="T39" fmla="*/ 25 h 211"/>
                  <a:gd name="T40" fmla="*/ 660 w 868"/>
                  <a:gd name="T41" fmla="*/ 21 h 211"/>
                  <a:gd name="T42" fmla="*/ 673 w 868"/>
                  <a:gd name="T43" fmla="*/ 16 h 211"/>
                  <a:gd name="T44" fmla="*/ 709 w 868"/>
                  <a:gd name="T45" fmla="*/ 11 h 211"/>
                  <a:gd name="T46" fmla="*/ 740 w 868"/>
                  <a:gd name="T47" fmla="*/ 5 h 211"/>
                  <a:gd name="T48" fmla="*/ 764 w 868"/>
                  <a:gd name="T49" fmla="*/ 0 h 211"/>
                  <a:gd name="T50" fmla="*/ 783 w 868"/>
                  <a:gd name="T51" fmla="*/ 3 h 211"/>
                  <a:gd name="T52" fmla="*/ 808 w 868"/>
                  <a:gd name="T53" fmla="*/ 5 h 211"/>
                  <a:gd name="T54" fmla="*/ 839 w 868"/>
                  <a:gd name="T55" fmla="*/ 5 h 211"/>
                  <a:gd name="T56" fmla="*/ 862 w 868"/>
                  <a:gd name="T57" fmla="*/ 9 h 211"/>
                  <a:gd name="T58" fmla="*/ 901 w 868"/>
                  <a:gd name="T59" fmla="*/ 13 h 211"/>
                  <a:gd name="T60" fmla="*/ 930 w 868"/>
                  <a:gd name="T61" fmla="*/ 17 h 211"/>
                  <a:gd name="T62" fmla="*/ 963 w 868"/>
                  <a:gd name="T63" fmla="*/ 21 h 211"/>
                  <a:gd name="T64" fmla="*/ 1005 w 868"/>
                  <a:gd name="T65" fmla="*/ 26 h 211"/>
                  <a:gd name="T66" fmla="*/ 1035 w 868"/>
                  <a:gd name="T67" fmla="*/ 29 h 211"/>
                  <a:gd name="T68" fmla="*/ 1067 w 868"/>
                  <a:gd name="T69" fmla="*/ 34 h 211"/>
                  <a:gd name="T70" fmla="*/ 1098 w 868"/>
                  <a:gd name="T71" fmla="*/ 38 h 211"/>
                  <a:gd name="T72" fmla="*/ 1135 w 868"/>
                  <a:gd name="T73" fmla="*/ 42 h 211"/>
                  <a:gd name="T74" fmla="*/ 1165 w 868"/>
                  <a:gd name="T75" fmla="*/ 46 h 211"/>
                  <a:gd name="T76" fmla="*/ 1019 w 868"/>
                  <a:gd name="T77" fmla="*/ 49 h 211"/>
                  <a:gd name="T78" fmla="*/ 783 w 868"/>
                  <a:gd name="T79" fmla="*/ 19 h 211"/>
                  <a:gd name="T80" fmla="*/ 764 w 868"/>
                  <a:gd name="T81" fmla="*/ 21 h 211"/>
                  <a:gd name="T82" fmla="*/ 752 w 868"/>
                  <a:gd name="T83" fmla="*/ 25 h 211"/>
                  <a:gd name="T84" fmla="*/ 733 w 868"/>
                  <a:gd name="T85" fmla="*/ 29 h 211"/>
                  <a:gd name="T86" fmla="*/ 709 w 868"/>
                  <a:gd name="T87" fmla="*/ 35 h 211"/>
                  <a:gd name="T88" fmla="*/ 678 w 868"/>
                  <a:gd name="T89" fmla="*/ 39 h 211"/>
                  <a:gd name="T90" fmla="*/ 654 w 868"/>
                  <a:gd name="T91" fmla="*/ 45 h 211"/>
                  <a:gd name="T92" fmla="*/ 629 w 868"/>
                  <a:gd name="T93" fmla="*/ 50 h 211"/>
                  <a:gd name="T94" fmla="*/ 598 w 868"/>
                  <a:gd name="T95" fmla="*/ 55 h 211"/>
                  <a:gd name="T96" fmla="*/ 567 w 868"/>
                  <a:gd name="T97" fmla="*/ 59 h 211"/>
                  <a:gd name="T98" fmla="*/ 542 w 868"/>
                  <a:gd name="T99" fmla="*/ 64 h 211"/>
                  <a:gd name="T100" fmla="*/ 518 w 868"/>
                  <a:gd name="T101" fmla="*/ 71 h 211"/>
                  <a:gd name="T102" fmla="*/ 492 w 868"/>
                  <a:gd name="T103" fmla="*/ 72 h 211"/>
                  <a:gd name="T104" fmla="*/ 480 w 868"/>
                  <a:gd name="T105" fmla="*/ 67 h 211"/>
                  <a:gd name="T106" fmla="*/ 450 w 868"/>
                  <a:gd name="T107" fmla="*/ 61 h 211"/>
                  <a:gd name="T108" fmla="*/ 413 w 868"/>
                  <a:gd name="T109" fmla="*/ 54 h 211"/>
                  <a:gd name="T110" fmla="*/ 358 w 868"/>
                  <a:gd name="T111" fmla="*/ 46 h 211"/>
                  <a:gd name="T112" fmla="*/ 339 w 868"/>
                  <a:gd name="T113" fmla="*/ 41 h 211"/>
                  <a:gd name="T114" fmla="*/ 315 w 868"/>
                  <a:gd name="T115" fmla="*/ 38 h 211"/>
                  <a:gd name="T116" fmla="*/ 271 w 868"/>
                  <a:gd name="T117" fmla="*/ 31 h 211"/>
                  <a:gd name="T118" fmla="*/ 247 w 868"/>
                  <a:gd name="T119" fmla="*/ 26 h 211"/>
                  <a:gd name="T120" fmla="*/ 0 w 868"/>
                  <a:gd name="T121" fmla="*/ 48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8"/>
                  <a:gd name="T184" fmla="*/ 0 h 211"/>
                  <a:gd name="T185" fmla="*/ 868 w 868"/>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8" h="211">
                    <a:moveTo>
                      <a:pt x="0" y="140"/>
                    </a:moveTo>
                    <a:lnTo>
                      <a:pt x="13" y="131"/>
                    </a:lnTo>
                    <a:lnTo>
                      <a:pt x="27" y="123"/>
                    </a:lnTo>
                    <a:lnTo>
                      <a:pt x="41" y="111"/>
                    </a:lnTo>
                    <a:lnTo>
                      <a:pt x="54" y="103"/>
                    </a:lnTo>
                    <a:lnTo>
                      <a:pt x="64" y="92"/>
                    </a:lnTo>
                    <a:lnTo>
                      <a:pt x="77" y="83"/>
                    </a:lnTo>
                    <a:lnTo>
                      <a:pt x="91" y="74"/>
                    </a:lnTo>
                    <a:lnTo>
                      <a:pt x="105" y="66"/>
                    </a:lnTo>
                    <a:lnTo>
                      <a:pt x="109" y="57"/>
                    </a:lnTo>
                    <a:lnTo>
                      <a:pt x="123" y="49"/>
                    </a:lnTo>
                    <a:lnTo>
                      <a:pt x="132" y="43"/>
                    </a:lnTo>
                    <a:lnTo>
                      <a:pt x="146" y="37"/>
                    </a:lnTo>
                    <a:lnTo>
                      <a:pt x="160" y="29"/>
                    </a:lnTo>
                    <a:lnTo>
                      <a:pt x="173" y="26"/>
                    </a:lnTo>
                    <a:lnTo>
                      <a:pt x="178" y="29"/>
                    </a:lnTo>
                    <a:lnTo>
                      <a:pt x="187" y="35"/>
                    </a:lnTo>
                    <a:lnTo>
                      <a:pt x="201" y="37"/>
                    </a:lnTo>
                    <a:lnTo>
                      <a:pt x="214" y="49"/>
                    </a:lnTo>
                    <a:lnTo>
                      <a:pt x="233" y="57"/>
                    </a:lnTo>
                    <a:lnTo>
                      <a:pt x="251" y="69"/>
                    </a:lnTo>
                    <a:lnTo>
                      <a:pt x="265" y="80"/>
                    </a:lnTo>
                    <a:lnTo>
                      <a:pt x="288" y="94"/>
                    </a:lnTo>
                    <a:lnTo>
                      <a:pt x="306" y="103"/>
                    </a:lnTo>
                    <a:lnTo>
                      <a:pt x="324" y="114"/>
                    </a:lnTo>
                    <a:lnTo>
                      <a:pt x="342" y="126"/>
                    </a:lnTo>
                    <a:lnTo>
                      <a:pt x="356" y="134"/>
                    </a:lnTo>
                    <a:lnTo>
                      <a:pt x="365" y="143"/>
                    </a:lnTo>
                    <a:lnTo>
                      <a:pt x="379" y="146"/>
                    </a:lnTo>
                    <a:lnTo>
                      <a:pt x="388" y="148"/>
                    </a:lnTo>
                    <a:lnTo>
                      <a:pt x="393" y="148"/>
                    </a:lnTo>
                    <a:lnTo>
                      <a:pt x="393" y="143"/>
                    </a:lnTo>
                    <a:lnTo>
                      <a:pt x="402" y="134"/>
                    </a:lnTo>
                    <a:lnTo>
                      <a:pt x="406" y="126"/>
                    </a:lnTo>
                    <a:lnTo>
                      <a:pt x="420" y="114"/>
                    </a:lnTo>
                    <a:lnTo>
                      <a:pt x="434" y="103"/>
                    </a:lnTo>
                    <a:lnTo>
                      <a:pt x="447" y="92"/>
                    </a:lnTo>
                    <a:lnTo>
                      <a:pt x="457" y="86"/>
                    </a:lnTo>
                    <a:lnTo>
                      <a:pt x="466" y="80"/>
                    </a:lnTo>
                    <a:lnTo>
                      <a:pt x="470" y="72"/>
                    </a:lnTo>
                    <a:lnTo>
                      <a:pt x="479" y="69"/>
                    </a:lnTo>
                    <a:lnTo>
                      <a:pt x="489" y="60"/>
                    </a:lnTo>
                    <a:lnTo>
                      <a:pt x="493" y="55"/>
                    </a:lnTo>
                    <a:lnTo>
                      <a:pt x="498" y="46"/>
                    </a:lnTo>
                    <a:lnTo>
                      <a:pt x="507" y="40"/>
                    </a:lnTo>
                    <a:lnTo>
                      <a:pt x="525" y="29"/>
                    </a:lnTo>
                    <a:lnTo>
                      <a:pt x="539" y="20"/>
                    </a:lnTo>
                    <a:lnTo>
                      <a:pt x="548" y="12"/>
                    </a:lnTo>
                    <a:lnTo>
                      <a:pt x="562" y="3"/>
                    </a:lnTo>
                    <a:lnTo>
                      <a:pt x="566" y="0"/>
                    </a:lnTo>
                    <a:lnTo>
                      <a:pt x="580" y="0"/>
                    </a:lnTo>
                    <a:lnTo>
                      <a:pt x="580" y="3"/>
                    </a:lnTo>
                    <a:lnTo>
                      <a:pt x="594" y="6"/>
                    </a:lnTo>
                    <a:lnTo>
                      <a:pt x="598" y="9"/>
                    </a:lnTo>
                    <a:lnTo>
                      <a:pt x="612" y="12"/>
                    </a:lnTo>
                    <a:lnTo>
                      <a:pt x="621" y="17"/>
                    </a:lnTo>
                    <a:lnTo>
                      <a:pt x="630" y="23"/>
                    </a:lnTo>
                    <a:lnTo>
                      <a:pt x="639" y="26"/>
                    </a:lnTo>
                    <a:lnTo>
                      <a:pt x="653" y="32"/>
                    </a:lnTo>
                    <a:lnTo>
                      <a:pt x="667" y="37"/>
                    </a:lnTo>
                    <a:lnTo>
                      <a:pt x="676" y="43"/>
                    </a:lnTo>
                    <a:lnTo>
                      <a:pt x="690" y="49"/>
                    </a:lnTo>
                    <a:lnTo>
                      <a:pt x="703" y="57"/>
                    </a:lnTo>
                    <a:lnTo>
                      <a:pt x="713" y="60"/>
                    </a:lnTo>
                    <a:lnTo>
                      <a:pt x="731" y="69"/>
                    </a:lnTo>
                    <a:lnTo>
                      <a:pt x="745" y="74"/>
                    </a:lnTo>
                    <a:lnTo>
                      <a:pt x="754" y="80"/>
                    </a:lnTo>
                    <a:lnTo>
                      <a:pt x="767" y="86"/>
                    </a:lnTo>
                    <a:lnTo>
                      <a:pt x="781" y="92"/>
                    </a:lnTo>
                    <a:lnTo>
                      <a:pt x="790" y="97"/>
                    </a:lnTo>
                    <a:lnTo>
                      <a:pt x="799" y="103"/>
                    </a:lnTo>
                    <a:lnTo>
                      <a:pt x="813" y="109"/>
                    </a:lnTo>
                    <a:lnTo>
                      <a:pt x="822" y="114"/>
                    </a:lnTo>
                    <a:lnTo>
                      <a:pt x="841" y="123"/>
                    </a:lnTo>
                    <a:lnTo>
                      <a:pt x="854" y="131"/>
                    </a:lnTo>
                    <a:lnTo>
                      <a:pt x="863" y="134"/>
                    </a:lnTo>
                    <a:lnTo>
                      <a:pt x="868" y="134"/>
                    </a:lnTo>
                    <a:lnTo>
                      <a:pt x="754" y="143"/>
                    </a:lnTo>
                    <a:lnTo>
                      <a:pt x="585" y="52"/>
                    </a:lnTo>
                    <a:lnTo>
                      <a:pt x="580" y="55"/>
                    </a:lnTo>
                    <a:lnTo>
                      <a:pt x="575" y="57"/>
                    </a:lnTo>
                    <a:lnTo>
                      <a:pt x="566" y="60"/>
                    </a:lnTo>
                    <a:lnTo>
                      <a:pt x="562" y="69"/>
                    </a:lnTo>
                    <a:lnTo>
                      <a:pt x="557" y="72"/>
                    </a:lnTo>
                    <a:lnTo>
                      <a:pt x="548" y="80"/>
                    </a:lnTo>
                    <a:lnTo>
                      <a:pt x="543" y="86"/>
                    </a:lnTo>
                    <a:lnTo>
                      <a:pt x="530" y="92"/>
                    </a:lnTo>
                    <a:lnTo>
                      <a:pt x="525" y="100"/>
                    </a:lnTo>
                    <a:lnTo>
                      <a:pt x="511" y="109"/>
                    </a:lnTo>
                    <a:lnTo>
                      <a:pt x="502" y="114"/>
                    </a:lnTo>
                    <a:lnTo>
                      <a:pt x="489" y="123"/>
                    </a:lnTo>
                    <a:lnTo>
                      <a:pt x="484" y="131"/>
                    </a:lnTo>
                    <a:lnTo>
                      <a:pt x="475" y="137"/>
                    </a:lnTo>
                    <a:lnTo>
                      <a:pt x="466" y="146"/>
                    </a:lnTo>
                    <a:lnTo>
                      <a:pt x="452" y="154"/>
                    </a:lnTo>
                    <a:lnTo>
                      <a:pt x="443" y="160"/>
                    </a:lnTo>
                    <a:lnTo>
                      <a:pt x="434" y="168"/>
                    </a:lnTo>
                    <a:lnTo>
                      <a:pt x="420" y="174"/>
                    </a:lnTo>
                    <a:lnTo>
                      <a:pt x="415" y="183"/>
                    </a:lnTo>
                    <a:lnTo>
                      <a:pt x="402" y="186"/>
                    </a:lnTo>
                    <a:lnTo>
                      <a:pt x="402" y="194"/>
                    </a:lnTo>
                    <a:lnTo>
                      <a:pt x="384" y="205"/>
                    </a:lnTo>
                    <a:lnTo>
                      <a:pt x="374" y="208"/>
                    </a:lnTo>
                    <a:lnTo>
                      <a:pt x="365" y="211"/>
                    </a:lnTo>
                    <a:lnTo>
                      <a:pt x="365" y="205"/>
                    </a:lnTo>
                    <a:lnTo>
                      <a:pt x="356" y="197"/>
                    </a:lnTo>
                    <a:lnTo>
                      <a:pt x="347" y="191"/>
                    </a:lnTo>
                    <a:lnTo>
                      <a:pt x="333" y="180"/>
                    </a:lnTo>
                    <a:lnTo>
                      <a:pt x="320" y="168"/>
                    </a:lnTo>
                    <a:lnTo>
                      <a:pt x="306" y="157"/>
                    </a:lnTo>
                    <a:lnTo>
                      <a:pt x="288" y="143"/>
                    </a:lnTo>
                    <a:lnTo>
                      <a:pt x="265" y="134"/>
                    </a:lnTo>
                    <a:lnTo>
                      <a:pt x="256" y="126"/>
                    </a:lnTo>
                    <a:lnTo>
                      <a:pt x="251" y="120"/>
                    </a:lnTo>
                    <a:lnTo>
                      <a:pt x="237" y="114"/>
                    </a:lnTo>
                    <a:lnTo>
                      <a:pt x="233" y="109"/>
                    </a:lnTo>
                    <a:lnTo>
                      <a:pt x="214" y="97"/>
                    </a:lnTo>
                    <a:lnTo>
                      <a:pt x="201" y="89"/>
                    </a:lnTo>
                    <a:lnTo>
                      <a:pt x="187" y="80"/>
                    </a:lnTo>
                    <a:lnTo>
                      <a:pt x="182" y="74"/>
                    </a:lnTo>
                    <a:lnTo>
                      <a:pt x="173" y="69"/>
                    </a:lnTo>
                    <a:lnTo>
                      <a:pt x="0" y="1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90" name="Freeform 104"/>
              <p:cNvSpPr>
                <a:spLocks/>
              </p:cNvSpPr>
              <p:nvPr>
                <p:custDataLst>
                  <p:tags r:id="rId133"/>
                </p:custDataLst>
              </p:nvPr>
            </p:nvSpPr>
            <p:spPr bwMode="gray">
              <a:xfrm>
                <a:off x="2468" y="1772"/>
                <a:ext cx="980" cy="129"/>
              </a:xfrm>
              <a:custGeom>
                <a:avLst/>
                <a:gdLst>
                  <a:gd name="T0" fmla="*/ 49 w 956"/>
                  <a:gd name="T1" fmla="*/ 31 h 142"/>
                  <a:gd name="T2" fmla="*/ 93 w 956"/>
                  <a:gd name="T3" fmla="*/ 25 h 142"/>
                  <a:gd name="T4" fmla="*/ 137 w 956"/>
                  <a:gd name="T5" fmla="*/ 22 h 142"/>
                  <a:gd name="T6" fmla="*/ 178 w 956"/>
                  <a:gd name="T7" fmla="*/ 18 h 142"/>
                  <a:gd name="T8" fmla="*/ 228 w 956"/>
                  <a:gd name="T9" fmla="*/ 14 h 142"/>
                  <a:gd name="T10" fmla="*/ 284 w 956"/>
                  <a:gd name="T11" fmla="*/ 12 h 142"/>
                  <a:gd name="T12" fmla="*/ 333 w 956"/>
                  <a:gd name="T13" fmla="*/ 9 h 142"/>
                  <a:gd name="T14" fmla="*/ 387 w 956"/>
                  <a:gd name="T15" fmla="*/ 6 h 142"/>
                  <a:gd name="T16" fmla="*/ 449 w 956"/>
                  <a:gd name="T17" fmla="*/ 5 h 142"/>
                  <a:gd name="T18" fmla="*/ 504 w 956"/>
                  <a:gd name="T19" fmla="*/ 5 h 142"/>
                  <a:gd name="T20" fmla="*/ 568 w 956"/>
                  <a:gd name="T21" fmla="*/ 5 h 142"/>
                  <a:gd name="T22" fmla="*/ 623 w 956"/>
                  <a:gd name="T23" fmla="*/ 3 h 142"/>
                  <a:gd name="T24" fmla="*/ 673 w 956"/>
                  <a:gd name="T25" fmla="*/ 3 h 142"/>
                  <a:gd name="T26" fmla="*/ 732 w 956"/>
                  <a:gd name="T27" fmla="*/ 0 h 142"/>
                  <a:gd name="T28" fmla="*/ 787 w 956"/>
                  <a:gd name="T29" fmla="*/ 0 h 142"/>
                  <a:gd name="T30" fmla="*/ 839 w 956"/>
                  <a:gd name="T31" fmla="*/ 3 h 142"/>
                  <a:gd name="T32" fmla="*/ 882 w 956"/>
                  <a:gd name="T33" fmla="*/ 3 h 142"/>
                  <a:gd name="T34" fmla="*/ 931 w 956"/>
                  <a:gd name="T35" fmla="*/ 5 h 142"/>
                  <a:gd name="T36" fmla="*/ 989 w 956"/>
                  <a:gd name="T37" fmla="*/ 5 h 142"/>
                  <a:gd name="T38" fmla="*/ 1039 w 956"/>
                  <a:gd name="T39" fmla="*/ 6 h 142"/>
                  <a:gd name="T40" fmla="*/ 1089 w 956"/>
                  <a:gd name="T41" fmla="*/ 10 h 142"/>
                  <a:gd name="T42" fmla="*/ 1139 w 956"/>
                  <a:gd name="T43" fmla="*/ 13 h 142"/>
                  <a:gd name="T44" fmla="*/ 1194 w 956"/>
                  <a:gd name="T45" fmla="*/ 19 h 142"/>
                  <a:gd name="T46" fmla="*/ 1249 w 956"/>
                  <a:gd name="T47" fmla="*/ 25 h 142"/>
                  <a:gd name="T48" fmla="*/ 1280 w 956"/>
                  <a:gd name="T49" fmla="*/ 30 h 142"/>
                  <a:gd name="T50" fmla="*/ 1280 w 956"/>
                  <a:gd name="T51" fmla="*/ 31 h 142"/>
                  <a:gd name="T52" fmla="*/ 1231 w 956"/>
                  <a:gd name="T53" fmla="*/ 27 h 142"/>
                  <a:gd name="T54" fmla="*/ 1183 w 956"/>
                  <a:gd name="T55" fmla="*/ 23 h 142"/>
                  <a:gd name="T56" fmla="*/ 1128 w 956"/>
                  <a:gd name="T57" fmla="*/ 20 h 142"/>
                  <a:gd name="T58" fmla="*/ 1064 w 956"/>
                  <a:gd name="T59" fmla="*/ 16 h 142"/>
                  <a:gd name="T60" fmla="*/ 989 w 956"/>
                  <a:gd name="T61" fmla="*/ 14 h 142"/>
                  <a:gd name="T62" fmla="*/ 911 w 956"/>
                  <a:gd name="T63" fmla="*/ 10 h 142"/>
                  <a:gd name="T64" fmla="*/ 856 w 956"/>
                  <a:gd name="T65" fmla="*/ 9 h 142"/>
                  <a:gd name="T66" fmla="*/ 814 w 956"/>
                  <a:gd name="T67" fmla="*/ 8 h 142"/>
                  <a:gd name="T68" fmla="*/ 769 w 956"/>
                  <a:gd name="T69" fmla="*/ 8 h 142"/>
                  <a:gd name="T70" fmla="*/ 728 w 956"/>
                  <a:gd name="T71" fmla="*/ 8 h 142"/>
                  <a:gd name="T72" fmla="*/ 684 w 956"/>
                  <a:gd name="T73" fmla="*/ 8 h 142"/>
                  <a:gd name="T74" fmla="*/ 634 w 956"/>
                  <a:gd name="T75" fmla="*/ 8 h 142"/>
                  <a:gd name="T76" fmla="*/ 585 w 956"/>
                  <a:gd name="T77" fmla="*/ 9 h 142"/>
                  <a:gd name="T78" fmla="*/ 535 w 956"/>
                  <a:gd name="T79" fmla="*/ 10 h 142"/>
                  <a:gd name="T80" fmla="*/ 492 w 956"/>
                  <a:gd name="T81" fmla="*/ 12 h 142"/>
                  <a:gd name="T82" fmla="*/ 444 w 956"/>
                  <a:gd name="T83" fmla="*/ 14 h 142"/>
                  <a:gd name="T84" fmla="*/ 401 w 956"/>
                  <a:gd name="T85" fmla="*/ 16 h 142"/>
                  <a:gd name="T86" fmla="*/ 359 w 956"/>
                  <a:gd name="T87" fmla="*/ 18 h 142"/>
                  <a:gd name="T88" fmla="*/ 309 w 956"/>
                  <a:gd name="T89" fmla="*/ 21 h 142"/>
                  <a:gd name="T90" fmla="*/ 253 w 956"/>
                  <a:gd name="T91" fmla="*/ 25 h 142"/>
                  <a:gd name="T92" fmla="*/ 186 w 956"/>
                  <a:gd name="T93" fmla="*/ 31 h 142"/>
                  <a:gd name="T94" fmla="*/ 116 w 956"/>
                  <a:gd name="T95" fmla="*/ 37 h 142"/>
                  <a:gd name="T96" fmla="*/ 58 w 956"/>
                  <a:gd name="T97" fmla="*/ 41 h 142"/>
                  <a:gd name="T98" fmla="*/ 0 w 956"/>
                  <a:gd name="T99" fmla="*/ 45 h 142"/>
                  <a:gd name="T100" fmla="*/ 5 w 956"/>
                  <a:gd name="T101" fmla="*/ 40 h 142"/>
                  <a:gd name="T102" fmla="*/ 5 w 956"/>
                  <a:gd name="T103" fmla="*/ 37 h 1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6"/>
                  <a:gd name="T157" fmla="*/ 0 h 142"/>
                  <a:gd name="T158" fmla="*/ 956 w 956"/>
                  <a:gd name="T159" fmla="*/ 142 h 1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6" h="142">
                    <a:moveTo>
                      <a:pt x="5" y="119"/>
                    </a:moveTo>
                    <a:lnTo>
                      <a:pt x="19" y="108"/>
                    </a:lnTo>
                    <a:lnTo>
                      <a:pt x="37" y="97"/>
                    </a:lnTo>
                    <a:lnTo>
                      <a:pt x="46" y="91"/>
                    </a:lnTo>
                    <a:lnTo>
                      <a:pt x="55" y="85"/>
                    </a:lnTo>
                    <a:lnTo>
                      <a:pt x="69" y="79"/>
                    </a:lnTo>
                    <a:lnTo>
                      <a:pt x="78" y="77"/>
                    </a:lnTo>
                    <a:lnTo>
                      <a:pt x="87" y="74"/>
                    </a:lnTo>
                    <a:lnTo>
                      <a:pt x="101" y="68"/>
                    </a:lnTo>
                    <a:lnTo>
                      <a:pt x="110" y="62"/>
                    </a:lnTo>
                    <a:lnTo>
                      <a:pt x="119" y="60"/>
                    </a:lnTo>
                    <a:lnTo>
                      <a:pt x="133" y="57"/>
                    </a:lnTo>
                    <a:lnTo>
                      <a:pt x="147" y="51"/>
                    </a:lnTo>
                    <a:lnTo>
                      <a:pt x="156" y="51"/>
                    </a:lnTo>
                    <a:lnTo>
                      <a:pt x="170" y="45"/>
                    </a:lnTo>
                    <a:lnTo>
                      <a:pt x="183" y="42"/>
                    </a:lnTo>
                    <a:lnTo>
                      <a:pt x="192" y="40"/>
                    </a:lnTo>
                    <a:lnTo>
                      <a:pt x="211" y="37"/>
                    </a:lnTo>
                    <a:lnTo>
                      <a:pt x="224" y="31"/>
                    </a:lnTo>
                    <a:lnTo>
                      <a:pt x="234" y="31"/>
                    </a:lnTo>
                    <a:lnTo>
                      <a:pt x="247" y="28"/>
                    </a:lnTo>
                    <a:lnTo>
                      <a:pt x="261" y="25"/>
                    </a:lnTo>
                    <a:lnTo>
                      <a:pt x="279" y="22"/>
                    </a:lnTo>
                    <a:lnTo>
                      <a:pt x="288" y="20"/>
                    </a:lnTo>
                    <a:lnTo>
                      <a:pt x="307" y="20"/>
                    </a:lnTo>
                    <a:lnTo>
                      <a:pt x="320" y="17"/>
                    </a:lnTo>
                    <a:lnTo>
                      <a:pt x="334" y="17"/>
                    </a:lnTo>
                    <a:lnTo>
                      <a:pt x="343" y="14"/>
                    </a:lnTo>
                    <a:lnTo>
                      <a:pt x="361" y="11"/>
                    </a:lnTo>
                    <a:lnTo>
                      <a:pt x="375" y="8"/>
                    </a:lnTo>
                    <a:lnTo>
                      <a:pt x="393" y="8"/>
                    </a:lnTo>
                    <a:lnTo>
                      <a:pt x="403" y="8"/>
                    </a:lnTo>
                    <a:lnTo>
                      <a:pt x="421" y="5"/>
                    </a:lnTo>
                    <a:lnTo>
                      <a:pt x="430" y="5"/>
                    </a:lnTo>
                    <a:lnTo>
                      <a:pt x="448" y="5"/>
                    </a:lnTo>
                    <a:lnTo>
                      <a:pt x="462" y="3"/>
                    </a:lnTo>
                    <a:lnTo>
                      <a:pt x="476" y="3"/>
                    </a:lnTo>
                    <a:lnTo>
                      <a:pt x="489" y="3"/>
                    </a:lnTo>
                    <a:lnTo>
                      <a:pt x="499" y="3"/>
                    </a:lnTo>
                    <a:lnTo>
                      <a:pt x="517" y="0"/>
                    </a:lnTo>
                    <a:lnTo>
                      <a:pt x="531" y="0"/>
                    </a:lnTo>
                    <a:lnTo>
                      <a:pt x="544" y="0"/>
                    </a:lnTo>
                    <a:lnTo>
                      <a:pt x="553" y="0"/>
                    </a:lnTo>
                    <a:lnTo>
                      <a:pt x="567" y="0"/>
                    </a:lnTo>
                    <a:lnTo>
                      <a:pt x="585" y="0"/>
                    </a:lnTo>
                    <a:lnTo>
                      <a:pt x="595" y="0"/>
                    </a:lnTo>
                    <a:lnTo>
                      <a:pt x="608" y="3"/>
                    </a:lnTo>
                    <a:lnTo>
                      <a:pt x="622" y="3"/>
                    </a:lnTo>
                    <a:lnTo>
                      <a:pt x="631" y="3"/>
                    </a:lnTo>
                    <a:lnTo>
                      <a:pt x="645" y="3"/>
                    </a:lnTo>
                    <a:lnTo>
                      <a:pt x="654" y="3"/>
                    </a:lnTo>
                    <a:lnTo>
                      <a:pt x="668" y="3"/>
                    </a:lnTo>
                    <a:lnTo>
                      <a:pt x="677" y="3"/>
                    </a:lnTo>
                    <a:lnTo>
                      <a:pt x="691" y="5"/>
                    </a:lnTo>
                    <a:lnTo>
                      <a:pt x="700" y="5"/>
                    </a:lnTo>
                    <a:lnTo>
                      <a:pt x="718" y="8"/>
                    </a:lnTo>
                    <a:lnTo>
                      <a:pt x="736" y="8"/>
                    </a:lnTo>
                    <a:lnTo>
                      <a:pt x="750" y="14"/>
                    </a:lnTo>
                    <a:lnTo>
                      <a:pt x="764" y="17"/>
                    </a:lnTo>
                    <a:lnTo>
                      <a:pt x="773" y="20"/>
                    </a:lnTo>
                    <a:lnTo>
                      <a:pt x="791" y="22"/>
                    </a:lnTo>
                    <a:lnTo>
                      <a:pt x="800" y="25"/>
                    </a:lnTo>
                    <a:lnTo>
                      <a:pt x="809" y="31"/>
                    </a:lnTo>
                    <a:lnTo>
                      <a:pt x="823" y="31"/>
                    </a:lnTo>
                    <a:lnTo>
                      <a:pt x="837" y="37"/>
                    </a:lnTo>
                    <a:lnTo>
                      <a:pt x="846" y="40"/>
                    </a:lnTo>
                    <a:lnTo>
                      <a:pt x="855" y="42"/>
                    </a:lnTo>
                    <a:lnTo>
                      <a:pt x="873" y="51"/>
                    </a:lnTo>
                    <a:lnTo>
                      <a:pt x="887" y="60"/>
                    </a:lnTo>
                    <a:lnTo>
                      <a:pt x="905" y="65"/>
                    </a:lnTo>
                    <a:lnTo>
                      <a:pt x="919" y="74"/>
                    </a:lnTo>
                    <a:lnTo>
                      <a:pt x="928" y="77"/>
                    </a:lnTo>
                    <a:lnTo>
                      <a:pt x="937" y="85"/>
                    </a:lnTo>
                    <a:lnTo>
                      <a:pt x="946" y="88"/>
                    </a:lnTo>
                    <a:lnTo>
                      <a:pt x="951" y="94"/>
                    </a:lnTo>
                    <a:lnTo>
                      <a:pt x="956" y="97"/>
                    </a:lnTo>
                    <a:lnTo>
                      <a:pt x="956" y="99"/>
                    </a:lnTo>
                    <a:lnTo>
                      <a:pt x="951" y="97"/>
                    </a:lnTo>
                    <a:lnTo>
                      <a:pt x="942" y="94"/>
                    </a:lnTo>
                    <a:lnTo>
                      <a:pt x="928" y="88"/>
                    </a:lnTo>
                    <a:lnTo>
                      <a:pt x="914" y="85"/>
                    </a:lnTo>
                    <a:lnTo>
                      <a:pt x="901" y="79"/>
                    </a:lnTo>
                    <a:lnTo>
                      <a:pt x="887" y="77"/>
                    </a:lnTo>
                    <a:lnTo>
                      <a:pt x="878" y="74"/>
                    </a:lnTo>
                    <a:lnTo>
                      <a:pt x="864" y="68"/>
                    </a:lnTo>
                    <a:lnTo>
                      <a:pt x="846" y="65"/>
                    </a:lnTo>
                    <a:lnTo>
                      <a:pt x="837" y="62"/>
                    </a:lnTo>
                    <a:lnTo>
                      <a:pt x="823" y="60"/>
                    </a:lnTo>
                    <a:lnTo>
                      <a:pt x="809" y="57"/>
                    </a:lnTo>
                    <a:lnTo>
                      <a:pt x="791" y="51"/>
                    </a:lnTo>
                    <a:lnTo>
                      <a:pt x="773" y="51"/>
                    </a:lnTo>
                    <a:lnTo>
                      <a:pt x="755" y="45"/>
                    </a:lnTo>
                    <a:lnTo>
                      <a:pt x="736" y="42"/>
                    </a:lnTo>
                    <a:lnTo>
                      <a:pt x="718" y="40"/>
                    </a:lnTo>
                    <a:lnTo>
                      <a:pt x="700" y="37"/>
                    </a:lnTo>
                    <a:lnTo>
                      <a:pt x="677" y="31"/>
                    </a:lnTo>
                    <a:lnTo>
                      <a:pt x="659" y="31"/>
                    </a:lnTo>
                    <a:lnTo>
                      <a:pt x="649" y="31"/>
                    </a:lnTo>
                    <a:lnTo>
                      <a:pt x="636" y="28"/>
                    </a:lnTo>
                    <a:lnTo>
                      <a:pt x="627" y="28"/>
                    </a:lnTo>
                    <a:lnTo>
                      <a:pt x="617" y="28"/>
                    </a:lnTo>
                    <a:lnTo>
                      <a:pt x="604" y="25"/>
                    </a:lnTo>
                    <a:lnTo>
                      <a:pt x="595" y="25"/>
                    </a:lnTo>
                    <a:lnTo>
                      <a:pt x="585" y="25"/>
                    </a:lnTo>
                    <a:lnTo>
                      <a:pt x="572" y="25"/>
                    </a:lnTo>
                    <a:lnTo>
                      <a:pt x="563" y="25"/>
                    </a:lnTo>
                    <a:lnTo>
                      <a:pt x="553" y="25"/>
                    </a:lnTo>
                    <a:lnTo>
                      <a:pt x="540" y="25"/>
                    </a:lnTo>
                    <a:lnTo>
                      <a:pt x="531" y="25"/>
                    </a:lnTo>
                    <a:lnTo>
                      <a:pt x="517" y="25"/>
                    </a:lnTo>
                    <a:lnTo>
                      <a:pt x="508" y="25"/>
                    </a:lnTo>
                    <a:lnTo>
                      <a:pt x="499" y="25"/>
                    </a:lnTo>
                    <a:lnTo>
                      <a:pt x="485" y="25"/>
                    </a:lnTo>
                    <a:lnTo>
                      <a:pt x="471" y="25"/>
                    </a:lnTo>
                    <a:lnTo>
                      <a:pt x="462" y="25"/>
                    </a:lnTo>
                    <a:lnTo>
                      <a:pt x="448" y="25"/>
                    </a:lnTo>
                    <a:lnTo>
                      <a:pt x="435" y="28"/>
                    </a:lnTo>
                    <a:lnTo>
                      <a:pt x="421" y="28"/>
                    </a:lnTo>
                    <a:lnTo>
                      <a:pt x="412" y="31"/>
                    </a:lnTo>
                    <a:lnTo>
                      <a:pt x="398" y="31"/>
                    </a:lnTo>
                    <a:lnTo>
                      <a:pt x="389" y="31"/>
                    </a:lnTo>
                    <a:lnTo>
                      <a:pt x="375" y="34"/>
                    </a:lnTo>
                    <a:lnTo>
                      <a:pt x="366" y="37"/>
                    </a:lnTo>
                    <a:lnTo>
                      <a:pt x="352" y="37"/>
                    </a:lnTo>
                    <a:lnTo>
                      <a:pt x="343" y="40"/>
                    </a:lnTo>
                    <a:lnTo>
                      <a:pt x="330" y="42"/>
                    </a:lnTo>
                    <a:lnTo>
                      <a:pt x="320" y="42"/>
                    </a:lnTo>
                    <a:lnTo>
                      <a:pt x="311" y="48"/>
                    </a:lnTo>
                    <a:lnTo>
                      <a:pt x="298" y="51"/>
                    </a:lnTo>
                    <a:lnTo>
                      <a:pt x="288" y="51"/>
                    </a:lnTo>
                    <a:lnTo>
                      <a:pt x="275" y="54"/>
                    </a:lnTo>
                    <a:lnTo>
                      <a:pt x="266" y="57"/>
                    </a:lnTo>
                    <a:lnTo>
                      <a:pt x="252" y="60"/>
                    </a:lnTo>
                    <a:lnTo>
                      <a:pt x="243" y="62"/>
                    </a:lnTo>
                    <a:lnTo>
                      <a:pt x="229" y="65"/>
                    </a:lnTo>
                    <a:lnTo>
                      <a:pt x="224" y="68"/>
                    </a:lnTo>
                    <a:lnTo>
                      <a:pt x="211" y="74"/>
                    </a:lnTo>
                    <a:lnTo>
                      <a:pt x="188" y="79"/>
                    </a:lnTo>
                    <a:lnTo>
                      <a:pt x="174" y="85"/>
                    </a:lnTo>
                    <a:lnTo>
                      <a:pt x="156" y="91"/>
                    </a:lnTo>
                    <a:lnTo>
                      <a:pt x="138" y="99"/>
                    </a:lnTo>
                    <a:lnTo>
                      <a:pt x="119" y="105"/>
                    </a:lnTo>
                    <a:lnTo>
                      <a:pt x="101" y="108"/>
                    </a:lnTo>
                    <a:lnTo>
                      <a:pt x="87" y="116"/>
                    </a:lnTo>
                    <a:lnTo>
                      <a:pt x="69" y="119"/>
                    </a:lnTo>
                    <a:lnTo>
                      <a:pt x="55" y="128"/>
                    </a:lnTo>
                    <a:lnTo>
                      <a:pt x="46" y="131"/>
                    </a:lnTo>
                    <a:lnTo>
                      <a:pt x="32" y="136"/>
                    </a:lnTo>
                    <a:lnTo>
                      <a:pt x="23" y="142"/>
                    </a:lnTo>
                    <a:lnTo>
                      <a:pt x="0" y="142"/>
                    </a:lnTo>
                    <a:lnTo>
                      <a:pt x="0" y="136"/>
                    </a:lnTo>
                    <a:lnTo>
                      <a:pt x="0" y="128"/>
                    </a:lnTo>
                    <a:lnTo>
                      <a:pt x="5" y="125"/>
                    </a:lnTo>
                    <a:lnTo>
                      <a:pt x="5" y="11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grpSp>
        <p:grpSp>
          <p:nvGrpSpPr>
            <p:cNvPr id="91" name="Group 145"/>
            <p:cNvGrpSpPr>
              <a:grpSpLocks/>
            </p:cNvGrpSpPr>
            <p:nvPr/>
          </p:nvGrpSpPr>
          <p:grpSpPr bwMode="gray">
            <a:xfrm>
              <a:off x="2602100" y="3235245"/>
              <a:ext cx="820960" cy="481686"/>
              <a:chOff x="0" y="402"/>
              <a:chExt cx="5645" cy="2423"/>
            </a:xfrm>
          </p:grpSpPr>
          <p:sp>
            <p:nvSpPr>
              <p:cNvPr id="92" name="Freeform 146"/>
              <p:cNvSpPr>
                <a:spLocks/>
              </p:cNvSpPr>
              <p:nvPr>
                <p:custDataLst>
                  <p:tags r:id="rId56"/>
                </p:custDataLst>
              </p:nvPr>
            </p:nvSpPr>
            <p:spPr bwMode="gray">
              <a:xfrm>
                <a:off x="0" y="402"/>
                <a:ext cx="5645" cy="831"/>
              </a:xfrm>
              <a:custGeom>
                <a:avLst/>
                <a:gdLst>
                  <a:gd name="T0" fmla="*/ 148 w 5507"/>
                  <a:gd name="T1" fmla="*/ 5 h 1310"/>
                  <a:gd name="T2" fmla="*/ 449 w 5507"/>
                  <a:gd name="T3" fmla="*/ 4 h 1310"/>
                  <a:gd name="T4" fmla="*/ 854 w 5507"/>
                  <a:gd name="T5" fmla="*/ 4 h 1310"/>
                  <a:gd name="T6" fmla="*/ 1316 w 5507"/>
                  <a:gd name="T7" fmla="*/ 3 h 1310"/>
                  <a:gd name="T8" fmla="*/ 1808 w 5507"/>
                  <a:gd name="T9" fmla="*/ 2 h 1310"/>
                  <a:gd name="T10" fmla="*/ 2312 w 5507"/>
                  <a:gd name="T11" fmla="*/ 1 h 1310"/>
                  <a:gd name="T12" fmla="*/ 2786 w 5507"/>
                  <a:gd name="T13" fmla="*/ 1 h 1310"/>
                  <a:gd name="T14" fmla="*/ 3198 w 5507"/>
                  <a:gd name="T15" fmla="*/ 1 h 1310"/>
                  <a:gd name="T16" fmla="*/ 3529 w 5507"/>
                  <a:gd name="T17" fmla="*/ 1 h 1310"/>
                  <a:gd name="T18" fmla="*/ 3721 w 5507"/>
                  <a:gd name="T19" fmla="*/ 1 h 1310"/>
                  <a:gd name="T20" fmla="*/ 3828 w 5507"/>
                  <a:gd name="T21" fmla="*/ 1 h 1310"/>
                  <a:gd name="T22" fmla="*/ 3940 w 5507"/>
                  <a:gd name="T23" fmla="*/ 1 h 1310"/>
                  <a:gd name="T24" fmla="*/ 4079 w 5507"/>
                  <a:gd name="T25" fmla="*/ 1 h 1310"/>
                  <a:gd name="T26" fmla="*/ 4212 w 5507"/>
                  <a:gd name="T27" fmla="*/ 1 h 1310"/>
                  <a:gd name="T28" fmla="*/ 4367 w 5507"/>
                  <a:gd name="T29" fmla="*/ 1 h 1310"/>
                  <a:gd name="T30" fmla="*/ 4527 w 5507"/>
                  <a:gd name="T31" fmla="*/ 1 h 1310"/>
                  <a:gd name="T32" fmla="*/ 4701 w 5507"/>
                  <a:gd name="T33" fmla="*/ 1 h 1310"/>
                  <a:gd name="T34" fmla="*/ 4907 w 5507"/>
                  <a:gd name="T35" fmla="*/ 1 h 1310"/>
                  <a:gd name="T36" fmla="*/ 5308 w 5507"/>
                  <a:gd name="T37" fmla="*/ 2 h 1310"/>
                  <a:gd name="T38" fmla="*/ 5701 w 5507"/>
                  <a:gd name="T39" fmla="*/ 3 h 1310"/>
                  <a:gd name="T40" fmla="*/ 6087 w 5507"/>
                  <a:gd name="T41" fmla="*/ 3 h 1310"/>
                  <a:gd name="T42" fmla="*/ 6451 w 5507"/>
                  <a:gd name="T43" fmla="*/ 3 h 1310"/>
                  <a:gd name="T44" fmla="*/ 6778 w 5507"/>
                  <a:gd name="T45" fmla="*/ 4 h 1310"/>
                  <a:gd name="T46" fmla="*/ 7042 w 5507"/>
                  <a:gd name="T47" fmla="*/ 4 h 1310"/>
                  <a:gd name="T48" fmla="*/ 7252 w 5507"/>
                  <a:gd name="T49" fmla="*/ 4 h 1310"/>
                  <a:gd name="T50" fmla="*/ 7374 w 5507"/>
                  <a:gd name="T51" fmla="*/ 4 h 1310"/>
                  <a:gd name="T52" fmla="*/ 7367 w 5507"/>
                  <a:gd name="T53" fmla="*/ 5 h 1310"/>
                  <a:gd name="T54" fmla="*/ 7246 w 5507"/>
                  <a:gd name="T55" fmla="*/ 5 h 1310"/>
                  <a:gd name="T56" fmla="*/ 7096 w 5507"/>
                  <a:gd name="T57" fmla="*/ 5 h 1310"/>
                  <a:gd name="T58" fmla="*/ 7042 w 5507"/>
                  <a:gd name="T59" fmla="*/ 5 h 1310"/>
                  <a:gd name="T60" fmla="*/ 6937 w 5507"/>
                  <a:gd name="T61" fmla="*/ 4 h 1310"/>
                  <a:gd name="T62" fmla="*/ 6802 w 5507"/>
                  <a:gd name="T63" fmla="*/ 4 h 1310"/>
                  <a:gd name="T64" fmla="*/ 6624 w 5507"/>
                  <a:gd name="T65" fmla="*/ 4 h 1310"/>
                  <a:gd name="T66" fmla="*/ 6415 w 5507"/>
                  <a:gd name="T67" fmla="*/ 4 h 1310"/>
                  <a:gd name="T68" fmla="*/ 6181 w 5507"/>
                  <a:gd name="T69" fmla="*/ 4 h 1310"/>
                  <a:gd name="T70" fmla="*/ 5923 w 5507"/>
                  <a:gd name="T71" fmla="*/ 3 h 1310"/>
                  <a:gd name="T72" fmla="*/ 5645 w 5507"/>
                  <a:gd name="T73" fmla="*/ 3 h 1310"/>
                  <a:gd name="T74" fmla="*/ 5375 w 5507"/>
                  <a:gd name="T75" fmla="*/ 3 h 1310"/>
                  <a:gd name="T76" fmla="*/ 5144 w 5507"/>
                  <a:gd name="T77" fmla="*/ 3 h 1310"/>
                  <a:gd name="T78" fmla="*/ 4902 w 5507"/>
                  <a:gd name="T79" fmla="*/ 2 h 1310"/>
                  <a:gd name="T80" fmla="*/ 4672 w 5507"/>
                  <a:gd name="T81" fmla="*/ 2 h 1310"/>
                  <a:gd name="T82" fmla="*/ 4458 w 5507"/>
                  <a:gd name="T83" fmla="*/ 2 h 1310"/>
                  <a:gd name="T84" fmla="*/ 4255 w 5507"/>
                  <a:gd name="T85" fmla="*/ 1 h 1310"/>
                  <a:gd name="T86" fmla="*/ 4073 w 5507"/>
                  <a:gd name="T87" fmla="*/ 1 h 1310"/>
                  <a:gd name="T88" fmla="*/ 3912 w 5507"/>
                  <a:gd name="T89" fmla="*/ 1 h 1310"/>
                  <a:gd name="T90" fmla="*/ 3783 w 5507"/>
                  <a:gd name="T91" fmla="*/ 1 h 1310"/>
                  <a:gd name="T92" fmla="*/ 3644 w 5507"/>
                  <a:gd name="T93" fmla="*/ 1 h 1310"/>
                  <a:gd name="T94" fmla="*/ 3321 w 5507"/>
                  <a:gd name="T95" fmla="*/ 1 h 1310"/>
                  <a:gd name="T96" fmla="*/ 2909 w 5507"/>
                  <a:gd name="T97" fmla="*/ 1 h 1310"/>
                  <a:gd name="T98" fmla="*/ 2423 w 5507"/>
                  <a:gd name="T99" fmla="*/ 2 h 1310"/>
                  <a:gd name="T100" fmla="*/ 1911 w 5507"/>
                  <a:gd name="T101" fmla="*/ 3 h 1310"/>
                  <a:gd name="T102" fmla="*/ 1409 w 5507"/>
                  <a:gd name="T103" fmla="*/ 4 h 1310"/>
                  <a:gd name="T104" fmla="*/ 954 w 5507"/>
                  <a:gd name="T105" fmla="*/ 4 h 1310"/>
                  <a:gd name="T106" fmla="*/ 579 w 5507"/>
                  <a:gd name="T107" fmla="*/ 5 h 1310"/>
                  <a:gd name="T108" fmla="*/ 326 w 5507"/>
                  <a:gd name="T109" fmla="*/ 6 h 1310"/>
                  <a:gd name="T110" fmla="*/ 221 w 5507"/>
                  <a:gd name="T111" fmla="*/ 6 h 1310"/>
                  <a:gd name="T112" fmla="*/ 88 w 5507"/>
                  <a:gd name="T113" fmla="*/ 6 h 13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07"/>
                  <a:gd name="T172" fmla="*/ 0 h 1310"/>
                  <a:gd name="T173" fmla="*/ 5507 w 5507"/>
                  <a:gd name="T174" fmla="*/ 1310 h 13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07" h="1310">
                    <a:moveTo>
                      <a:pt x="0" y="1281"/>
                    </a:moveTo>
                    <a:lnTo>
                      <a:pt x="0" y="1264"/>
                    </a:lnTo>
                    <a:lnTo>
                      <a:pt x="18" y="1253"/>
                    </a:lnTo>
                    <a:lnTo>
                      <a:pt x="41" y="1236"/>
                    </a:lnTo>
                    <a:lnTo>
                      <a:pt x="64" y="1219"/>
                    </a:lnTo>
                    <a:lnTo>
                      <a:pt x="87" y="1205"/>
                    </a:lnTo>
                    <a:lnTo>
                      <a:pt x="110" y="1185"/>
                    </a:lnTo>
                    <a:lnTo>
                      <a:pt x="137" y="1165"/>
                    </a:lnTo>
                    <a:lnTo>
                      <a:pt x="165" y="1148"/>
                    </a:lnTo>
                    <a:lnTo>
                      <a:pt x="197" y="1125"/>
                    </a:lnTo>
                    <a:lnTo>
                      <a:pt x="229" y="1105"/>
                    </a:lnTo>
                    <a:lnTo>
                      <a:pt x="260" y="1082"/>
                    </a:lnTo>
                    <a:lnTo>
                      <a:pt x="297" y="1062"/>
                    </a:lnTo>
                    <a:lnTo>
                      <a:pt x="334" y="1039"/>
                    </a:lnTo>
                    <a:lnTo>
                      <a:pt x="379" y="1017"/>
                    </a:lnTo>
                    <a:lnTo>
                      <a:pt x="416" y="991"/>
                    </a:lnTo>
                    <a:lnTo>
                      <a:pt x="457" y="965"/>
                    </a:lnTo>
                    <a:lnTo>
                      <a:pt x="498" y="943"/>
                    </a:lnTo>
                    <a:lnTo>
                      <a:pt x="544" y="917"/>
                    </a:lnTo>
                    <a:lnTo>
                      <a:pt x="585" y="891"/>
                    </a:lnTo>
                    <a:lnTo>
                      <a:pt x="635" y="866"/>
                    </a:lnTo>
                    <a:lnTo>
                      <a:pt x="681" y="837"/>
                    </a:lnTo>
                    <a:lnTo>
                      <a:pt x="727" y="814"/>
                    </a:lnTo>
                    <a:lnTo>
                      <a:pt x="777" y="786"/>
                    </a:lnTo>
                    <a:lnTo>
                      <a:pt x="827" y="760"/>
                    </a:lnTo>
                    <a:lnTo>
                      <a:pt x="873" y="732"/>
                    </a:lnTo>
                    <a:lnTo>
                      <a:pt x="928" y="706"/>
                    </a:lnTo>
                    <a:lnTo>
                      <a:pt x="978" y="678"/>
                    </a:lnTo>
                    <a:lnTo>
                      <a:pt x="1028" y="652"/>
                    </a:lnTo>
                    <a:lnTo>
                      <a:pt x="1083" y="624"/>
                    </a:lnTo>
                    <a:lnTo>
                      <a:pt x="1133" y="598"/>
                    </a:lnTo>
                    <a:lnTo>
                      <a:pt x="1188" y="570"/>
                    </a:lnTo>
                    <a:lnTo>
                      <a:pt x="1239" y="547"/>
                    </a:lnTo>
                    <a:lnTo>
                      <a:pt x="1289" y="518"/>
                    </a:lnTo>
                    <a:lnTo>
                      <a:pt x="1344" y="493"/>
                    </a:lnTo>
                    <a:lnTo>
                      <a:pt x="1398" y="464"/>
                    </a:lnTo>
                    <a:lnTo>
                      <a:pt x="1453" y="439"/>
                    </a:lnTo>
                    <a:lnTo>
                      <a:pt x="1508" y="416"/>
                    </a:lnTo>
                    <a:lnTo>
                      <a:pt x="1563" y="387"/>
                    </a:lnTo>
                    <a:lnTo>
                      <a:pt x="1613" y="364"/>
                    </a:lnTo>
                    <a:lnTo>
                      <a:pt x="1668" y="342"/>
                    </a:lnTo>
                    <a:lnTo>
                      <a:pt x="1718" y="316"/>
                    </a:lnTo>
                    <a:lnTo>
                      <a:pt x="1769" y="293"/>
                    </a:lnTo>
                    <a:lnTo>
                      <a:pt x="1819" y="268"/>
                    </a:lnTo>
                    <a:lnTo>
                      <a:pt x="1874" y="248"/>
                    </a:lnTo>
                    <a:lnTo>
                      <a:pt x="1919" y="228"/>
                    </a:lnTo>
                    <a:lnTo>
                      <a:pt x="1970" y="208"/>
                    </a:lnTo>
                    <a:lnTo>
                      <a:pt x="2015" y="185"/>
                    </a:lnTo>
                    <a:lnTo>
                      <a:pt x="2070" y="171"/>
                    </a:lnTo>
                    <a:lnTo>
                      <a:pt x="2116" y="151"/>
                    </a:lnTo>
                    <a:lnTo>
                      <a:pt x="2162" y="134"/>
                    </a:lnTo>
                    <a:lnTo>
                      <a:pt x="2207" y="117"/>
                    </a:lnTo>
                    <a:lnTo>
                      <a:pt x="2253" y="103"/>
                    </a:lnTo>
                    <a:lnTo>
                      <a:pt x="2294" y="85"/>
                    </a:lnTo>
                    <a:lnTo>
                      <a:pt x="2340" y="74"/>
                    </a:lnTo>
                    <a:lnTo>
                      <a:pt x="2376" y="60"/>
                    </a:lnTo>
                    <a:lnTo>
                      <a:pt x="2418" y="48"/>
                    </a:lnTo>
                    <a:lnTo>
                      <a:pt x="2454" y="37"/>
                    </a:lnTo>
                    <a:lnTo>
                      <a:pt x="2495" y="28"/>
                    </a:lnTo>
                    <a:lnTo>
                      <a:pt x="2527" y="20"/>
                    </a:lnTo>
                    <a:lnTo>
                      <a:pt x="2564" y="14"/>
                    </a:lnTo>
                    <a:lnTo>
                      <a:pt x="2596" y="9"/>
                    </a:lnTo>
                    <a:lnTo>
                      <a:pt x="2623" y="3"/>
                    </a:lnTo>
                    <a:lnTo>
                      <a:pt x="2651" y="0"/>
                    </a:lnTo>
                    <a:lnTo>
                      <a:pt x="2683" y="0"/>
                    </a:lnTo>
                    <a:lnTo>
                      <a:pt x="2701" y="0"/>
                    </a:lnTo>
                    <a:lnTo>
                      <a:pt x="2719" y="0"/>
                    </a:lnTo>
                    <a:lnTo>
                      <a:pt x="2738" y="0"/>
                    </a:lnTo>
                    <a:lnTo>
                      <a:pt x="2756" y="3"/>
                    </a:lnTo>
                    <a:lnTo>
                      <a:pt x="2765" y="3"/>
                    </a:lnTo>
                    <a:lnTo>
                      <a:pt x="2774" y="6"/>
                    </a:lnTo>
                    <a:lnTo>
                      <a:pt x="2783" y="9"/>
                    </a:lnTo>
                    <a:lnTo>
                      <a:pt x="2797" y="11"/>
                    </a:lnTo>
                    <a:lnTo>
                      <a:pt x="2806" y="11"/>
                    </a:lnTo>
                    <a:lnTo>
                      <a:pt x="2820" y="11"/>
                    </a:lnTo>
                    <a:lnTo>
                      <a:pt x="2829" y="14"/>
                    </a:lnTo>
                    <a:lnTo>
                      <a:pt x="2843" y="20"/>
                    </a:lnTo>
                    <a:lnTo>
                      <a:pt x="2856" y="23"/>
                    </a:lnTo>
                    <a:lnTo>
                      <a:pt x="2865" y="23"/>
                    </a:lnTo>
                    <a:lnTo>
                      <a:pt x="2879" y="26"/>
                    </a:lnTo>
                    <a:lnTo>
                      <a:pt x="2893" y="31"/>
                    </a:lnTo>
                    <a:lnTo>
                      <a:pt x="2907" y="31"/>
                    </a:lnTo>
                    <a:lnTo>
                      <a:pt x="2916" y="37"/>
                    </a:lnTo>
                    <a:lnTo>
                      <a:pt x="2929" y="40"/>
                    </a:lnTo>
                    <a:lnTo>
                      <a:pt x="2943" y="46"/>
                    </a:lnTo>
                    <a:lnTo>
                      <a:pt x="2957" y="48"/>
                    </a:lnTo>
                    <a:lnTo>
                      <a:pt x="2971" y="51"/>
                    </a:lnTo>
                    <a:lnTo>
                      <a:pt x="2984" y="57"/>
                    </a:lnTo>
                    <a:lnTo>
                      <a:pt x="2998" y="60"/>
                    </a:lnTo>
                    <a:lnTo>
                      <a:pt x="3012" y="65"/>
                    </a:lnTo>
                    <a:lnTo>
                      <a:pt x="3030" y="71"/>
                    </a:lnTo>
                    <a:lnTo>
                      <a:pt x="3039" y="74"/>
                    </a:lnTo>
                    <a:lnTo>
                      <a:pt x="3057" y="80"/>
                    </a:lnTo>
                    <a:lnTo>
                      <a:pt x="3071" y="83"/>
                    </a:lnTo>
                    <a:lnTo>
                      <a:pt x="3085" y="88"/>
                    </a:lnTo>
                    <a:lnTo>
                      <a:pt x="3099" y="94"/>
                    </a:lnTo>
                    <a:lnTo>
                      <a:pt x="3117" y="100"/>
                    </a:lnTo>
                    <a:lnTo>
                      <a:pt x="3131" y="105"/>
                    </a:lnTo>
                    <a:lnTo>
                      <a:pt x="3144" y="108"/>
                    </a:lnTo>
                    <a:lnTo>
                      <a:pt x="3163" y="117"/>
                    </a:lnTo>
                    <a:lnTo>
                      <a:pt x="3181" y="120"/>
                    </a:lnTo>
                    <a:lnTo>
                      <a:pt x="3195" y="125"/>
                    </a:lnTo>
                    <a:lnTo>
                      <a:pt x="3208" y="131"/>
                    </a:lnTo>
                    <a:lnTo>
                      <a:pt x="3227" y="137"/>
                    </a:lnTo>
                    <a:lnTo>
                      <a:pt x="3245" y="142"/>
                    </a:lnTo>
                    <a:lnTo>
                      <a:pt x="3263" y="151"/>
                    </a:lnTo>
                    <a:lnTo>
                      <a:pt x="3277" y="157"/>
                    </a:lnTo>
                    <a:lnTo>
                      <a:pt x="3295" y="162"/>
                    </a:lnTo>
                    <a:lnTo>
                      <a:pt x="3313" y="171"/>
                    </a:lnTo>
                    <a:lnTo>
                      <a:pt x="3332" y="174"/>
                    </a:lnTo>
                    <a:lnTo>
                      <a:pt x="3345" y="182"/>
                    </a:lnTo>
                    <a:lnTo>
                      <a:pt x="3364" y="185"/>
                    </a:lnTo>
                    <a:lnTo>
                      <a:pt x="3382" y="194"/>
                    </a:lnTo>
                    <a:lnTo>
                      <a:pt x="3400" y="202"/>
                    </a:lnTo>
                    <a:lnTo>
                      <a:pt x="3418" y="208"/>
                    </a:lnTo>
                    <a:lnTo>
                      <a:pt x="3437" y="214"/>
                    </a:lnTo>
                    <a:lnTo>
                      <a:pt x="3455" y="222"/>
                    </a:lnTo>
                    <a:lnTo>
                      <a:pt x="3473" y="228"/>
                    </a:lnTo>
                    <a:lnTo>
                      <a:pt x="3492" y="236"/>
                    </a:lnTo>
                    <a:lnTo>
                      <a:pt x="3510" y="242"/>
                    </a:lnTo>
                    <a:lnTo>
                      <a:pt x="3528" y="251"/>
                    </a:lnTo>
                    <a:lnTo>
                      <a:pt x="3546" y="256"/>
                    </a:lnTo>
                    <a:lnTo>
                      <a:pt x="3569" y="265"/>
                    </a:lnTo>
                    <a:lnTo>
                      <a:pt x="3588" y="273"/>
                    </a:lnTo>
                    <a:lnTo>
                      <a:pt x="3610" y="279"/>
                    </a:lnTo>
                    <a:lnTo>
                      <a:pt x="3647" y="296"/>
                    </a:lnTo>
                    <a:lnTo>
                      <a:pt x="3688" y="310"/>
                    </a:lnTo>
                    <a:lnTo>
                      <a:pt x="3729" y="325"/>
                    </a:lnTo>
                    <a:lnTo>
                      <a:pt x="3770" y="342"/>
                    </a:lnTo>
                    <a:lnTo>
                      <a:pt x="3816" y="356"/>
                    </a:lnTo>
                    <a:lnTo>
                      <a:pt x="3853" y="376"/>
                    </a:lnTo>
                    <a:lnTo>
                      <a:pt x="3898" y="390"/>
                    </a:lnTo>
                    <a:lnTo>
                      <a:pt x="3944" y="407"/>
                    </a:lnTo>
                    <a:lnTo>
                      <a:pt x="3981" y="424"/>
                    </a:lnTo>
                    <a:lnTo>
                      <a:pt x="4026" y="441"/>
                    </a:lnTo>
                    <a:lnTo>
                      <a:pt x="4067" y="461"/>
                    </a:lnTo>
                    <a:lnTo>
                      <a:pt x="4109" y="476"/>
                    </a:lnTo>
                    <a:lnTo>
                      <a:pt x="4150" y="493"/>
                    </a:lnTo>
                    <a:lnTo>
                      <a:pt x="4195" y="510"/>
                    </a:lnTo>
                    <a:lnTo>
                      <a:pt x="4237" y="527"/>
                    </a:lnTo>
                    <a:lnTo>
                      <a:pt x="4278" y="547"/>
                    </a:lnTo>
                    <a:lnTo>
                      <a:pt x="4319" y="564"/>
                    </a:lnTo>
                    <a:lnTo>
                      <a:pt x="4364" y="578"/>
                    </a:lnTo>
                    <a:lnTo>
                      <a:pt x="4401" y="598"/>
                    </a:lnTo>
                    <a:lnTo>
                      <a:pt x="4442" y="615"/>
                    </a:lnTo>
                    <a:lnTo>
                      <a:pt x="4483" y="632"/>
                    </a:lnTo>
                    <a:lnTo>
                      <a:pt x="4524" y="649"/>
                    </a:lnTo>
                    <a:lnTo>
                      <a:pt x="4561" y="666"/>
                    </a:lnTo>
                    <a:lnTo>
                      <a:pt x="4607" y="686"/>
                    </a:lnTo>
                    <a:lnTo>
                      <a:pt x="4639" y="701"/>
                    </a:lnTo>
                    <a:lnTo>
                      <a:pt x="4680" y="718"/>
                    </a:lnTo>
                    <a:lnTo>
                      <a:pt x="4721" y="735"/>
                    </a:lnTo>
                    <a:lnTo>
                      <a:pt x="4757" y="752"/>
                    </a:lnTo>
                    <a:lnTo>
                      <a:pt x="4794" y="769"/>
                    </a:lnTo>
                    <a:lnTo>
                      <a:pt x="4831" y="786"/>
                    </a:lnTo>
                    <a:lnTo>
                      <a:pt x="4867" y="803"/>
                    </a:lnTo>
                    <a:lnTo>
                      <a:pt x="4904" y="817"/>
                    </a:lnTo>
                    <a:lnTo>
                      <a:pt x="4936" y="834"/>
                    </a:lnTo>
                    <a:lnTo>
                      <a:pt x="4968" y="849"/>
                    </a:lnTo>
                    <a:lnTo>
                      <a:pt x="5000" y="863"/>
                    </a:lnTo>
                    <a:lnTo>
                      <a:pt x="5036" y="880"/>
                    </a:lnTo>
                    <a:lnTo>
                      <a:pt x="5064" y="894"/>
                    </a:lnTo>
                    <a:lnTo>
                      <a:pt x="5096" y="908"/>
                    </a:lnTo>
                    <a:lnTo>
                      <a:pt x="5128" y="923"/>
                    </a:lnTo>
                    <a:lnTo>
                      <a:pt x="5155" y="937"/>
                    </a:lnTo>
                    <a:lnTo>
                      <a:pt x="5183" y="951"/>
                    </a:lnTo>
                    <a:lnTo>
                      <a:pt x="5210" y="965"/>
                    </a:lnTo>
                    <a:lnTo>
                      <a:pt x="5233" y="977"/>
                    </a:lnTo>
                    <a:lnTo>
                      <a:pt x="5260" y="988"/>
                    </a:lnTo>
                    <a:lnTo>
                      <a:pt x="5283" y="1002"/>
                    </a:lnTo>
                    <a:lnTo>
                      <a:pt x="5310" y="1011"/>
                    </a:lnTo>
                    <a:lnTo>
                      <a:pt x="5329" y="1022"/>
                    </a:lnTo>
                    <a:lnTo>
                      <a:pt x="5352" y="1037"/>
                    </a:lnTo>
                    <a:lnTo>
                      <a:pt x="5370" y="1045"/>
                    </a:lnTo>
                    <a:lnTo>
                      <a:pt x="5388" y="1056"/>
                    </a:lnTo>
                    <a:lnTo>
                      <a:pt x="5406" y="1065"/>
                    </a:lnTo>
                    <a:lnTo>
                      <a:pt x="5420" y="1071"/>
                    </a:lnTo>
                    <a:lnTo>
                      <a:pt x="5438" y="1082"/>
                    </a:lnTo>
                    <a:lnTo>
                      <a:pt x="5452" y="1091"/>
                    </a:lnTo>
                    <a:lnTo>
                      <a:pt x="5461" y="1096"/>
                    </a:lnTo>
                    <a:lnTo>
                      <a:pt x="5475" y="1105"/>
                    </a:lnTo>
                    <a:lnTo>
                      <a:pt x="5480" y="1111"/>
                    </a:lnTo>
                    <a:lnTo>
                      <a:pt x="5489" y="1116"/>
                    </a:lnTo>
                    <a:lnTo>
                      <a:pt x="5498" y="1122"/>
                    </a:lnTo>
                    <a:lnTo>
                      <a:pt x="5502" y="1128"/>
                    </a:lnTo>
                    <a:lnTo>
                      <a:pt x="5507" y="1136"/>
                    </a:lnTo>
                    <a:lnTo>
                      <a:pt x="5507" y="1139"/>
                    </a:lnTo>
                    <a:lnTo>
                      <a:pt x="5493" y="1148"/>
                    </a:lnTo>
                    <a:lnTo>
                      <a:pt x="5475" y="1156"/>
                    </a:lnTo>
                    <a:lnTo>
                      <a:pt x="5457" y="1165"/>
                    </a:lnTo>
                    <a:lnTo>
                      <a:pt x="5443" y="1170"/>
                    </a:lnTo>
                    <a:lnTo>
                      <a:pt x="5434" y="1170"/>
                    </a:lnTo>
                    <a:lnTo>
                      <a:pt x="5420" y="1176"/>
                    </a:lnTo>
                    <a:lnTo>
                      <a:pt x="5411" y="1179"/>
                    </a:lnTo>
                    <a:lnTo>
                      <a:pt x="5402" y="1179"/>
                    </a:lnTo>
                    <a:lnTo>
                      <a:pt x="5384" y="1185"/>
                    </a:lnTo>
                    <a:lnTo>
                      <a:pt x="5365" y="1187"/>
                    </a:lnTo>
                    <a:lnTo>
                      <a:pt x="5342" y="1187"/>
                    </a:lnTo>
                    <a:lnTo>
                      <a:pt x="5324" y="1190"/>
                    </a:lnTo>
                    <a:lnTo>
                      <a:pt x="5310" y="1190"/>
                    </a:lnTo>
                    <a:lnTo>
                      <a:pt x="5297" y="1190"/>
                    </a:lnTo>
                    <a:lnTo>
                      <a:pt x="5283" y="1187"/>
                    </a:lnTo>
                    <a:lnTo>
                      <a:pt x="5274" y="1185"/>
                    </a:lnTo>
                    <a:lnTo>
                      <a:pt x="5269" y="1182"/>
                    </a:lnTo>
                    <a:lnTo>
                      <a:pt x="5274" y="1179"/>
                    </a:lnTo>
                    <a:lnTo>
                      <a:pt x="5269" y="1176"/>
                    </a:lnTo>
                    <a:lnTo>
                      <a:pt x="5265" y="1170"/>
                    </a:lnTo>
                    <a:lnTo>
                      <a:pt x="5256" y="1165"/>
                    </a:lnTo>
                    <a:lnTo>
                      <a:pt x="5247" y="1159"/>
                    </a:lnTo>
                    <a:lnTo>
                      <a:pt x="5233" y="1150"/>
                    </a:lnTo>
                    <a:lnTo>
                      <a:pt x="5219" y="1142"/>
                    </a:lnTo>
                    <a:lnTo>
                      <a:pt x="5210" y="1136"/>
                    </a:lnTo>
                    <a:lnTo>
                      <a:pt x="5201" y="1131"/>
                    </a:lnTo>
                    <a:lnTo>
                      <a:pt x="5187" y="1125"/>
                    </a:lnTo>
                    <a:lnTo>
                      <a:pt x="5178" y="1122"/>
                    </a:lnTo>
                    <a:lnTo>
                      <a:pt x="5164" y="1116"/>
                    </a:lnTo>
                    <a:lnTo>
                      <a:pt x="5155" y="1108"/>
                    </a:lnTo>
                    <a:lnTo>
                      <a:pt x="5141" y="1102"/>
                    </a:lnTo>
                    <a:lnTo>
                      <a:pt x="5128" y="1093"/>
                    </a:lnTo>
                    <a:lnTo>
                      <a:pt x="5114" y="1088"/>
                    </a:lnTo>
                    <a:lnTo>
                      <a:pt x="5100" y="1079"/>
                    </a:lnTo>
                    <a:lnTo>
                      <a:pt x="5087" y="1071"/>
                    </a:lnTo>
                    <a:lnTo>
                      <a:pt x="5073" y="1065"/>
                    </a:lnTo>
                    <a:lnTo>
                      <a:pt x="5055" y="1054"/>
                    </a:lnTo>
                    <a:lnTo>
                      <a:pt x="5036" y="1045"/>
                    </a:lnTo>
                    <a:lnTo>
                      <a:pt x="5018" y="1039"/>
                    </a:lnTo>
                    <a:lnTo>
                      <a:pt x="5000" y="1028"/>
                    </a:lnTo>
                    <a:lnTo>
                      <a:pt x="4981" y="1019"/>
                    </a:lnTo>
                    <a:lnTo>
                      <a:pt x="4963" y="1011"/>
                    </a:lnTo>
                    <a:lnTo>
                      <a:pt x="4940" y="1002"/>
                    </a:lnTo>
                    <a:lnTo>
                      <a:pt x="4922" y="994"/>
                    </a:lnTo>
                    <a:lnTo>
                      <a:pt x="4904" y="982"/>
                    </a:lnTo>
                    <a:lnTo>
                      <a:pt x="4881" y="971"/>
                    </a:lnTo>
                    <a:lnTo>
                      <a:pt x="4858" y="962"/>
                    </a:lnTo>
                    <a:lnTo>
                      <a:pt x="4835" y="951"/>
                    </a:lnTo>
                    <a:lnTo>
                      <a:pt x="4817" y="940"/>
                    </a:lnTo>
                    <a:lnTo>
                      <a:pt x="4794" y="931"/>
                    </a:lnTo>
                    <a:lnTo>
                      <a:pt x="4767" y="920"/>
                    </a:lnTo>
                    <a:lnTo>
                      <a:pt x="4744" y="908"/>
                    </a:lnTo>
                    <a:lnTo>
                      <a:pt x="4721" y="897"/>
                    </a:lnTo>
                    <a:lnTo>
                      <a:pt x="4694" y="886"/>
                    </a:lnTo>
                    <a:lnTo>
                      <a:pt x="4671" y="874"/>
                    </a:lnTo>
                    <a:lnTo>
                      <a:pt x="4643" y="863"/>
                    </a:lnTo>
                    <a:lnTo>
                      <a:pt x="4620" y="851"/>
                    </a:lnTo>
                    <a:lnTo>
                      <a:pt x="4593" y="840"/>
                    </a:lnTo>
                    <a:lnTo>
                      <a:pt x="4561" y="829"/>
                    </a:lnTo>
                    <a:lnTo>
                      <a:pt x="4543" y="817"/>
                    </a:lnTo>
                    <a:lnTo>
                      <a:pt x="4511" y="803"/>
                    </a:lnTo>
                    <a:lnTo>
                      <a:pt x="4488" y="794"/>
                    </a:lnTo>
                    <a:lnTo>
                      <a:pt x="4456" y="777"/>
                    </a:lnTo>
                    <a:lnTo>
                      <a:pt x="4428" y="766"/>
                    </a:lnTo>
                    <a:lnTo>
                      <a:pt x="4401" y="755"/>
                    </a:lnTo>
                    <a:lnTo>
                      <a:pt x="4369" y="743"/>
                    </a:lnTo>
                    <a:lnTo>
                      <a:pt x="4342" y="729"/>
                    </a:lnTo>
                    <a:lnTo>
                      <a:pt x="4314" y="718"/>
                    </a:lnTo>
                    <a:lnTo>
                      <a:pt x="4282" y="706"/>
                    </a:lnTo>
                    <a:lnTo>
                      <a:pt x="4250" y="692"/>
                    </a:lnTo>
                    <a:lnTo>
                      <a:pt x="4223" y="681"/>
                    </a:lnTo>
                    <a:lnTo>
                      <a:pt x="4195" y="666"/>
                    </a:lnTo>
                    <a:lnTo>
                      <a:pt x="4163" y="655"/>
                    </a:lnTo>
                    <a:lnTo>
                      <a:pt x="4131" y="644"/>
                    </a:lnTo>
                    <a:lnTo>
                      <a:pt x="4099" y="629"/>
                    </a:lnTo>
                    <a:lnTo>
                      <a:pt x="4072" y="618"/>
                    </a:lnTo>
                    <a:lnTo>
                      <a:pt x="4045" y="609"/>
                    </a:lnTo>
                    <a:lnTo>
                      <a:pt x="4017" y="598"/>
                    </a:lnTo>
                    <a:lnTo>
                      <a:pt x="3994" y="587"/>
                    </a:lnTo>
                    <a:lnTo>
                      <a:pt x="3967" y="575"/>
                    </a:lnTo>
                    <a:lnTo>
                      <a:pt x="3944" y="564"/>
                    </a:lnTo>
                    <a:lnTo>
                      <a:pt x="3921" y="555"/>
                    </a:lnTo>
                    <a:lnTo>
                      <a:pt x="3889" y="547"/>
                    </a:lnTo>
                    <a:lnTo>
                      <a:pt x="3871" y="535"/>
                    </a:lnTo>
                    <a:lnTo>
                      <a:pt x="3839" y="527"/>
                    </a:lnTo>
                    <a:lnTo>
                      <a:pt x="3821" y="515"/>
                    </a:lnTo>
                    <a:lnTo>
                      <a:pt x="3789" y="507"/>
                    </a:lnTo>
                    <a:lnTo>
                      <a:pt x="3766" y="495"/>
                    </a:lnTo>
                    <a:lnTo>
                      <a:pt x="3743" y="484"/>
                    </a:lnTo>
                    <a:lnTo>
                      <a:pt x="3720" y="476"/>
                    </a:lnTo>
                    <a:lnTo>
                      <a:pt x="3693" y="467"/>
                    </a:lnTo>
                    <a:lnTo>
                      <a:pt x="3670" y="461"/>
                    </a:lnTo>
                    <a:lnTo>
                      <a:pt x="3642" y="450"/>
                    </a:lnTo>
                    <a:lnTo>
                      <a:pt x="3620" y="439"/>
                    </a:lnTo>
                    <a:lnTo>
                      <a:pt x="3597" y="430"/>
                    </a:lnTo>
                    <a:lnTo>
                      <a:pt x="3569" y="421"/>
                    </a:lnTo>
                    <a:lnTo>
                      <a:pt x="3546" y="413"/>
                    </a:lnTo>
                    <a:lnTo>
                      <a:pt x="3519" y="404"/>
                    </a:lnTo>
                    <a:lnTo>
                      <a:pt x="3496" y="396"/>
                    </a:lnTo>
                    <a:lnTo>
                      <a:pt x="3473" y="387"/>
                    </a:lnTo>
                    <a:lnTo>
                      <a:pt x="3455" y="376"/>
                    </a:lnTo>
                    <a:lnTo>
                      <a:pt x="3428" y="367"/>
                    </a:lnTo>
                    <a:lnTo>
                      <a:pt x="3405" y="362"/>
                    </a:lnTo>
                    <a:lnTo>
                      <a:pt x="3382" y="353"/>
                    </a:lnTo>
                    <a:lnTo>
                      <a:pt x="3359" y="345"/>
                    </a:lnTo>
                    <a:lnTo>
                      <a:pt x="3336" y="336"/>
                    </a:lnTo>
                    <a:lnTo>
                      <a:pt x="3313" y="330"/>
                    </a:lnTo>
                    <a:lnTo>
                      <a:pt x="3290" y="322"/>
                    </a:lnTo>
                    <a:lnTo>
                      <a:pt x="3268" y="313"/>
                    </a:lnTo>
                    <a:lnTo>
                      <a:pt x="3249" y="308"/>
                    </a:lnTo>
                    <a:lnTo>
                      <a:pt x="3227" y="299"/>
                    </a:lnTo>
                    <a:lnTo>
                      <a:pt x="3204" y="290"/>
                    </a:lnTo>
                    <a:lnTo>
                      <a:pt x="3181" y="285"/>
                    </a:lnTo>
                    <a:lnTo>
                      <a:pt x="3163" y="279"/>
                    </a:lnTo>
                    <a:lnTo>
                      <a:pt x="3144" y="271"/>
                    </a:lnTo>
                    <a:lnTo>
                      <a:pt x="3121" y="265"/>
                    </a:lnTo>
                    <a:lnTo>
                      <a:pt x="3103" y="259"/>
                    </a:lnTo>
                    <a:lnTo>
                      <a:pt x="3085" y="251"/>
                    </a:lnTo>
                    <a:lnTo>
                      <a:pt x="3062" y="248"/>
                    </a:lnTo>
                    <a:lnTo>
                      <a:pt x="3044" y="242"/>
                    </a:lnTo>
                    <a:lnTo>
                      <a:pt x="3025" y="236"/>
                    </a:lnTo>
                    <a:lnTo>
                      <a:pt x="3007" y="228"/>
                    </a:lnTo>
                    <a:lnTo>
                      <a:pt x="2993" y="225"/>
                    </a:lnTo>
                    <a:lnTo>
                      <a:pt x="2975" y="219"/>
                    </a:lnTo>
                    <a:lnTo>
                      <a:pt x="2957" y="214"/>
                    </a:lnTo>
                    <a:lnTo>
                      <a:pt x="2943" y="208"/>
                    </a:lnTo>
                    <a:lnTo>
                      <a:pt x="2925" y="205"/>
                    </a:lnTo>
                    <a:lnTo>
                      <a:pt x="2907" y="199"/>
                    </a:lnTo>
                    <a:lnTo>
                      <a:pt x="2888" y="196"/>
                    </a:lnTo>
                    <a:lnTo>
                      <a:pt x="2875" y="194"/>
                    </a:lnTo>
                    <a:lnTo>
                      <a:pt x="2861" y="188"/>
                    </a:lnTo>
                    <a:lnTo>
                      <a:pt x="2852" y="185"/>
                    </a:lnTo>
                    <a:lnTo>
                      <a:pt x="2838" y="182"/>
                    </a:lnTo>
                    <a:lnTo>
                      <a:pt x="2820" y="179"/>
                    </a:lnTo>
                    <a:lnTo>
                      <a:pt x="2811" y="174"/>
                    </a:lnTo>
                    <a:lnTo>
                      <a:pt x="2801" y="171"/>
                    </a:lnTo>
                    <a:lnTo>
                      <a:pt x="2783" y="171"/>
                    </a:lnTo>
                    <a:lnTo>
                      <a:pt x="2774" y="168"/>
                    </a:lnTo>
                    <a:lnTo>
                      <a:pt x="2765" y="165"/>
                    </a:lnTo>
                    <a:lnTo>
                      <a:pt x="2756" y="162"/>
                    </a:lnTo>
                    <a:lnTo>
                      <a:pt x="2733" y="159"/>
                    </a:lnTo>
                    <a:lnTo>
                      <a:pt x="2706" y="159"/>
                    </a:lnTo>
                    <a:lnTo>
                      <a:pt x="2674" y="159"/>
                    </a:lnTo>
                    <a:lnTo>
                      <a:pt x="2651" y="162"/>
                    </a:lnTo>
                    <a:lnTo>
                      <a:pt x="2614" y="165"/>
                    </a:lnTo>
                    <a:lnTo>
                      <a:pt x="2582" y="171"/>
                    </a:lnTo>
                    <a:lnTo>
                      <a:pt x="2546" y="179"/>
                    </a:lnTo>
                    <a:lnTo>
                      <a:pt x="2509" y="191"/>
                    </a:lnTo>
                    <a:lnTo>
                      <a:pt x="2468" y="199"/>
                    </a:lnTo>
                    <a:lnTo>
                      <a:pt x="2431" y="211"/>
                    </a:lnTo>
                    <a:lnTo>
                      <a:pt x="2386" y="225"/>
                    </a:lnTo>
                    <a:lnTo>
                      <a:pt x="2344" y="239"/>
                    </a:lnTo>
                    <a:lnTo>
                      <a:pt x="2299" y="253"/>
                    </a:lnTo>
                    <a:lnTo>
                      <a:pt x="2253" y="268"/>
                    </a:lnTo>
                    <a:lnTo>
                      <a:pt x="2207" y="288"/>
                    </a:lnTo>
                    <a:lnTo>
                      <a:pt x="2162" y="310"/>
                    </a:lnTo>
                    <a:lnTo>
                      <a:pt x="2111" y="327"/>
                    </a:lnTo>
                    <a:lnTo>
                      <a:pt x="2061" y="347"/>
                    </a:lnTo>
                    <a:lnTo>
                      <a:pt x="2011" y="367"/>
                    </a:lnTo>
                    <a:lnTo>
                      <a:pt x="1961" y="393"/>
                    </a:lnTo>
                    <a:lnTo>
                      <a:pt x="1906" y="416"/>
                    </a:lnTo>
                    <a:lnTo>
                      <a:pt x="1855" y="439"/>
                    </a:lnTo>
                    <a:lnTo>
                      <a:pt x="1801" y="464"/>
                    </a:lnTo>
                    <a:lnTo>
                      <a:pt x="1750" y="493"/>
                    </a:lnTo>
                    <a:lnTo>
                      <a:pt x="1691" y="515"/>
                    </a:lnTo>
                    <a:lnTo>
                      <a:pt x="1636" y="541"/>
                    </a:lnTo>
                    <a:lnTo>
                      <a:pt x="1581" y="570"/>
                    </a:lnTo>
                    <a:lnTo>
                      <a:pt x="1531" y="598"/>
                    </a:lnTo>
                    <a:lnTo>
                      <a:pt x="1472" y="624"/>
                    </a:lnTo>
                    <a:lnTo>
                      <a:pt x="1421" y="652"/>
                    </a:lnTo>
                    <a:lnTo>
                      <a:pt x="1366" y="681"/>
                    </a:lnTo>
                    <a:lnTo>
                      <a:pt x="1316" y="709"/>
                    </a:lnTo>
                    <a:lnTo>
                      <a:pt x="1257" y="735"/>
                    </a:lnTo>
                    <a:lnTo>
                      <a:pt x="1207" y="763"/>
                    </a:lnTo>
                    <a:lnTo>
                      <a:pt x="1152" y="792"/>
                    </a:lnTo>
                    <a:lnTo>
                      <a:pt x="1101" y="817"/>
                    </a:lnTo>
                    <a:lnTo>
                      <a:pt x="1047" y="846"/>
                    </a:lnTo>
                    <a:lnTo>
                      <a:pt x="996" y="874"/>
                    </a:lnTo>
                    <a:lnTo>
                      <a:pt x="946" y="900"/>
                    </a:lnTo>
                    <a:lnTo>
                      <a:pt x="896" y="928"/>
                    </a:lnTo>
                    <a:lnTo>
                      <a:pt x="845" y="954"/>
                    </a:lnTo>
                    <a:lnTo>
                      <a:pt x="800" y="980"/>
                    </a:lnTo>
                    <a:lnTo>
                      <a:pt x="754" y="1005"/>
                    </a:lnTo>
                    <a:lnTo>
                      <a:pt x="708" y="1031"/>
                    </a:lnTo>
                    <a:lnTo>
                      <a:pt x="663" y="1054"/>
                    </a:lnTo>
                    <a:lnTo>
                      <a:pt x="622" y="1076"/>
                    </a:lnTo>
                    <a:lnTo>
                      <a:pt x="580" y="1099"/>
                    </a:lnTo>
                    <a:lnTo>
                      <a:pt x="544" y="1122"/>
                    </a:lnTo>
                    <a:lnTo>
                      <a:pt x="503" y="1142"/>
                    </a:lnTo>
                    <a:lnTo>
                      <a:pt x="466" y="1162"/>
                    </a:lnTo>
                    <a:lnTo>
                      <a:pt x="430" y="1182"/>
                    </a:lnTo>
                    <a:lnTo>
                      <a:pt x="398" y="1199"/>
                    </a:lnTo>
                    <a:lnTo>
                      <a:pt x="366" y="1216"/>
                    </a:lnTo>
                    <a:lnTo>
                      <a:pt x="343" y="1230"/>
                    </a:lnTo>
                    <a:lnTo>
                      <a:pt x="311" y="1244"/>
                    </a:lnTo>
                    <a:lnTo>
                      <a:pt x="288" y="1261"/>
                    </a:lnTo>
                    <a:lnTo>
                      <a:pt x="260" y="1270"/>
                    </a:lnTo>
                    <a:lnTo>
                      <a:pt x="242" y="1281"/>
                    </a:lnTo>
                    <a:lnTo>
                      <a:pt x="229" y="1287"/>
                    </a:lnTo>
                    <a:lnTo>
                      <a:pt x="210" y="1299"/>
                    </a:lnTo>
                    <a:lnTo>
                      <a:pt x="201" y="1304"/>
                    </a:lnTo>
                    <a:lnTo>
                      <a:pt x="187" y="1307"/>
                    </a:lnTo>
                    <a:lnTo>
                      <a:pt x="183" y="1307"/>
                    </a:lnTo>
                    <a:lnTo>
                      <a:pt x="178" y="1310"/>
                    </a:lnTo>
                    <a:lnTo>
                      <a:pt x="165" y="1307"/>
                    </a:lnTo>
                    <a:lnTo>
                      <a:pt x="155" y="1307"/>
                    </a:lnTo>
                    <a:lnTo>
                      <a:pt x="137" y="1304"/>
                    </a:lnTo>
                    <a:lnTo>
                      <a:pt x="123" y="1304"/>
                    </a:lnTo>
                    <a:lnTo>
                      <a:pt x="105" y="1299"/>
                    </a:lnTo>
                    <a:lnTo>
                      <a:pt x="91" y="1299"/>
                    </a:lnTo>
                    <a:lnTo>
                      <a:pt x="73" y="1296"/>
                    </a:lnTo>
                    <a:lnTo>
                      <a:pt x="64" y="1293"/>
                    </a:lnTo>
                    <a:lnTo>
                      <a:pt x="46" y="1287"/>
                    </a:lnTo>
                    <a:lnTo>
                      <a:pt x="32" y="1287"/>
                    </a:lnTo>
                    <a:lnTo>
                      <a:pt x="18" y="1284"/>
                    </a:lnTo>
                    <a:lnTo>
                      <a:pt x="9" y="1284"/>
                    </a:lnTo>
                    <a:lnTo>
                      <a:pt x="0" y="128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93" name="Freeform 147"/>
              <p:cNvSpPr>
                <a:spLocks/>
              </p:cNvSpPr>
              <p:nvPr>
                <p:custDataLst>
                  <p:tags r:id="rId57"/>
                </p:custDataLst>
              </p:nvPr>
            </p:nvSpPr>
            <p:spPr bwMode="gray">
              <a:xfrm>
                <a:off x="0" y="1175"/>
                <a:ext cx="5547" cy="378"/>
              </a:xfrm>
              <a:custGeom>
                <a:avLst/>
                <a:gdLst>
                  <a:gd name="T0" fmla="*/ 97 w 5411"/>
                  <a:gd name="T1" fmla="*/ 79 h 413"/>
                  <a:gd name="T2" fmla="*/ 296 w 5411"/>
                  <a:gd name="T3" fmla="*/ 93 h 413"/>
                  <a:gd name="T4" fmla="*/ 560 w 5411"/>
                  <a:gd name="T5" fmla="*/ 103 h 413"/>
                  <a:gd name="T6" fmla="*/ 873 w 5411"/>
                  <a:gd name="T7" fmla="*/ 113 h 413"/>
                  <a:gd name="T8" fmla="*/ 1231 w 5411"/>
                  <a:gd name="T9" fmla="*/ 124 h 413"/>
                  <a:gd name="T10" fmla="*/ 1626 w 5411"/>
                  <a:gd name="T11" fmla="*/ 130 h 413"/>
                  <a:gd name="T12" fmla="*/ 2038 w 5411"/>
                  <a:gd name="T13" fmla="*/ 135 h 413"/>
                  <a:gd name="T14" fmla="*/ 2475 w 5411"/>
                  <a:gd name="T15" fmla="*/ 140 h 413"/>
                  <a:gd name="T16" fmla="*/ 2918 w 5411"/>
                  <a:gd name="T17" fmla="*/ 143 h 413"/>
                  <a:gd name="T18" fmla="*/ 3361 w 5411"/>
                  <a:gd name="T19" fmla="*/ 143 h 413"/>
                  <a:gd name="T20" fmla="*/ 3797 w 5411"/>
                  <a:gd name="T21" fmla="*/ 141 h 413"/>
                  <a:gd name="T22" fmla="*/ 4213 w 5411"/>
                  <a:gd name="T23" fmla="*/ 137 h 413"/>
                  <a:gd name="T24" fmla="*/ 4610 w 5411"/>
                  <a:gd name="T25" fmla="*/ 132 h 413"/>
                  <a:gd name="T26" fmla="*/ 4968 w 5411"/>
                  <a:gd name="T27" fmla="*/ 124 h 413"/>
                  <a:gd name="T28" fmla="*/ 5312 w 5411"/>
                  <a:gd name="T29" fmla="*/ 113 h 413"/>
                  <a:gd name="T30" fmla="*/ 5632 w 5411"/>
                  <a:gd name="T31" fmla="*/ 105 h 413"/>
                  <a:gd name="T32" fmla="*/ 5935 w 5411"/>
                  <a:gd name="T33" fmla="*/ 94 h 413"/>
                  <a:gd name="T34" fmla="*/ 6206 w 5411"/>
                  <a:gd name="T35" fmla="*/ 86 h 413"/>
                  <a:gd name="T36" fmla="*/ 6449 w 5411"/>
                  <a:gd name="T37" fmla="*/ 75 h 413"/>
                  <a:gd name="T38" fmla="*/ 6666 w 5411"/>
                  <a:gd name="T39" fmla="*/ 66 h 413"/>
                  <a:gd name="T40" fmla="*/ 6856 w 5411"/>
                  <a:gd name="T41" fmla="*/ 57 h 413"/>
                  <a:gd name="T42" fmla="*/ 7012 w 5411"/>
                  <a:gd name="T43" fmla="*/ 49 h 413"/>
                  <a:gd name="T44" fmla="*/ 7133 w 5411"/>
                  <a:gd name="T45" fmla="*/ 42 h 413"/>
                  <a:gd name="T46" fmla="*/ 7227 w 5411"/>
                  <a:gd name="T47" fmla="*/ 38 h 413"/>
                  <a:gd name="T48" fmla="*/ 7289 w 5411"/>
                  <a:gd name="T49" fmla="*/ 35 h 413"/>
                  <a:gd name="T50" fmla="*/ 7050 w 5411"/>
                  <a:gd name="T51" fmla="*/ 3 h 413"/>
                  <a:gd name="T52" fmla="*/ 6950 w 5411"/>
                  <a:gd name="T53" fmla="*/ 5 h 413"/>
                  <a:gd name="T54" fmla="*/ 6809 w 5411"/>
                  <a:gd name="T55" fmla="*/ 13 h 413"/>
                  <a:gd name="T56" fmla="*/ 6606 w 5411"/>
                  <a:gd name="T57" fmla="*/ 20 h 413"/>
                  <a:gd name="T58" fmla="*/ 6371 w 5411"/>
                  <a:gd name="T59" fmla="*/ 29 h 413"/>
                  <a:gd name="T60" fmla="*/ 6096 w 5411"/>
                  <a:gd name="T61" fmla="*/ 38 h 413"/>
                  <a:gd name="T62" fmla="*/ 5785 w 5411"/>
                  <a:gd name="T63" fmla="*/ 48 h 413"/>
                  <a:gd name="T64" fmla="*/ 5442 w 5411"/>
                  <a:gd name="T65" fmla="*/ 57 h 413"/>
                  <a:gd name="T66" fmla="*/ 5080 w 5411"/>
                  <a:gd name="T67" fmla="*/ 66 h 413"/>
                  <a:gd name="T68" fmla="*/ 4691 w 5411"/>
                  <a:gd name="T69" fmla="*/ 75 h 413"/>
                  <a:gd name="T70" fmla="*/ 4285 w 5411"/>
                  <a:gd name="T71" fmla="*/ 82 h 413"/>
                  <a:gd name="T72" fmla="*/ 3873 w 5411"/>
                  <a:gd name="T73" fmla="*/ 87 h 413"/>
                  <a:gd name="T74" fmla="*/ 3440 w 5411"/>
                  <a:gd name="T75" fmla="*/ 93 h 413"/>
                  <a:gd name="T76" fmla="*/ 3022 w 5411"/>
                  <a:gd name="T77" fmla="*/ 94 h 413"/>
                  <a:gd name="T78" fmla="*/ 2628 w 5411"/>
                  <a:gd name="T79" fmla="*/ 93 h 413"/>
                  <a:gd name="T80" fmla="*/ 2253 w 5411"/>
                  <a:gd name="T81" fmla="*/ 91 h 413"/>
                  <a:gd name="T82" fmla="*/ 1907 w 5411"/>
                  <a:gd name="T83" fmla="*/ 86 h 413"/>
                  <a:gd name="T84" fmla="*/ 1583 w 5411"/>
                  <a:gd name="T85" fmla="*/ 81 h 413"/>
                  <a:gd name="T86" fmla="*/ 1298 w 5411"/>
                  <a:gd name="T87" fmla="*/ 75 h 413"/>
                  <a:gd name="T88" fmla="*/ 1023 w 5411"/>
                  <a:gd name="T89" fmla="*/ 70 h 413"/>
                  <a:gd name="T90" fmla="*/ 806 w 5411"/>
                  <a:gd name="T91" fmla="*/ 64 h 413"/>
                  <a:gd name="T92" fmla="*/ 615 w 5411"/>
                  <a:gd name="T93" fmla="*/ 59 h 413"/>
                  <a:gd name="T94" fmla="*/ 463 w 5411"/>
                  <a:gd name="T95" fmla="*/ 54 h 413"/>
                  <a:gd name="T96" fmla="*/ 363 w 5411"/>
                  <a:gd name="T97" fmla="*/ 48 h 413"/>
                  <a:gd name="T98" fmla="*/ 290 w 5411"/>
                  <a:gd name="T99" fmla="*/ 46 h 413"/>
                  <a:gd name="T100" fmla="*/ 178 w 5411"/>
                  <a:gd name="T101" fmla="*/ 47 h 413"/>
                  <a:gd name="T102" fmla="*/ 53 w 5411"/>
                  <a:gd name="T103" fmla="*/ 60 h 413"/>
                  <a:gd name="T104" fmla="*/ 0 w 5411"/>
                  <a:gd name="T105" fmla="*/ 67 h 4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11"/>
                  <a:gd name="T160" fmla="*/ 0 h 413"/>
                  <a:gd name="T161" fmla="*/ 5411 w 5411"/>
                  <a:gd name="T162" fmla="*/ 413 h 4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11" h="413">
                    <a:moveTo>
                      <a:pt x="0" y="199"/>
                    </a:moveTo>
                    <a:lnTo>
                      <a:pt x="5" y="208"/>
                    </a:lnTo>
                    <a:lnTo>
                      <a:pt x="23" y="213"/>
                    </a:lnTo>
                    <a:lnTo>
                      <a:pt x="46" y="222"/>
                    </a:lnTo>
                    <a:lnTo>
                      <a:pt x="73" y="231"/>
                    </a:lnTo>
                    <a:lnTo>
                      <a:pt x="96" y="239"/>
                    </a:lnTo>
                    <a:lnTo>
                      <a:pt x="123" y="248"/>
                    </a:lnTo>
                    <a:lnTo>
                      <a:pt x="155" y="253"/>
                    </a:lnTo>
                    <a:lnTo>
                      <a:pt x="187" y="262"/>
                    </a:lnTo>
                    <a:lnTo>
                      <a:pt x="219" y="268"/>
                    </a:lnTo>
                    <a:lnTo>
                      <a:pt x="256" y="273"/>
                    </a:lnTo>
                    <a:lnTo>
                      <a:pt x="292" y="282"/>
                    </a:lnTo>
                    <a:lnTo>
                      <a:pt x="334" y="287"/>
                    </a:lnTo>
                    <a:lnTo>
                      <a:pt x="375" y="293"/>
                    </a:lnTo>
                    <a:lnTo>
                      <a:pt x="416" y="299"/>
                    </a:lnTo>
                    <a:lnTo>
                      <a:pt x="462" y="307"/>
                    </a:lnTo>
                    <a:lnTo>
                      <a:pt x="507" y="313"/>
                    </a:lnTo>
                    <a:lnTo>
                      <a:pt x="553" y="319"/>
                    </a:lnTo>
                    <a:lnTo>
                      <a:pt x="599" y="324"/>
                    </a:lnTo>
                    <a:lnTo>
                      <a:pt x="649" y="330"/>
                    </a:lnTo>
                    <a:lnTo>
                      <a:pt x="699" y="336"/>
                    </a:lnTo>
                    <a:lnTo>
                      <a:pt x="750" y="339"/>
                    </a:lnTo>
                    <a:lnTo>
                      <a:pt x="804" y="344"/>
                    </a:lnTo>
                    <a:lnTo>
                      <a:pt x="859" y="350"/>
                    </a:lnTo>
                    <a:lnTo>
                      <a:pt x="914" y="356"/>
                    </a:lnTo>
                    <a:lnTo>
                      <a:pt x="969" y="359"/>
                    </a:lnTo>
                    <a:lnTo>
                      <a:pt x="1028" y="364"/>
                    </a:lnTo>
                    <a:lnTo>
                      <a:pt x="1088" y="367"/>
                    </a:lnTo>
                    <a:lnTo>
                      <a:pt x="1147" y="373"/>
                    </a:lnTo>
                    <a:lnTo>
                      <a:pt x="1207" y="376"/>
                    </a:lnTo>
                    <a:lnTo>
                      <a:pt x="1266" y="379"/>
                    </a:lnTo>
                    <a:lnTo>
                      <a:pt x="1325" y="384"/>
                    </a:lnTo>
                    <a:lnTo>
                      <a:pt x="1394" y="390"/>
                    </a:lnTo>
                    <a:lnTo>
                      <a:pt x="1453" y="390"/>
                    </a:lnTo>
                    <a:lnTo>
                      <a:pt x="1513" y="393"/>
                    </a:lnTo>
                    <a:lnTo>
                      <a:pt x="1577" y="396"/>
                    </a:lnTo>
                    <a:lnTo>
                      <a:pt x="1645" y="399"/>
                    </a:lnTo>
                    <a:lnTo>
                      <a:pt x="1709" y="401"/>
                    </a:lnTo>
                    <a:lnTo>
                      <a:pt x="1773" y="401"/>
                    </a:lnTo>
                    <a:lnTo>
                      <a:pt x="1837" y="404"/>
                    </a:lnTo>
                    <a:lnTo>
                      <a:pt x="1906" y="407"/>
                    </a:lnTo>
                    <a:lnTo>
                      <a:pt x="1970" y="410"/>
                    </a:lnTo>
                    <a:lnTo>
                      <a:pt x="2034" y="410"/>
                    </a:lnTo>
                    <a:lnTo>
                      <a:pt x="2098" y="410"/>
                    </a:lnTo>
                    <a:lnTo>
                      <a:pt x="2166" y="413"/>
                    </a:lnTo>
                    <a:lnTo>
                      <a:pt x="2235" y="413"/>
                    </a:lnTo>
                    <a:lnTo>
                      <a:pt x="2299" y="413"/>
                    </a:lnTo>
                    <a:lnTo>
                      <a:pt x="2363" y="413"/>
                    </a:lnTo>
                    <a:lnTo>
                      <a:pt x="2431" y="413"/>
                    </a:lnTo>
                    <a:lnTo>
                      <a:pt x="2495" y="413"/>
                    </a:lnTo>
                    <a:lnTo>
                      <a:pt x="2559" y="413"/>
                    </a:lnTo>
                    <a:lnTo>
                      <a:pt x="2623" y="410"/>
                    </a:lnTo>
                    <a:lnTo>
                      <a:pt x="2692" y="410"/>
                    </a:lnTo>
                    <a:lnTo>
                      <a:pt x="2751" y="410"/>
                    </a:lnTo>
                    <a:lnTo>
                      <a:pt x="2820" y="407"/>
                    </a:lnTo>
                    <a:lnTo>
                      <a:pt x="2879" y="404"/>
                    </a:lnTo>
                    <a:lnTo>
                      <a:pt x="2943" y="404"/>
                    </a:lnTo>
                    <a:lnTo>
                      <a:pt x="3003" y="401"/>
                    </a:lnTo>
                    <a:lnTo>
                      <a:pt x="3067" y="401"/>
                    </a:lnTo>
                    <a:lnTo>
                      <a:pt x="3126" y="399"/>
                    </a:lnTo>
                    <a:lnTo>
                      <a:pt x="3185" y="396"/>
                    </a:lnTo>
                    <a:lnTo>
                      <a:pt x="3245" y="390"/>
                    </a:lnTo>
                    <a:lnTo>
                      <a:pt x="3304" y="390"/>
                    </a:lnTo>
                    <a:lnTo>
                      <a:pt x="3364" y="384"/>
                    </a:lnTo>
                    <a:lnTo>
                      <a:pt x="3423" y="381"/>
                    </a:lnTo>
                    <a:lnTo>
                      <a:pt x="3473" y="376"/>
                    </a:lnTo>
                    <a:lnTo>
                      <a:pt x="3528" y="373"/>
                    </a:lnTo>
                    <a:lnTo>
                      <a:pt x="3583" y="367"/>
                    </a:lnTo>
                    <a:lnTo>
                      <a:pt x="3638" y="364"/>
                    </a:lnTo>
                    <a:lnTo>
                      <a:pt x="3688" y="359"/>
                    </a:lnTo>
                    <a:lnTo>
                      <a:pt x="3743" y="353"/>
                    </a:lnTo>
                    <a:lnTo>
                      <a:pt x="3789" y="347"/>
                    </a:lnTo>
                    <a:lnTo>
                      <a:pt x="3843" y="344"/>
                    </a:lnTo>
                    <a:lnTo>
                      <a:pt x="3889" y="339"/>
                    </a:lnTo>
                    <a:lnTo>
                      <a:pt x="3944" y="333"/>
                    </a:lnTo>
                    <a:lnTo>
                      <a:pt x="3990" y="327"/>
                    </a:lnTo>
                    <a:lnTo>
                      <a:pt x="4040" y="324"/>
                    </a:lnTo>
                    <a:lnTo>
                      <a:pt x="4086" y="316"/>
                    </a:lnTo>
                    <a:lnTo>
                      <a:pt x="4136" y="313"/>
                    </a:lnTo>
                    <a:lnTo>
                      <a:pt x="4182" y="307"/>
                    </a:lnTo>
                    <a:lnTo>
                      <a:pt x="4232" y="302"/>
                    </a:lnTo>
                    <a:lnTo>
                      <a:pt x="4273" y="296"/>
                    </a:lnTo>
                    <a:lnTo>
                      <a:pt x="4319" y="287"/>
                    </a:lnTo>
                    <a:lnTo>
                      <a:pt x="4360" y="285"/>
                    </a:lnTo>
                    <a:lnTo>
                      <a:pt x="4406" y="279"/>
                    </a:lnTo>
                    <a:lnTo>
                      <a:pt x="4447" y="273"/>
                    </a:lnTo>
                    <a:lnTo>
                      <a:pt x="4488" y="265"/>
                    </a:lnTo>
                    <a:lnTo>
                      <a:pt x="4529" y="262"/>
                    </a:lnTo>
                    <a:lnTo>
                      <a:pt x="4570" y="256"/>
                    </a:lnTo>
                    <a:lnTo>
                      <a:pt x="4607" y="250"/>
                    </a:lnTo>
                    <a:lnTo>
                      <a:pt x="4643" y="239"/>
                    </a:lnTo>
                    <a:lnTo>
                      <a:pt x="4680" y="236"/>
                    </a:lnTo>
                    <a:lnTo>
                      <a:pt x="4721" y="231"/>
                    </a:lnTo>
                    <a:lnTo>
                      <a:pt x="4753" y="225"/>
                    </a:lnTo>
                    <a:lnTo>
                      <a:pt x="4789" y="219"/>
                    </a:lnTo>
                    <a:lnTo>
                      <a:pt x="4821" y="213"/>
                    </a:lnTo>
                    <a:lnTo>
                      <a:pt x="4858" y="208"/>
                    </a:lnTo>
                    <a:lnTo>
                      <a:pt x="4890" y="202"/>
                    </a:lnTo>
                    <a:lnTo>
                      <a:pt x="4922" y="196"/>
                    </a:lnTo>
                    <a:lnTo>
                      <a:pt x="4949" y="191"/>
                    </a:lnTo>
                    <a:lnTo>
                      <a:pt x="4981" y="185"/>
                    </a:lnTo>
                    <a:lnTo>
                      <a:pt x="5009" y="179"/>
                    </a:lnTo>
                    <a:lnTo>
                      <a:pt x="5041" y="174"/>
                    </a:lnTo>
                    <a:lnTo>
                      <a:pt x="5064" y="168"/>
                    </a:lnTo>
                    <a:lnTo>
                      <a:pt x="5091" y="165"/>
                    </a:lnTo>
                    <a:lnTo>
                      <a:pt x="5119" y="159"/>
                    </a:lnTo>
                    <a:lnTo>
                      <a:pt x="5141" y="154"/>
                    </a:lnTo>
                    <a:lnTo>
                      <a:pt x="5164" y="151"/>
                    </a:lnTo>
                    <a:lnTo>
                      <a:pt x="5187" y="148"/>
                    </a:lnTo>
                    <a:lnTo>
                      <a:pt x="5205" y="142"/>
                    </a:lnTo>
                    <a:lnTo>
                      <a:pt x="5228" y="139"/>
                    </a:lnTo>
                    <a:lnTo>
                      <a:pt x="5247" y="137"/>
                    </a:lnTo>
                    <a:lnTo>
                      <a:pt x="5265" y="131"/>
                    </a:lnTo>
                    <a:lnTo>
                      <a:pt x="5283" y="128"/>
                    </a:lnTo>
                    <a:lnTo>
                      <a:pt x="5297" y="122"/>
                    </a:lnTo>
                    <a:lnTo>
                      <a:pt x="5315" y="119"/>
                    </a:lnTo>
                    <a:lnTo>
                      <a:pt x="5329" y="117"/>
                    </a:lnTo>
                    <a:lnTo>
                      <a:pt x="5338" y="114"/>
                    </a:lnTo>
                    <a:lnTo>
                      <a:pt x="5352" y="111"/>
                    </a:lnTo>
                    <a:lnTo>
                      <a:pt x="5365" y="111"/>
                    </a:lnTo>
                    <a:lnTo>
                      <a:pt x="5374" y="108"/>
                    </a:lnTo>
                    <a:lnTo>
                      <a:pt x="5388" y="102"/>
                    </a:lnTo>
                    <a:lnTo>
                      <a:pt x="5402" y="102"/>
                    </a:lnTo>
                    <a:lnTo>
                      <a:pt x="5411" y="100"/>
                    </a:lnTo>
                    <a:lnTo>
                      <a:pt x="5265" y="0"/>
                    </a:lnTo>
                    <a:lnTo>
                      <a:pt x="5260" y="0"/>
                    </a:lnTo>
                    <a:lnTo>
                      <a:pt x="5251" y="3"/>
                    </a:lnTo>
                    <a:lnTo>
                      <a:pt x="5242" y="3"/>
                    </a:lnTo>
                    <a:lnTo>
                      <a:pt x="5233" y="3"/>
                    </a:lnTo>
                    <a:lnTo>
                      <a:pt x="5219" y="3"/>
                    </a:lnTo>
                    <a:lnTo>
                      <a:pt x="5210" y="8"/>
                    </a:lnTo>
                    <a:lnTo>
                      <a:pt x="5196" y="11"/>
                    </a:lnTo>
                    <a:lnTo>
                      <a:pt x="5178" y="14"/>
                    </a:lnTo>
                    <a:lnTo>
                      <a:pt x="5160" y="17"/>
                    </a:lnTo>
                    <a:lnTo>
                      <a:pt x="5141" y="20"/>
                    </a:lnTo>
                    <a:lnTo>
                      <a:pt x="5119" y="23"/>
                    </a:lnTo>
                    <a:lnTo>
                      <a:pt x="5100" y="25"/>
                    </a:lnTo>
                    <a:lnTo>
                      <a:pt x="5077" y="31"/>
                    </a:lnTo>
                    <a:lnTo>
                      <a:pt x="5055" y="37"/>
                    </a:lnTo>
                    <a:lnTo>
                      <a:pt x="5023" y="40"/>
                    </a:lnTo>
                    <a:lnTo>
                      <a:pt x="5000" y="43"/>
                    </a:lnTo>
                    <a:lnTo>
                      <a:pt x="4968" y="48"/>
                    </a:lnTo>
                    <a:lnTo>
                      <a:pt x="4940" y="51"/>
                    </a:lnTo>
                    <a:lnTo>
                      <a:pt x="4904" y="57"/>
                    </a:lnTo>
                    <a:lnTo>
                      <a:pt x="4872" y="60"/>
                    </a:lnTo>
                    <a:lnTo>
                      <a:pt x="4840" y="68"/>
                    </a:lnTo>
                    <a:lnTo>
                      <a:pt x="4808" y="71"/>
                    </a:lnTo>
                    <a:lnTo>
                      <a:pt x="4767" y="77"/>
                    </a:lnTo>
                    <a:lnTo>
                      <a:pt x="4730" y="82"/>
                    </a:lnTo>
                    <a:lnTo>
                      <a:pt x="4694" y="88"/>
                    </a:lnTo>
                    <a:lnTo>
                      <a:pt x="4652" y="91"/>
                    </a:lnTo>
                    <a:lnTo>
                      <a:pt x="4611" y="97"/>
                    </a:lnTo>
                    <a:lnTo>
                      <a:pt x="4570" y="102"/>
                    </a:lnTo>
                    <a:lnTo>
                      <a:pt x="4524" y="111"/>
                    </a:lnTo>
                    <a:lnTo>
                      <a:pt x="4488" y="117"/>
                    </a:lnTo>
                    <a:lnTo>
                      <a:pt x="4438" y="122"/>
                    </a:lnTo>
                    <a:lnTo>
                      <a:pt x="4392" y="128"/>
                    </a:lnTo>
                    <a:lnTo>
                      <a:pt x="4342" y="134"/>
                    </a:lnTo>
                    <a:lnTo>
                      <a:pt x="4296" y="139"/>
                    </a:lnTo>
                    <a:lnTo>
                      <a:pt x="4246" y="142"/>
                    </a:lnTo>
                    <a:lnTo>
                      <a:pt x="4200" y="151"/>
                    </a:lnTo>
                    <a:lnTo>
                      <a:pt x="4145" y="154"/>
                    </a:lnTo>
                    <a:lnTo>
                      <a:pt x="4095" y="162"/>
                    </a:lnTo>
                    <a:lnTo>
                      <a:pt x="4040" y="165"/>
                    </a:lnTo>
                    <a:lnTo>
                      <a:pt x="3990" y="174"/>
                    </a:lnTo>
                    <a:lnTo>
                      <a:pt x="3935" y="176"/>
                    </a:lnTo>
                    <a:lnTo>
                      <a:pt x="3885" y="185"/>
                    </a:lnTo>
                    <a:lnTo>
                      <a:pt x="3830" y="185"/>
                    </a:lnTo>
                    <a:lnTo>
                      <a:pt x="3770" y="193"/>
                    </a:lnTo>
                    <a:lnTo>
                      <a:pt x="3716" y="199"/>
                    </a:lnTo>
                    <a:lnTo>
                      <a:pt x="3661" y="205"/>
                    </a:lnTo>
                    <a:lnTo>
                      <a:pt x="3597" y="208"/>
                    </a:lnTo>
                    <a:lnTo>
                      <a:pt x="3542" y="213"/>
                    </a:lnTo>
                    <a:lnTo>
                      <a:pt x="3482" y="219"/>
                    </a:lnTo>
                    <a:lnTo>
                      <a:pt x="3423" y="225"/>
                    </a:lnTo>
                    <a:lnTo>
                      <a:pt x="3364" y="228"/>
                    </a:lnTo>
                    <a:lnTo>
                      <a:pt x="3304" y="231"/>
                    </a:lnTo>
                    <a:lnTo>
                      <a:pt x="3245" y="236"/>
                    </a:lnTo>
                    <a:lnTo>
                      <a:pt x="3181" y="239"/>
                    </a:lnTo>
                    <a:lnTo>
                      <a:pt x="3121" y="242"/>
                    </a:lnTo>
                    <a:lnTo>
                      <a:pt x="3057" y="248"/>
                    </a:lnTo>
                    <a:lnTo>
                      <a:pt x="2998" y="250"/>
                    </a:lnTo>
                    <a:lnTo>
                      <a:pt x="2934" y="253"/>
                    </a:lnTo>
                    <a:lnTo>
                      <a:pt x="2875" y="256"/>
                    </a:lnTo>
                    <a:lnTo>
                      <a:pt x="2806" y="259"/>
                    </a:lnTo>
                    <a:lnTo>
                      <a:pt x="2747" y="262"/>
                    </a:lnTo>
                    <a:lnTo>
                      <a:pt x="2683" y="265"/>
                    </a:lnTo>
                    <a:lnTo>
                      <a:pt x="2619" y="265"/>
                    </a:lnTo>
                    <a:lnTo>
                      <a:pt x="2555" y="268"/>
                    </a:lnTo>
                    <a:lnTo>
                      <a:pt x="2495" y="268"/>
                    </a:lnTo>
                    <a:lnTo>
                      <a:pt x="2431" y="270"/>
                    </a:lnTo>
                    <a:lnTo>
                      <a:pt x="2367" y="270"/>
                    </a:lnTo>
                    <a:lnTo>
                      <a:pt x="2308" y="270"/>
                    </a:lnTo>
                    <a:lnTo>
                      <a:pt x="2244" y="270"/>
                    </a:lnTo>
                    <a:lnTo>
                      <a:pt x="2185" y="270"/>
                    </a:lnTo>
                    <a:lnTo>
                      <a:pt x="2125" y="270"/>
                    </a:lnTo>
                    <a:lnTo>
                      <a:pt x="2070" y="268"/>
                    </a:lnTo>
                    <a:lnTo>
                      <a:pt x="2011" y="268"/>
                    </a:lnTo>
                    <a:lnTo>
                      <a:pt x="1951" y="268"/>
                    </a:lnTo>
                    <a:lnTo>
                      <a:pt x="1897" y="265"/>
                    </a:lnTo>
                    <a:lnTo>
                      <a:pt x="1842" y="265"/>
                    </a:lnTo>
                    <a:lnTo>
                      <a:pt x="1787" y="262"/>
                    </a:lnTo>
                    <a:lnTo>
                      <a:pt x="1732" y="262"/>
                    </a:lnTo>
                    <a:lnTo>
                      <a:pt x="1673" y="262"/>
                    </a:lnTo>
                    <a:lnTo>
                      <a:pt x="1622" y="259"/>
                    </a:lnTo>
                    <a:lnTo>
                      <a:pt x="1568" y="256"/>
                    </a:lnTo>
                    <a:lnTo>
                      <a:pt x="1517" y="253"/>
                    </a:lnTo>
                    <a:lnTo>
                      <a:pt x="1467" y="250"/>
                    </a:lnTo>
                    <a:lnTo>
                      <a:pt x="1417" y="250"/>
                    </a:lnTo>
                    <a:lnTo>
                      <a:pt x="1362" y="248"/>
                    </a:lnTo>
                    <a:lnTo>
                      <a:pt x="1321" y="245"/>
                    </a:lnTo>
                    <a:lnTo>
                      <a:pt x="1270" y="239"/>
                    </a:lnTo>
                    <a:lnTo>
                      <a:pt x="1220" y="239"/>
                    </a:lnTo>
                    <a:lnTo>
                      <a:pt x="1175" y="236"/>
                    </a:lnTo>
                    <a:lnTo>
                      <a:pt x="1129" y="233"/>
                    </a:lnTo>
                    <a:lnTo>
                      <a:pt x="1088" y="231"/>
                    </a:lnTo>
                    <a:lnTo>
                      <a:pt x="1042" y="228"/>
                    </a:lnTo>
                    <a:lnTo>
                      <a:pt x="1001" y="225"/>
                    </a:lnTo>
                    <a:lnTo>
                      <a:pt x="964" y="219"/>
                    </a:lnTo>
                    <a:lnTo>
                      <a:pt x="919" y="216"/>
                    </a:lnTo>
                    <a:lnTo>
                      <a:pt x="877" y="213"/>
                    </a:lnTo>
                    <a:lnTo>
                      <a:pt x="841" y="208"/>
                    </a:lnTo>
                    <a:lnTo>
                      <a:pt x="804" y="208"/>
                    </a:lnTo>
                    <a:lnTo>
                      <a:pt x="759" y="202"/>
                    </a:lnTo>
                    <a:lnTo>
                      <a:pt x="731" y="199"/>
                    </a:lnTo>
                    <a:lnTo>
                      <a:pt x="695" y="196"/>
                    </a:lnTo>
                    <a:lnTo>
                      <a:pt x="663" y="193"/>
                    </a:lnTo>
                    <a:lnTo>
                      <a:pt x="631" y="188"/>
                    </a:lnTo>
                    <a:lnTo>
                      <a:pt x="599" y="185"/>
                    </a:lnTo>
                    <a:lnTo>
                      <a:pt x="567" y="182"/>
                    </a:lnTo>
                    <a:lnTo>
                      <a:pt x="539" y="179"/>
                    </a:lnTo>
                    <a:lnTo>
                      <a:pt x="507" y="174"/>
                    </a:lnTo>
                    <a:lnTo>
                      <a:pt x="484" y="174"/>
                    </a:lnTo>
                    <a:lnTo>
                      <a:pt x="457" y="168"/>
                    </a:lnTo>
                    <a:lnTo>
                      <a:pt x="434" y="165"/>
                    </a:lnTo>
                    <a:lnTo>
                      <a:pt x="411" y="162"/>
                    </a:lnTo>
                    <a:lnTo>
                      <a:pt x="384" y="159"/>
                    </a:lnTo>
                    <a:lnTo>
                      <a:pt x="361" y="156"/>
                    </a:lnTo>
                    <a:lnTo>
                      <a:pt x="343" y="154"/>
                    </a:lnTo>
                    <a:lnTo>
                      <a:pt x="329" y="151"/>
                    </a:lnTo>
                    <a:lnTo>
                      <a:pt x="311" y="148"/>
                    </a:lnTo>
                    <a:lnTo>
                      <a:pt x="292" y="145"/>
                    </a:lnTo>
                    <a:lnTo>
                      <a:pt x="283" y="142"/>
                    </a:lnTo>
                    <a:lnTo>
                      <a:pt x="270" y="139"/>
                    </a:lnTo>
                    <a:lnTo>
                      <a:pt x="256" y="139"/>
                    </a:lnTo>
                    <a:lnTo>
                      <a:pt x="242" y="137"/>
                    </a:lnTo>
                    <a:lnTo>
                      <a:pt x="238" y="137"/>
                    </a:lnTo>
                    <a:lnTo>
                      <a:pt x="224" y="134"/>
                    </a:lnTo>
                    <a:lnTo>
                      <a:pt x="215" y="134"/>
                    </a:lnTo>
                    <a:lnTo>
                      <a:pt x="201" y="128"/>
                    </a:lnTo>
                    <a:lnTo>
                      <a:pt x="187" y="128"/>
                    </a:lnTo>
                    <a:lnTo>
                      <a:pt x="169" y="131"/>
                    </a:lnTo>
                    <a:lnTo>
                      <a:pt x="155" y="134"/>
                    </a:lnTo>
                    <a:lnTo>
                      <a:pt x="133" y="137"/>
                    </a:lnTo>
                    <a:lnTo>
                      <a:pt x="114" y="142"/>
                    </a:lnTo>
                    <a:lnTo>
                      <a:pt x="96" y="151"/>
                    </a:lnTo>
                    <a:lnTo>
                      <a:pt x="78" y="159"/>
                    </a:lnTo>
                    <a:lnTo>
                      <a:pt x="59" y="165"/>
                    </a:lnTo>
                    <a:lnTo>
                      <a:pt x="41" y="174"/>
                    </a:lnTo>
                    <a:lnTo>
                      <a:pt x="23" y="179"/>
                    </a:lnTo>
                    <a:lnTo>
                      <a:pt x="14" y="185"/>
                    </a:lnTo>
                    <a:lnTo>
                      <a:pt x="0" y="191"/>
                    </a:lnTo>
                    <a:lnTo>
                      <a:pt x="0" y="196"/>
                    </a:lnTo>
                    <a:lnTo>
                      <a:pt x="0" y="19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94" name="Freeform 148"/>
              <p:cNvSpPr>
                <a:spLocks/>
              </p:cNvSpPr>
              <p:nvPr>
                <p:custDataLst>
                  <p:tags r:id="rId58"/>
                </p:custDataLst>
              </p:nvPr>
            </p:nvSpPr>
            <p:spPr bwMode="gray">
              <a:xfrm>
                <a:off x="932" y="1412"/>
                <a:ext cx="3823" cy="1413"/>
              </a:xfrm>
              <a:custGeom>
                <a:avLst/>
                <a:gdLst>
                  <a:gd name="T0" fmla="*/ 159 w 3730"/>
                  <a:gd name="T1" fmla="*/ 41 h 1546"/>
                  <a:gd name="T2" fmla="*/ 142 w 3730"/>
                  <a:gd name="T3" fmla="*/ 75 h 1546"/>
                  <a:gd name="T4" fmla="*/ 129 w 3730"/>
                  <a:gd name="T5" fmla="*/ 121 h 1546"/>
                  <a:gd name="T6" fmla="*/ 102 w 3730"/>
                  <a:gd name="T7" fmla="*/ 173 h 1546"/>
                  <a:gd name="T8" fmla="*/ 83 w 3730"/>
                  <a:gd name="T9" fmla="*/ 231 h 1546"/>
                  <a:gd name="T10" fmla="*/ 54 w 3730"/>
                  <a:gd name="T11" fmla="*/ 291 h 1546"/>
                  <a:gd name="T12" fmla="*/ 40 w 3730"/>
                  <a:gd name="T13" fmla="*/ 345 h 1546"/>
                  <a:gd name="T14" fmla="*/ 14 w 3730"/>
                  <a:gd name="T15" fmla="*/ 396 h 1546"/>
                  <a:gd name="T16" fmla="*/ 5 w 3730"/>
                  <a:gd name="T17" fmla="*/ 435 h 1546"/>
                  <a:gd name="T18" fmla="*/ 0 w 3730"/>
                  <a:gd name="T19" fmla="*/ 461 h 1546"/>
                  <a:gd name="T20" fmla="*/ 5 w 3730"/>
                  <a:gd name="T21" fmla="*/ 467 h 1546"/>
                  <a:gd name="T22" fmla="*/ 88 w 3730"/>
                  <a:gd name="T23" fmla="*/ 471 h 1546"/>
                  <a:gd name="T24" fmla="*/ 192 w 3730"/>
                  <a:gd name="T25" fmla="*/ 474 h 1546"/>
                  <a:gd name="T26" fmla="*/ 327 w 3730"/>
                  <a:gd name="T27" fmla="*/ 480 h 1546"/>
                  <a:gd name="T28" fmla="*/ 492 w 3730"/>
                  <a:gd name="T29" fmla="*/ 485 h 1546"/>
                  <a:gd name="T30" fmla="*/ 683 w 3730"/>
                  <a:gd name="T31" fmla="*/ 493 h 1546"/>
                  <a:gd name="T32" fmla="*/ 887 w 3730"/>
                  <a:gd name="T33" fmla="*/ 499 h 1546"/>
                  <a:gd name="T34" fmla="*/ 1113 w 3730"/>
                  <a:gd name="T35" fmla="*/ 505 h 1546"/>
                  <a:gd name="T36" fmla="*/ 1340 w 3730"/>
                  <a:gd name="T37" fmla="*/ 511 h 1546"/>
                  <a:gd name="T38" fmla="*/ 1567 w 3730"/>
                  <a:gd name="T39" fmla="*/ 517 h 1546"/>
                  <a:gd name="T40" fmla="*/ 1797 w 3730"/>
                  <a:gd name="T41" fmla="*/ 522 h 1546"/>
                  <a:gd name="T42" fmla="*/ 2041 w 3730"/>
                  <a:gd name="T43" fmla="*/ 524 h 1546"/>
                  <a:gd name="T44" fmla="*/ 2293 w 3730"/>
                  <a:gd name="T45" fmla="*/ 525 h 1546"/>
                  <a:gd name="T46" fmla="*/ 2556 w 3730"/>
                  <a:gd name="T47" fmla="*/ 525 h 1546"/>
                  <a:gd name="T48" fmla="*/ 2820 w 3730"/>
                  <a:gd name="T49" fmla="*/ 523 h 1546"/>
                  <a:gd name="T50" fmla="*/ 3089 w 3730"/>
                  <a:gd name="T51" fmla="*/ 522 h 1546"/>
                  <a:gd name="T52" fmla="*/ 3335 w 3730"/>
                  <a:gd name="T53" fmla="*/ 519 h 1546"/>
                  <a:gd name="T54" fmla="*/ 3575 w 3730"/>
                  <a:gd name="T55" fmla="*/ 515 h 1546"/>
                  <a:gd name="T56" fmla="*/ 3792 w 3730"/>
                  <a:gd name="T57" fmla="*/ 510 h 1546"/>
                  <a:gd name="T58" fmla="*/ 3984 w 3730"/>
                  <a:gd name="T59" fmla="*/ 507 h 1546"/>
                  <a:gd name="T60" fmla="*/ 4142 w 3730"/>
                  <a:gd name="T61" fmla="*/ 504 h 1546"/>
                  <a:gd name="T62" fmla="*/ 4268 w 3730"/>
                  <a:gd name="T63" fmla="*/ 499 h 1546"/>
                  <a:gd name="T64" fmla="*/ 4392 w 3730"/>
                  <a:gd name="T65" fmla="*/ 494 h 1546"/>
                  <a:gd name="T66" fmla="*/ 4509 w 3730"/>
                  <a:gd name="T67" fmla="*/ 491 h 1546"/>
                  <a:gd name="T68" fmla="*/ 4607 w 3730"/>
                  <a:gd name="T69" fmla="*/ 485 h 1546"/>
                  <a:gd name="T70" fmla="*/ 4704 w 3730"/>
                  <a:gd name="T71" fmla="*/ 481 h 1546"/>
                  <a:gd name="T72" fmla="*/ 4816 w 3730"/>
                  <a:gd name="T73" fmla="*/ 474 h 1546"/>
                  <a:gd name="T74" fmla="*/ 4943 w 3730"/>
                  <a:gd name="T75" fmla="*/ 469 h 1546"/>
                  <a:gd name="T76" fmla="*/ 5013 w 3730"/>
                  <a:gd name="T77" fmla="*/ 466 h 1546"/>
                  <a:gd name="T78" fmla="*/ 4600 w 3730"/>
                  <a:gd name="T79" fmla="*/ 435 h 1546"/>
                  <a:gd name="T80" fmla="*/ 4515 w 3730"/>
                  <a:gd name="T81" fmla="*/ 437 h 1546"/>
                  <a:gd name="T82" fmla="*/ 4399 w 3730"/>
                  <a:gd name="T83" fmla="*/ 441 h 1546"/>
                  <a:gd name="T84" fmla="*/ 4250 w 3730"/>
                  <a:gd name="T85" fmla="*/ 444 h 1546"/>
                  <a:gd name="T86" fmla="*/ 4064 w 3730"/>
                  <a:gd name="T87" fmla="*/ 451 h 1546"/>
                  <a:gd name="T88" fmla="*/ 3862 w 3730"/>
                  <a:gd name="T89" fmla="*/ 456 h 1546"/>
                  <a:gd name="T90" fmla="*/ 3634 w 3730"/>
                  <a:gd name="T91" fmla="*/ 461 h 1546"/>
                  <a:gd name="T92" fmla="*/ 3399 w 3730"/>
                  <a:gd name="T93" fmla="*/ 466 h 1546"/>
                  <a:gd name="T94" fmla="*/ 3151 w 3730"/>
                  <a:gd name="T95" fmla="*/ 471 h 1546"/>
                  <a:gd name="T96" fmla="*/ 2893 w 3730"/>
                  <a:gd name="T97" fmla="*/ 474 h 1546"/>
                  <a:gd name="T98" fmla="*/ 2641 w 3730"/>
                  <a:gd name="T99" fmla="*/ 474 h 1546"/>
                  <a:gd name="T100" fmla="*/ 2358 w 3730"/>
                  <a:gd name="T101" fmla="*/ 474 h 1546"/>
                  <a:gd name="T102" fmla="*/ 2062 w 3730"/>
                  <a:gd name="T103" fmla="*/ 473 h 1546"/>
                  <a:gd name="T104" fmla="*/ 1759 w 3730"/>
                  <a:gd name="T105" fmla="*/ 467 h 1546"/>
                  <a:gd name="T106" fmla="*/ 1462 w 3730"/>
                  <a:gd name="T107" fmla="*/ 463 h 1546"/>
                  <a:gd name="T108" fmla="*/ 1180 w 3730"/>
                  <a:gd name="T109" fmla="*/ 457 h 1546"/>
                  <a:gd name="T110" fmla="*/ 921 w 3730"/>
                  <a:gd name="T111" fmla="*/ 451 h 1546"/>
                  <a:gd name="T112" fmla="*/ 700 w 3730"/>
                  <a:gd name="T113" fmla="*/ 443 h 1546"/>
                  <a:gd name="T114" fmla="*/ 529 w 3730"/>
                  <a:gd name="T115" fmla="*/ 440 h 1546"/>
                  <a:gd name="T116" fmla="*/ 413 w 3730"/>
                  <a:gd name="T117" fmla="*/ 435 h 1546"/>
                  <a:gd name="T118" fmla="*/ 418 w 3730"/>
                  <a:gd name="T119" fmla="*/ 31 h 1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30"/>
                  <a:gd name="T181" fmla="*/ 0 h 1546"/>
                  <a:gd name="T182" fmla="*/ 3730 w 3730"/>
                  <a:gd name="T183" fmla="*/ 1546 h 15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30" h="1546">
                    <a:moveTo>
                      <a:pt x="133" y="85"/>
                    </a:moveTo>
                    <a:lnTo>
                      <a:pt x="133" y="88"/>
                    </a:lnTo>
                    <a:lnTo>
                      <a:pt x="128" y="94"/>
                    </a:lnTo>
                    <a:lnTo>
                      <a:pt x="124" y="102"/>
                    </a:lnTo>
                    <a:lnTo>
                      <a:pt x="124" y="114"/>
                    </a:lnTo>
                    <a:lnTo>
                      <a:pt x="119" y="122"/>
                    </a:lnTo>
                    <a:lnTo>
                      <a:pt x="119" y="136"/>
                    </a:lnTo>
                    <a:lnTo>
                      <a:pt x="119" y="151"/>
                    </a:lnTo>
                    <a:lnTo>
                      <a:pt x="119" y="168"/>
                    </a:lnTo>
                    <a:lnTo>
                      <a:pt x="115" y="182"/>
                    </a:lnTo>
                    <a:lnTo>
                      <a:pt x="110" y="199"/>
                    </a:lnTo>
                    <a:lnTo>
                      <a:pt x="106" y="219"/>
                    </a:lnTo>
                    <a:lnTo>
                      <a:pt x="106" y="239"/>
                    </a:lnTo>
                    <a:lnTo>
                      <a:pt x="106" y="259"/>
                    </a:lnTo>
                    <a:lnTo>
                      <a:pt x="101" y="282"/>
                    </a:lnTo>
                    <a:lnTo>
                      <a:pt x="96" y="304"/>
                    </a:lnTo>
                    <a:lnTo>
                      <a:pt x="96" y="327"/>
                    </a:lnTo>
                    <a:lnTo>
                      <a:pt x="96" y="353"/>
                    </a:lnTo>
                    <a:lnTo>
                      <a:pt x="92" y="376"/>
                    </a:lnTo>
                    <a:lnTo>
                      <a:pt x="87" y="401"/>
                    </a:lnTo>
                    <a:lnTo>
                      <a:pt x="87" y="427"/>
                    </a:lnTo>
                    <a:lnTo>
                      <a:pt x="87" y="453"/>
                    </a:lnTo>
                    <a:lnTo>
                      <a:pt x="83" y="481"/>
                    </a:lnTo>
                    <a:lnTo>
                      <a:pt x="78" y="509"/>
                    </a:lnTo>
                    <a:lnTo>
                      <a:pt x="74" y="535"/>
                    </a:lnTo>
                    <a:lnTo>
                      <a:pt x="74" y="564"/>
                    </a:lnTo>
                    <a:lnTo>
                      <a:pt x="74" y="592"/>
                    </a:lnTo>
                    <a:lnTo>
                      <a:pt x="69" y="621"/>
                    </a:lnTo>
                    <a:lnTo>
                      <a:pt x="64" y="649"/>
                    </a:lnTo>
                    <a:lnTo>
                      <a:pt x="60" y="680"/>
                    </a:lnTo>
                    <a:lnTo>
                      <a:pt x="60" y="709"/>
                    </a:lnTo>
                    <a:lnTo>
                      <a:pt x="55" y="737"/>
                    </a:lnTo>
                    <a:lnTo>
                      <a:pt x="55" y="766"/>
                    </a:lnTo>
                    <a:lnTo>
                      <a:pt x="51" y="797"/>
                    </a:lnTo>
                    <a:lnTo>
                      <a:pt x="51" y="826"/>
                    </a:lnTo>
                    <a:lnTo>
                      <a:pt x="42" y="854"/>
                    </a:lnTo>
                    <a:lnTo>
                      <a:pt x="42" y="883"/>
                    </a:lnTo>
                    <a:lnTo>
                      <a:pt x="37" y="911"/>
                    </a:lnTo>
                    <a:lnTo>
                      <a:pt x="37" y="939"/>
                    </a:lnTo>
                    <a:lnTo>
                      <a:pt x="37" y="968"/>
                    </a:lnTo>
                    <a:lnTo>
                      <a:pt x="37" y="994"/>
                    </a:lnTo>
                    <a:lnTo>
                      <a:pt x="28" y="1019"/>
                    </a:lnTo>
                    <a:lnTo>
                      <a:pt x="28" y="1045"/>
                    </a:lnTo>
                    <a:lnTo>
                      <a:pt x="19" y="1073"/>
                    </a:lnTo>
                    <a:lnTo>
                      <a:pt x="19" y="1099"/>
                    </a:lnTo>
                    <a:lnTo>
                      <a:pt x="19" y="1122"/>
                    </a:lnTo>
                    <a:lnTo>
                      <a:pt x="19" y="1142"/>
                    </a:lnTo>
                    <a:lnTo>
                      <a:pt x="14" y="1167"/>
                    </a:lnTo>
                    <a:lnTo>
                      <a:pt x="14" y="1190"/>
                    </a:lnTo>
                    <a:lnTo>
                      <a:pt x="10" y="1210"/>
                    </a:lnTo>
                    <a:lnTo>
                      <a:pt x="10" y="1227"/>
                    </a:lnTo>
                    <a:lnTo>
                      <a:pt x="10" y="1247"/>
                    </a:lnTo>
                    <a:lnTo>
                      <a:pt x="5" y="1267"/>
                    </a:lnTo>
                    <a:lnTo>
                      <a:pt x="5" y="1281"/>
                    </a:lnTo>
                    <a:lnTo>
                      <a:pt x="0" y="1298"/>
                    </a:lnTo>
                    <a:lnTo>
                      <a:pt x="0" y="1312"/>
                    </a:lnTo>
                    <a:lnTo>
                      <a:pt x="0" y="1327"/>
                    </a:lnTo>
                    <a:lnTo>
                      <a:pt x="0" y="1338"/>
                    </a:lnTo>
                    <a:lnTo>
                      <a:pt x="0" y="1347"/>
                    </a:lnTo>
                    <a:lnTo>
                      <a:pt x="0" y="1355"/>
                    </a:lnTo>
                    <a:lnTo>
                      <a:pt x="0" y="1364"/>
                    </a:lnTo>
                    <a:lnTo>
                      <a:pt x="0" y="1372"/>
                    </a:lnTo>
                    <a:lnTo>
                      <a:pt x="0" y="1375"/>
                    </a:lnTo>
                    <a:lnTo>
                      <a:pt x="0" y="1378"/>
                    </a:lnTo>
                    <a:lnTo>
                      <a:pt x="5" y="1378"/>
                    </a:lnTo>
                    <a:lnTo>
                      <a:pt x="14" y="1378"/>
                    </a:lnTo>
                    <a:lnTo>
                      <a:pt x="28" y="1381"/>
                    </a:lnTo>
                    <a:lnTo>
                      <a:pt x="37" y="1381"/>
                    </a:lnTo>
                    <a:lnTo>
                      <a:pt x="42" y="1387"/>
                    </a:lnTo>
                    <a:lnTo>
                      <a:pt x="55" y="1387"/>
                    </a:lnTo>
                    <a:lnTo>
                      <a:pt x="64" y="1387"/>
                    </a:lnTo>
                    <a:lnTo>
                      <a:pt x="74" y="1387"/>
                    </a:lnTo>
                    <a:lnTo>
                      <a:pt x="87" y="1389"/>
                    </a:lnTo>
                    <a:lnTo>
                      <a:pt x="96" y="1392"/>
                    </a:lnTo>
                    <a:lnTo>
                      <a:pt x="115" y="1395"/>
                    </a:lnTo>
                    <a:lnTo>
                      <a:pt x="124" y="1398"/>
                    </a:lnTo>
                    <a:lnTo>
                      <a:pt x="142" y="1398"/>
                    </a:lnTo>
                    <a:lnTo>
                      <a:pt x="156" y="1398"/>
                    </a:lnTo>
                    <a:lnTo>
                      <a:pt x="174" y="1404"/>
                    </a:lnTo>
                    <a:lnTo>
                      <a:pt x="188" y="1406"/>
                    </a:lnTo>
                    <a:lnTo>
                      <a:pt x="206" y="1409"/>
                    </a:lnTo>
                    <a:lnTo>
                      <a:pt x="224" y="1409"/>
                    </a:lnTo>
                    <a:lnTo>
                      <a:pt x="243" y="1412"/>
                    </a:lnTo>
                    <a:lnTo>
                      <a:pt x="261" y="1415"/>
                    </a:lnTo>
                    <a:lnTo>
                      <a:pt x="279" y="1418"/>
                    </a:lnTo>
                    <a:lnTo>
                      <a:pt x="302" y="1421"/>
                    </a:lnTo>
                    <a:lnTo>
                      <a:pt x="325" y="1424"/>
                    </a:lnTo>
                    <a:lnTo>
                      <a:pt x="343" y="1426"/>
                    </a:lnTo>
                    <a:lnTo>
                      <a:pt x="366" y="1429"/>
                    </a:lnTo>
                    <a:lnTo>
                      <a:pt x="389" y="1432"/>
                    </a:lnTo>
                    <a:lnTo>
                      <a:pt x="416" y="1435"/>
                    </a:lnTo>
                    <a:lnTo>
                      <a:pt x="435" y="1441"/>
                    </a:lnTo>
                    <a:lnTo>
                      <a:pt x="457" y="1443"/>
                    </a:lnTo>
                    <a:lnTo>
                      <a:pt x="485" y="1443"/>
                    </a:lnTo>
                    <a:lnTo>
                      <a:pt x="508" y="1449"/>
                    </a:lnTo>
                    <a:lnTo>
                      <a:pt x="531" y="1452"/>
                    </a:lnTo>
                    <a:lnTo>
                      <a:pt x="558" y="1455"/>
                    </a:lnTo>
                    <a:lnTo>
                      <a:pt x="581" y="1458"/>
                    </a:lnTo>
                    <a:lnTo>
                      <a:pt x="608" y="1463"/>
                    </a:lnTo>
                    <a:lnTo>
                      <a:pt x="636" y="1463"/>
                    </a:lnTo>
                    <a:lnTo>
                      <a:pt x="659" y="1466"/>
                    </a:lnTo>
                    <a:lnTo>
                      <a:pt x="686" y="1469"/>
                    </a:lnTo>
                    <a:lnTo>
                      <a:pt x="713" y="1475"/>
                    </a:lnTo>
                    <a:lnTo>
                      <a:pt x="741" y="1478"/>
                    </a:lnTo>
                    <a:lnTo>
                      <a:pt x="768" y="1481"/>
                    </a:lnTo>
                    <a:lnTo>
                      <a:pt x="800" y="1486"/>
                    </a:lnTo>
                    <a:lnTo>
                      <a:pt x="828" y="1486"/>
                    </a:lnTo>
                    <a:lnTo>
                      <a:pt x="855" y="1489"/>
                    </a:lnTo>
                    <a:lnTo>
                      <a:pt x="882" y="1492"/>
                    </a:lnTo>
                    <a:lnTo>
                      <a:pt x="910" y="1495"/>
                    </a:lnTo>
                    <a:lnTo>
                      <a:pt x="937" y="1498"/>
                    </a:lnTo>
                    <a:lnTo>
                      <a:pt x="965" y="1500"/>
                    </a:lnTo>
                    <a:lnTo>
                      <a:pt x="997" y="1506"/>
                    </a:lnTo>
                    <a:lnTo>
                      <a:pt x="1020" y="1506"/>
                    </a:lnTo>
                    <a:lnTo>
                      <a:pt x="1052" y="1512"/>
                    </a:lnTo>
                    <a:lnTo>
                      <a:pt x="1079" y="1512"/>
                    </a:lnTo>
                    <a:lnTo>
                      <a:pt x="1106" y="1515"/>
                    </a:lnTo>
                    <a:lnTo>
                      <a:pt x="1138" y="1518"/>
                    </a:lnTo>
                    <a:lnTo>
                      <a:pt x="1166" y="1520"/>
                    </a:lnTo>
                    <a:lnTo>
                      <a:pt x="1193" y="1523"/>
                    </a:lnTo>
                    <a:lnTo>
                      <a:pt x="1225" y="1526"/>
                    </a:lnTo>
                    <a:lnTo>
                      <a:pt x="1253" y="1529"/>
                    </a:lnTo>
                    <a:lnTo>
                      <a:pt x="1285" y="1532"/>
                    </a:lnTo>
                    <a:lnTo>
                      <a:pt x="1308" y="1535"/>
                    </a:lnTo>
                    <a:lnTo>
                      <a:pt x="1335" y="1535"/>
                    </a:lnTo>
                    <a:lnTo>
                      <a:pt x="1362" y="1535"/>
                    </a:lnTo>
                    <a:lnTo>
                      <a:pt x="1394" y="1537"/>
                    </a:lnTo>
                    <a:lnTo>
                      <a:pt x="1422" y="1537"/>
                    </a:lnTo>
                    <a:lnTo>
                      <a:pt x="1454" y="1540"/>
                    </a:lnTo>
                    <a:lnTo>
                      <a:pt x="1486" y="1540"/>
                    </a:lnTo>
                    <a:lnTo>
                      <a:pt x="1518" y="1543"/>
                    </a:lnTo>
                    <a:lnTo>
                      <a:pt x="1545" y="1543"/>
                    </a:lnTo>
                    <a:lnTo>
                      <a:pt x="1577" y="1546"/>
                    </a:lnTo>
                    <a:lnTo>
                      <a:pt x="1609" y="1546"/>
                    </a:lnTo>
                    <a:lnTo>
                      <a:pt x="1641" y="1546"/>
                    </a:lnTo>
                    <a:lnTo>
                      <a:pt x="1673" y="1546"/>
                    </a:lnTo>
                    <a:lnTo>
                      <a:pt x="1705" y="1546"/>
                    </a:lnTo>
                    <a:lnTo>
                      <a:pt x="1742" y="1546"/>
                    </a:lnTo>
                    <a:lnTo>
                      <a:pt x="1774" y="1546"/>
                    </a:lnTo>
                    <a:lnTo>
                      <a:pt x="1806" y="1546"/>
                    </a:lnTo>
                    <a:lnTo>
                      <a:pt x="1838" y="1546"/>
                    </a:lnTo>
                    <a:lnTo>
                      <a:pt x="1865" y="1546"/>
                    </a:lnTo>
                    <a:lnTo>
                      <a:pt x="1902" y="1546"/>
                    </a:lnTo>
                    <a:lnTo>
                      <a:pt x="1929" y="1546"/>
                    </a:lnTo>
                    <a:lnTo>
                      <a:pt x="1966" y="1546"/>
                    </a:lnTo>
                    <a:lnTo>
                      <a:pt x="1998" y="1546"/>
                    </a:lnTo>
                    <a:lnTo>
                      <a:pt x="2034" y="1546"/>
                    </a:lnTo>
                    <a:lnTo>
                      <a:pt x="2066" y="1543"/>
                    </a:lnTo>
                    <a:lnTo>
                      <a:pt x="2098" y="1540"/>
                    </a:lnTo>
                    <a:lnTo>
                      <a:pt x="2130" y="1540"/>
                    </a:lnTo>
                    <a:lnTo>
                      <a:pt x="2167" y="1540"/>
                    </a:lnTo>
                    <a:lnTo>
                      <a:pt x="2199" y="1537"/>
                    </a:lnTo>
                    <a:lnTo>
                      <a:pt x="2235" y="1537"/>
                    </a:lnTo>
                    <a:lnTo>
                      <a:pt x="2263" y="1535"/>
                    </a:lnTo>
                    <a:lnTo>
                      <a:pt x="2299" y="1535"/>
                    </a:lnTo>
                    <a:lnTo>
                      <a:pt x="2327" y="1535"/>
                    </a:lnTo>
                    <a:lnTo>
                      <a:pt x="2359" y="1535"/>
                    </a:lnTo>
                    <a:lnTo>
                      <a:pt x="2391" y="1529"/>
                    </a:lnTo>
                    <a:lnTo>
                      <a:pt x="2423" y="1529"/>
                    </a:lnTo>
                    <a:lnTo>
                      <a:pt x="2455" y="1526"/>
                    </a:lnTo>
                    <a:lnTo>
                      <a:pt x="2482" y="1526"/>
                    </a:lnTo>
                    <a:lnTo>
                      <a:pt x="2514" y="1523"/>
                    </a:lnTo>
                    <a:lnTo>
                      <a:pt x="2546" y="1523"/>
                    </a:lnTo>
                    <a:lnTo>
                      <a:pt x="2573" y="1520"/>
                    </a:lnTo>
                    <a:lnTo>
                      <a:pt x="2601" y="1520"/>
                    </a:lnTo>
                    <a:lnTo>
                      <a:pt x="2633" y="1518"/>
                    </a:lnTo>
                    <a:lnTo>
                      <a:pt x="2660" y="1515"/>
                    </a:lnTo>
                    <a:lnTo>
                      <a:pt x="2688" y="1512"/>
                    </a:lnTo>
                    <a:lnTo>
                      <a:pt x="2715" y="1512"/>
                    </a:lnTo>
                    <a:lnTo>
                      <a:pt x="2743" y="1509"/>
                    </a:lnTo>
                    <a:lnTo>
                      <a:pt x="2775" y="1509"/>
                    </a:lnTo>
                    <a:lnTo>
                      <a:pt x="2797" y="1506"/>
                    </a:lnTo>
                    <a:lnTo>
                      <a:pt x="2820" y="1503"/>
                    </a:lnTo>
                    <a:lnTo>
                      <a:pt x="2848" y="1500"/>
                    </a:lnTo>
                    <a:lnTo>
                      <a:pt x="2875" y="1498"/>
                    </a:lnTo>
                    <a:lnTo>
                      <a:pt x="2893" y="1498"/>
                    </a:lnTo>
                    <a:lnTo>
                      <a:pt x="2921" y="1495"/>
                    </a:lnTo>
                    <a:lnTo>
                      <a:pt x="2944" y="1492"/>
                    </a:lnTo>
                    <a:lnTo>
                      <a:pt x="2962" y="1492"/>
                    </a:lnTo>
                    <a:lnTo>
                      <a:pt x="2989" y="1489"/>
                    </a:lnTo>
                    <a:lnTo>
                      <a:pt x="3008" y="1486"/>
                    </a:lnTo>
                    <a:lnTo>
                      <a:pt x="3026" y="1486"/>
                    </a:lnTo>
                    <a:lnTo>
                      <a:pt x="3049" y="1486"/>
                    </a:lnTo>
                    <a:lnTo>
                      <a:pt x="3067" y="1481"/>
                    </a:lnTo>
                    <a:lnTo>
                      <a:pt x="3081" y="1481"/>
                    </a:lnTo>
                    <a:lnTo>
                      <a:pt x="3099" y="1478"/>
                    </a:lnTo>
                    <a:lnTo>
                      <a:pt x="3117" y="1478"/>
                    </a:lnTo>
                    <a:lnTo>
                      <a:pt x="3131" y="1475"/>
                    </a:lnTo>
                    <a:lnTo>
                      <a:pt x="3145" y="1472"/>
                    </a:lnTo>
                    <a:lnTo>
                      <a:pt x="3163" y="1469"/>
                    </a:lnTo>
                    <a:lnTo>
                      <a:pt x="3177" y="1466"/>
                    </a:lnTo>
                    <a:lnTo>
                      <a:pt x="3190" y="1463"/>
                    </a:lnTo>
                    <a:lnTo>
                      <a:pt x="3209" y="1463"/>
                    </a:lnTo>
                    <a:lnTo>
                      <a:pt x="3222" y="1461"/>
                    </a:lnTo>
                    <a:lnTo>
                      <a:pt x="3241" y="1461"/>
                    </a:lnTo>
                    <a:lnTo>
                      <a:pt x="3254" y="1455"/>
                    </a:lnTo>
                    <a:lnTo>
                      <a:pt x="3268" y="1455"/>
                    </a:lnTo>
                    <a:lnTo>
                      <a:pt x="3282" y="1452"/>
                    </a:lnTo>
                    <a:lnTo>
                      <a:pt x="3296" y="1452"/>
                    </a:lnTo>
                    <a:lnTo>
                      <a:pt x="3309" y="1449"/>
                    </a:lnTo>
                    <a:lnTo>
                      <a:pt x="3323" y="1446"/>
                    </a:lnTo>
                    <a:lnTo>
                      <a:pt x="3341" y="1443"/>
                    </a:lnTo>
                    <a:lnTo>
                      <a:pt x="3355" y="1443"/>
                    </a:lnTo>
                    <a:lnTo>
                      <a:pt x="3364" y="1441"/>
                    </a:lnTo>
                    <a:lnTo>
                      <a:pt x="3378" y="1438"/>
                    </a:lnTo>
                    <a:lnTo>
                      <a:pt x="3391" y="1435"/>
                    </a:lnTo>
                    <a:lnTo>
                      <a:pt x="3405" y="1432"/>
                    </a:lnTo>
                    <a:lnTo>
                      <a:pt x="3419" y="1432"/>
                    </a:lnTo>
                    <a:lnTo>
                      <a:pt x="3428" y="1429"/>
                    </a:lnTo>
                    <a:lnTo>
                      <a:pt x="3442" y="1426"/>
                    </a:lnTo>
                    <a:lnTo>
                      <a:pt x="3455" y="1424"/>
                    </a:lnTo>
                    <a:lnTo>
                      <a:pt x="3465" y="1421"/>
                    </a:lnTo>
                    <a:lnTo>
                      <a:pt x="3478" y="1421"/>
                    </a:lnTo>
                    <a:lnTo>
                      <a:pt x="3492" y="1418"/>
                    </a:lnTo>
                    <a:lnTo>
                      <a:pt x="3501" y="1415"/>
                    </a:lnTo>
                    <a:lnTo>
                      <a:pt x="3515" y="1412"/>
                    </a:lnTo>
                    <a:lnTo>
                      <a:pt x="3529" y="1412"/>
                    </a:lnTo>
                    <a:lnTo>
                      <a:pt x="3538" y="1409"/>
                    </a:lnTo>
                    <a:lnTo>
                      <a:pt x="3547" y="1409"/>
                    </a:lnTo>
                    <a:lnTo>
                      <a:pt x="3565" y="1404"/>
                    </a:lnTo>
                    <a:lnTo>
                      <a:pt x="3583" y="1398"/>
                    </a:lnTo>
                    <a:lnTo>
                      <a:pt x="3602" y="1398"/>
                    </a:lnTo>
                    <a:lnTo>
                      <a:pt x="3620" y="1392"/>
                    </a:lnTo>
                    <a:lnTo>
                      <a:pt x="3634" y="1389"/>
                    </a:lnTo>
                    <a:lnTo>
                      <a:pt x="3652" y="1387"/>
                    </a:lnTo>
                    <a:lnTo>
                      <a:pt x="3666" y="1387"/>
                    </a:lnTo>
                    <a:lnTo>
                      <a:pt x="3679" y="1381"/>
                    </a:lnTo>
                    <a:lnTo>
                      <a:pt x="3689" y="1378"/>
                    </a:lnTo>
                    <a:lnTo>
                      <a:pt x="3698" y="1375"/>
                    </a:lnTo>
                    <a:lnTo>
                      <a:pt x="3707" y="1372"/>
                    </a:lnTo>
                    <a:lnTo>
                      <a:pt x="3711" y="1372"/>
                    </a:lnTo>
                    <a:lnTo>
                      <a:pt x="3725" y="1372"/>
                    </a:lnTo>
                    <a:lnTo>
                      <a:pt x="3730" y="1372"/>
                    </a:lnTo>
                    <a:lnTo>
                      <a:pt x="3538" y="0"/>
                    </a:lnTo>
                    <a:lnTo>
                      <a:pt x="3341" y="11"/>
                    </a:lnTo>
                    <a:lnTo>
                      <a:pt x="3442" y="1281"/>
                    </a:lnTo>
                    <a:lnTo>
                      <a:pt x="3433" y="1281"/>
                    </a:lnTo>
                    <a:lnTo>
                      <a:pt x="3423" y="1281"/>
                    </a:lnTo>
                    <a:lnTo>
                      <a:pt x="3410" y="1281"/>
                    </a:lnTo>
                    <a:lnTo>
                      <a:pt x="3401" y="1281"/>
                    </a:lnTo>
                    <a:lnTo>
                      <a:pt x="3391" y="1284"/>
                    </a:lnTo>
                    <a:lnTo>
                      <a:pt x="3378" y="1284"/>
                    </a:lnTo>
                    <a:lnTo>
                      <a:pt x="3369" y="1287"/>
                    </a:lnTo>
                    <a:lnTo>
                      <a:pt x="3359" y="1287"/>
                    </a:lnTo>
                    <a:lnTo>
                      <a:pt x="3346" y="1290"/>
                    </a:lnTo>
                    <a:lnTo>
                      <a:pt x="3332" y="1293"/>
                    </a:lnTo>
                    <a:lnTo>
                      <a:pt x="3323" y="1293"/>
                    </a:lnTo>
                    <a:lnTo>
                      <a:pt x="3305" y="1295"/>
                    </a:lnTo>
                    <a:lnTo>
                      <a:pt x="3291" y="1295"/>
                    </a:lnTo>
                    <a:lnTo>
                      <a:pt x="3273" y="1298"/>
                    </a:lnTo>
                    <a:lnTo>
                      <a:pt x="3254" y="1301"/>
                    </a:lnTo>
                    <a:lnTo>
                      <a:pt x="3236" y="1301"/>
                    </a:lnTo>
                    <a:lnTo>
                      <a:pt x="3218" y="1304"/>
                    </a:lnTo>
                    <a:lnTo>
                      <a:pt x="3200" y="1307"/>
                    </a:lnTo>
                    <a:lnTo>
                      <a:pt x="3181" y="1310"/>
                    </a:lnTo>
                    <a:lnTo>
                      <a:pt x="3163" y="1310"/>
                    </a:lnTo>
                    <a:lnTo>
                      <a:pt x="3140" y="1312"/>
                    </a:lnTo>
                    <a:lnTo>
                      <a:pt x="3117" y="1315"/>
                    </a:lnTo>
                    <a:lnTo>
                      <a:pt x="3099" y="1318"/>
                    </a:lnTo>
                    <a:lnTo>
                      <a:pt x="3072" y="1321"/>
                    </a:lnTo>
                    <a:lnTo>
                      <a:pt x="3049" y="1324"/>
                    </a:lnTo>
                    <a:lnTo>
                      <a:pt x="3026" y="1327"/>
                    </a:lnTo>
                    <a:lnTo>
                      <a:pt x="3003" y="1330"/>
                    </a:lnTo>
                    <a:lnTo>
                      <a:pt x="2980" y="1332"/>
                    </a:lnTo>
                    <a:lnTo>
                      <a:pt x="2953" y="1332"/>
                    </a:lnTo>
                    <a:lnTo>
                      <a:pt x="2925" y="1335"/>
                    </a:lnTo>
                    <a:lnTo>
                      <a:pt x="2898" y="1338"/>
                    </a:lnTo>
                    <a:lnTo>
                      <a:pt x="2875" y="1341"/>
                    </a:lnTo>
                    <a:lnTo>
                      <a:pt x="2848" y="1344"/>
                    </a:lnTo>
                    <a:lnTo>
                      <a:pt x="2820" y="1347"/>
                    </a:lnTo>
                    <a:lnTo>
                      <a:pt x="2793" y="1350"/>
                    </a:lnTo>
                    <a:lnTo>
                      <a:pt x="2765" y="1350"/>
                    </a:lnTo>
                    <a:lnTo>
                      <a:pt x="2733" y="1352"/>
                    </a:lnTo>
                    <a:lnTo>
                      <a:pt x="2706" y="1355"/>
                    </a:lnTo>
                    <a:lnTo>
                      <a:pt x="2679" y="1361"/>
                    </a:lnTo>
                    <a:lnTo>
                      <a:pt x="2651" y="1361"/>
                    </a:lnTo>
                    <a:lnTo>
                      <a:pt x="2619" y="1364"/>
                    </a:lnTo>
                    <a:lnTo>
                      <a:pt x="2587" y="1367"/>
                    </a:lnTo>
                    <a:lnTo>
                      <a:pt x="2560" y="1369"/>
                    </a:lnTo>
                    <a:lnTo>
                      <a:pt x="2528" y="1372"/>
                    </a:lnTo>
                    <a:lnTo>
                      <a:pt x="2500" y="1372"/>
                    </a:lnTo>
                    <a:lnTo>
                      <a:pt x="2468" y="1375"/>
                    </a:lnTo>
                    <a:lnTo>
                      <a:pt x="2436" y="1378"/>
                    </a:lnTo>
                    <a:lnTo>
                      <a:pt x="2404" y="1378"/>
                    </a:lnTo>
                    <a:lnTo>
                      <a:pt x="2377" y="1381"/>
                    </a:lnTo>
                    <a:lnTo>
                      <a:pt x="2345" y="1384"/>
                    </a:lnTo>
                    <a:lnTo>
                      <a:pt x="2313" y="1387"/>
                    </a:lnTo>
                    <a:lnTo>
                      <a:pt x="2281" y="1387"/>
                    </a:lnTo>
                    <a:lnTo>
                      <a:pt x="2254" y="1389"/>
                    </a:lnTo>
                    <a:lnTo>
                      <a:pt x="2217" y="1392"/>
                    </a:lnTo>
                    <a:lnTo>
                      <a:pt x="2190" y="1392"/>
                    </a:lnTo>
                    <a:lnTo>
                      <a:pt x="2153" y="1395"/>
                    </a:lnTo>
                    <a:lnTo>
                      <a:pt x="2126" y="1398"/>
                    </a:lnTo>
                    <a:lnTo>
                      <a:pt x="2094" y="1398"/>
                    </a:lnTo>
                    <a:lnTo>
                      <a:pt x="2066" y="1398"/>
                    </a:lnTo>
                    <a:lnTo>
                      <a:pt x="2034" y="1398"/>
                    </a:lnTo>
                    <a:lnTo>
                      <a:pt x="1998" y="1398"/>
                    </a:lnTo>
                    <a:lnTo>
                      <a:pt x="1966" y="1398"/>
                    </a:lnTo>
                    <a:lnTo>
                      <a:pt x="1929" y="1401"/>
                    </a:lnTo>
                    <a:lnTo>
                      <a:pt x="1897" y="1401"/>
                    </a:lnTo>
                    <a:lnTo>
                      <a:pt x="1860" y="1401"/>
                    </a:lnTo>
                    <a:lnTo>
                      <a:pt x="1829" y="1401"/>
                    </a:lnTo>
                    <a:lnTo>
                      <a:pt x="1792" y="1401"/>
                    </a:lnTo>
                    <a:lnTo>
                      <a:pt x="1755" y="1398"/>
                    </a:lnTo>
                    <a:lnTo>
                      <a:pt x="1723" y="1398"/>
                    </a:lnTo>
                    <a:lnTo>
                      <a:pt x="1682" y="1398"/>
                    </a:lnTo>
                    <a:lnTo>
                      <a:pt x="1646" y="1398"/>
                    </a:lnTo>
                    <a:lnTo>
                      <a:pt x="1609" y="1398"/>
                    </a:lnTo>
                    <a:lnTo>
                      <a:pt x="1573" y="1395"/>
                    </a:lnTo>
                    <a:lnTo>
                      <a:pt x="1536" y="1392"/>
                    </a:lnTo>
                    <a:lnTo>
                      <a:pt x="1499" y="1392"/>
                    </a:lnTo>
                    <a:lnTo>
                      <a:pt x="1458" y="1389"/>
                    </a:lnTo>
                    <a:lnTo>
                      <a:pt x="1422" y="1387"/>
                    </a:lnTo>
                    <a:lnTo>
                      <a:pt x="1385" y="1387"/>
                    </a:lnTo>
                    <a:lnTo>
                      <a:pt x="1344" y="1381"/>
                    </a:lnTo>
                    <a:lnTo>
                      <a:pt x="1308" y="1378"/>
                    </a:lnTo>
                    <a:lnTo>
                      <a:pt x="1271" y="1378"/>
                    </a:lnTo>
                    <a:lnTo>
                      <a:pt x="1234" y="1375"/>
                    </a:lnTo>
                    <a:lnTo>
                      <a:pt x="1198" y="1372"/>
                    </a:lnTo>
                    <a:lnTo>
                      <a:pt x="1161" y="1369"/>
                    </a:lnTo>
                    <a:lnTo>
                      <a:pt x="1125" y="1367"/>
                    </a:lnTo>
                    <a:lnTo>
                      <a:pt x="1088" y="1364"/>
                    </a:lnTo>
                    <a:lnTo>
                      <a:pt x="1052" y="1361"/>
                    </a:lnTo>
                    <a:lnTo>
                      <a:pt x="1020" y="1358"/>
                    </a:lnTo>
                    <a:lnTo>
                      <a:pt x="983" y="1355"/>
                    </a:lnTo>
                    <a:lnTo>
                      <a:pt x="946" y="1352"/>
                    </a:lnTo>
                    <a:lnTo>
                      <a:pt x="914" y="1350"/>
                    </a:lnTo>
                    <a:lnTo>
                      <a:pt x="878" y="1347"/>
                    </a:lnTo>
                    <a:lnTo>
                      <a:pt x="846" y="1344"/>
                    </a:lnTo>
                    <a:lnTo>
                      <a:pt x="809" y="1338"/>
                    </a:lnTo>
                    <a:lnTo>
                      <a:pt x="777" y="1335"/>
                    </a:lnTo>
                    <a:lnTo>
                      <a:pt x="745" y="1332"/>
                    </a:lnTo>
                    <a:lnTo>
                      <a:pt x="718" y="1330"/>
                    </a:lnTo>
                    <a:lnTo>
                      <a:pt x="686" y="1327"/>
                    </a:lnTo>
                    <a:lnTo>
                      <a:pt x="659" y="1324"/>
                    </a:lnTo>
                    <a:lnTo>
                      <a:pt x="627" y="1321"/>
                    </a:lnTo>
                    <a:lnTo>
                      <a:pt x="599" y="1315"/>
                    </a:lnTo>
                    <a:lnTo>
                      <a:pt x="576" y="1312"/>
                    </a:lnTo>
                    <a:lnTo>
                      <a:pt x="549" y="1310"/>
                    </a:lnTo>
                    <a:lnTo>
                      <a:pt x="521" y="1307"/>
                    </a:lnTo>
                    <a:lnTo>
                      <a:pt x="499" y="1304"/>
                    </a:lnTo>
                    <a:lnTo>
                      <a:pt x="476" y="1304"/>
                    </a:lnTo>
                    <a:lnTo>
                      <a:pt x="453" y="1301"/>
                    </a:lnTo>
                    <a:lnTo>
                      <a:pt x="430" y="1298"/>
                    </a:lnTo>
                    <a:lnTo>
                      <a:pt x="412" y="1295"/>
                    </a:lnTo>
                    <a:lnTo>
                      <a:pt x="393" y="1293"/>
                    </a:lnTo>
                    <a:lnTo>
                      <a:pt x="380" y="1293"/>
                    </a:lnTo>
                    <a:lnTo>
                      <a:pt x="361" y="1290"/>
                    </a:lnTo>
                    <a:lnTo>
                      <a:pt x="343" y="1287"/>
                    </a:lnTo>
                    <a:lnTo>
                      <a:pt x="330" y="1284"/>
                    </a:lnTo>
                    <a:lnTo>
                      <a:pt x="320" y="1284"/>
                    </a:lnTo>
                    <a:lnTo>
                      <a:pt x="307" y="1281"/>
                    </a:lnTo>
                    <a:lnTo>
                      <a:pt x="298" y="1281"/>
                    </a:lnTo>
                    <a:lnTo>
                      <a:pt x="288" y="1281"/>
                    </a:lnTo>
                    <a:lnTo>
                      <a:pt x="279" y="1281"/>
                    </a:lnTo>
                    <a:lnTo>
                      <a:pt x="275" y="1281"/>
                    </a:lnTo>
                    <a:lnTo>
                      <a:pt x="270" y="1281"/>
                    </a:lnTo>
                    <a:lnTo>
                      <a:pt x="311" y="91"/>
                    </a:lnTo>
                    <a:lnTo>
                      <a:pt x="133" y="85"/>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95" name="Freeform 149"/>
              <p:cNvSpPr>
                <a:spLocks/>
              </p:cNvSpPr>
              <p:nvPr>
                <p:custDataLst>
                  <p:tags r:id="rId59"/>
                </p:custDataLst>
              </p:nvPr>
            </p:nvSpPr>
            <p:spPr bwMode="gray">
              <a:xfrm>
                <a:off x="2572" y="1972"/>
                <a:ext cx="800" cy="748"/>
              </a:xfrm>
              <a:custGeom>
                <a:avLst/>
                <a:gdLst>
                  <a:gd name="T0" fmla="*/ 0 w 781"/>
                  <a:gd name="T1" fmla="*/ 266 h 820"/>
                  <a:gd name="T2" fmla="*/ 0 w 781"/>
                  <a:gd name="T3" fmla="*/ 258 h 820"/>
                  <a:gd name="T4" fmla="*/ 5 w 781"/>
                  <a:gd name="T5" fmla="*/ 248 h 820"/>
                  <a:gd name="T6" fmla="*/ 5 w 781"/>
                  <a:gd name="T7" fmla="*/ 236 h 820"/>
                  <a:gd name="T8" fmla="*/ 5 w 781"/>
                  <a:gd name="T9" fmla="*/ 224 h 820"/>
                  <a:gd name="T10" fmla="*/ 5 w 781"/>
                  <a:gd name="T11" fmla="*/ 213 h 820"/>
                  <a:gd name="T12" fmla="*/ 5 w 781"/>
                  <a:gd name="T13" fmla="*/ 198 h 820"/>
                  <a:gd name="T14" fmla="*/ 9 w 781"/>
                  <a:gd name="T15" fmla="*/ 184 h 820"/>
                  <a:gd name="T16" fmla="*/ 9 w 781"/>
                  <a:gd name="T17" fmla="*/ 169 h 820"/>
                  <a:gd name="T18" fmla="*/ 9 w 781"/>
                  <a:gd name="T19" fmla="*/ 154 h 820"/>
                  <a:gd name="T20" fmla="*/ 18 w 781"/>
                  <a:gd name="T21" fmla="*/ 139 h 820"/>
                  <a:gd name="T22" fmla="*/ 18 w 781"/>
                  <a:gd name="T23" fmla="*/ 123 h 820"/>
                  <a:gd name="T24" fmla="*/ 44 w 781"/>
                  <a:gd name="T25" fmla="*/ 109 h 820"/>
                  <a:gd name="T26" fmla="*/ 49 w 781"/>
                  <a:gd name="T27" fmla="*/ 95 h 820"/>
                  <a:gd name="T28" fmla="*/ 62 w 781"/>
                  <a:gd name="T29" fmla="*/ 81 h 820"/>
                  <a:gd name="T30" fmla="*/ 88 w 781"/>
                  <a:gd name="T31" fmla="*/ 68 h 820"/>
                  <a:gd name="T32" fmla="*/ 97 w 781"/>
                  <a:gd name="T33" fmla="*/ 57 h 820"/>
                  <a:gd name="T34" fmla="*/ 121 w 781"/>
                  <a:gd name="T35" fmla="*/ 46 h 820"/>
                  <a:gd name="T36" fmla="*/ 152 w 781"/>
                  <a:gd name="T37" fmla="*/ 36 h 820"/>
                  <a:gd name="T38" fmla="*/ 182 w 781"/>
                  <a:gd name="T39" fmla="*/ 27 h 820"/>
                  <a:gd name="T40" fmla="*/ 220 w 781"/>
                  <a:gd name="T41" fmla="*/ 20 h 820"/>
                  <a:gd name="T42" fmla="*/ 273 w 781"/>
                  <a:gd name="T43" fmla="*/ 14 h 820"/>
                  <a:gd name="T44" fmla="*/ 353 w 781"/>
                  <a:gd name="T45" fmla="*/ 5 h 820"/>
                  <a:gd name="T46" fmla="*/ 389 w 781"/>
                  <a:gd name="T47" fmla="*/ 5 h 820"/>
                  <a:gd name="T48" fmla="*/ 432 w 781"/>
                  <a:gd name="T49" fmla="*/ 5 h 820"/>
                  <a:gd name="T50" fmla="*/ 489 w 781"/>
                  <a:gd name="T51" fmla="*/ 0 h 820"/>
                  <a:gd name="T52" fmla="*/ 543 w 781"/>
                  <a:gd name="T53" fmla="*/ 3 h 820"/>
                  <a:gd name="T54" fmla="*/ 591 w 781"/>
                  <a:gd name="T55" fmla="*/ 5 h 820"/>
                  <a:gd name="T56" fmla="*/ 671 w 781"/>
                  <a:gd name="T57" fmla="*/ 6 h 820"/>
                  <a:gd name="T58" fmla="*/ 738 w 781"/>
                  <a:gd name="T59" fmla="*/ 13 h 820"/>
                  <a:gd name="T60" fmla="*/ 805 w 781"/>
                  <a:gd name="T61" fmla="*/ 20 h 820"/>
                  <a:gd name="T62" fmla="*/ 873 w 781"/>
                  <a:gd name="T63" fmla="*/ 28 h 820"/>
                  <a:gd name="T64" fmla="*/ 920 w 781"/>
                  <a:gd name="T65" fmla="*/ 39 h 820"/>
                  <a:gd name="T66" fmla="*/ 958 w 781"/>
                  <a:gd name="T67" fmla="*/ 52 h 820"/>
                  <a:gd name="T68" fmla="*/ 977 w 781"/>
                  <a:gd name="T69" fmla="*/ 58 h 820"/>
                  <a:gd name="T70" fmla="*/ 986 w 781"/>
                  <a:gd name="T71" fmla="*/ 67 h 820"/>
                  <a:gd name="T72" fmla="*/ 993 w 781"/>
                  <a:gd name="T73" fmla="*/ 75 h 820"/>
                  <a:gd name="T74" fmla="*/ 1006 w 781"/>
                  <a:gd name="T75" fmla="*/ 84 h 820"/>
                  <a:gd name="T76" fmla="*/ 1011 w 781"/>
                  <a:gd name="T77" fmla="*/ 98 h 820"/>
                  <a:gd name="T78" fmla="*/ 1017 w 781"/>
                  <a:gd name="T79" fmla="*/ 109 h 820"/>
                  <a:gd name="T80" fmla="*/ 1026 w 781"/>
                  <a:gd name="T81" fmla="*/ 120 h 820"/>
                  <a:gd name="T82" fmla="*/ 1030 w 781"/>
                  <a:gd name="T83" fmla="*/ 134 h 820"/>
                  <a:gd name="T84" fmla="*/ 1036 w 781"/>
                  <a:gd name="T85" fmla="*/ 147 h 820"/>
                  <a:gd name="T86" fmla="*/ 1036 w 781"/>
                  <a:gd name="T87" fmla="*/ 161 h 820"/>
                  <a:gd name="T88" fmla="*/ 1041 w 781"/>
                  <a:gd name="T89" fmla="*/ 174 h 820"/>
                  <a:gd name="T90" fmla="*/ 1041 w 781"/>
                  <a:gd name="T91" fmla="*/ 186 h 820"/>
                  <a:gd name="T92" fmla="*/ 1041 w 781"/>
                  <a:gd name="T93" fmla="*/ 200 h 820"/>
                  <a:gd name="T94" fmla="*/ 1041 w 781"/>
                  <a:gd name="T95" fmla="*/ 212 h 820"/>
                  <a:gd name="T96" fmla="*/ 1041 w 781"/>
                  <a:gd name="T97" fmla="*/ 221 h 820"/>
                  <a:gd name="T98" fmla="*/ 1041 w 781"/>
                  <a:gd name="T99" fmla="*/ 233 h 820"/>
                  <a:gd name="T100" fmla="*/ 1041 w 781"/>
                  <a:gd name="T101" fmla="*/ 241 h 820"/>
                  <a:gd name="T102" fmla="*/ 1041 w 781"/>
                  <a:gd name="T103" fmla="*/ 248 h 820"/>
                  <a:gd name="T104" fmla="*/ 1041 w 781"/>
                  <a:gd name="T105" fmla="*/ 255 h 820"/>
                  <a:gd name="T106" fmla="*/ 1041 w 781"/>
                  <a:gd name="T107" fmla="*/ 262 h 820"/>
                  <a:gd name="T108" fmla="*/ 0 w 781"/>
                  <a:gd name="T109" fmla="*/ 272 h 8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1"/>
                  <a:gd name="T166" fmla="*/ 0 h 820"/>
                  <a:gd name="T167" fmla="*/ 781 w 781"/>
                  <a:gd name="T168" fmla="*/ 820 h 8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1" h="820">
                    <a:moveTo>
                      <a:pt x="0" y="820"/>
                    </a:moveTo>
                    <a:lnTo>
                      <a:pt x="0" y="812"/>
                    </a:lnTo>
                    <a:lnTo>
                      <a:pt x="0" y="806"/>
                    </a:lnTo>
                    <a:lnTo>
                      <a:pt x="0" y="797"/>
                    </a:lnTo>
                    <a:lnTo>
                      <a:pt x="0" y="786"/>
                    </a:lnTo>
                    <a:lnTo>
                      <a:pt x="0" y="777"/>
                    </a:lnTo>
                    <a:lnTo>
                      <a:pt x="0" y="766"/>
                    </a:lnTo>
                    <a:lnTo>
                      <a:pt x="0" y="757"/>
                    </a:lnTo>
                    <a:lnTo>
                      <a:pt x="5" y="749"/>
                    </a:lnTo>
                    <a:lnTo>
                      <a:pt x="5" y="738"/>
                    </a:lnTo>
                    <a:lnTo>
                      <a:pt x="5" y="726"/>
                    </a:lnTo>
                    <a:lnTo>
                      <a:pt x="5" y="712"/>
                    </a:lnTo>
                    <a:lnTo>
                      <a:pt x="5" y="700"/>
                    </a:lnTo>
                    <a:lnTo>
                      <a:pt x="5" y="689"/>
                    </a:lnTo>
                    <a:lnTo>
                      <a:pt x="5" y="675"/>
                    </a:lnTo>
                    <a:lnTo>
                      <a:pt x="5" y="663"/>
                    </a:lnTo>
                    <a:lnTo>
                      <a:pt x="5" y="649"/>
                    </a:lnTo>
                    <a:lnTo>
                      <a:pt x="5" y="638"/>
                    </a:lnTo>
                    <a:lnTo>
                      <a:pt x="5" y="624"/>
                    </a:lnTo>
                    <a:lnTo>
                      <a:pt x="5" y="609"/>
                    </a:lnTo>
                    <a:lnTo>
                      <a:pt x="5" y="595"/>
                    </a:lnTo>
                    <a:lnTo>
                      <a:pt x="5" y="578"/>
                    </a:lnTo>
                    <a:lnTo>
                      <a:pt x="9" y="564"/>
                    </a:lnTo>
                    <a:lnTo>
                      <a:pt x="9" y="552"/>
                    </a:lnTo>
                    <a:lnTo>
                      <a:pt x="9" y="538"/>
                    </a:lnTo>
                    <a:lnTo>
                      <a:pt x="9" y="521"/>
                    </a:lnTo>
                    <a:lnTo>
                      <a:pt x="9" y="510"/>
                    </a:lnTo>
                    <a:lnTo>
                      <a:pt x="9" y="493"/>
                    </a:lnTo>
                    <a:lnTo>
                      <a:pt x="9" y="478"/>
                    </a:lnTo>
                    <a:lnTo>
                      <a:pt x="9" y="464"/>
                    </a:lnTo>
                    <a:lnTo>
                      <a:pt x="14" y="450"/>
                    </a:lnTo>
                    <a:lnTo>
                      <a:pt x="14" y="433"/>
                    </a:lnTo>
                    <a:lnTo>
                      <a:pt x="18" y="419"/>
                    </a:lnTo>
                    <a:lnTo>
                      <a:pt x="18" y="404"/>
                    </a:lnTo>
                    <a:lnTo>
                      <a:pt x="18" y="387"/>
                    </a:lnTo>
                    <a:lnTo>
                      <a:pt x="18" y="373"/>
                    </a:lnTo>
                    <a:lnTo>
                      <a:pt x="23" y="359"/>
                    </a:lnTo>
                    <a:lnTo>
                      <a:pt x="27" y="345"/>
                    </a:lnTo>
                    <a:lnTo>
                      <a:pt x="32" y="330"/>
                    </a:lnTo>
                    <a:lnTo>
                      <a:pt x="32" y="316"/>
                    </a:lnTo>
                    <a:lnTo>
                      <a:pt x="37" y="302"/>
                    </a:lnTo>
                    <a:lnTo>
                      <a:pt x="37" y="285"/>
                    </a:lnTo>
                    <a:lnTo>
                      <a:pt x="46" y="273"/>
                    </a:lnTo>
                    <a:lnTo>
                      <a:pt x="46" y="259"/>
                    </a:lnTo>
                    <a:lnTo>
                      <a:pt x="50" y="245"/>
                    </a:lnTo>
                    <a:lnTo>
                      <a:pt x="55" y="231"/>
                    </a:lnTo>
                    <a:lnTo>
                      <a:pt x="55" y="219"/>
                    </a:lnTo>
                    <a:lnTo>
                      <a:pt x="64" y="208"/>
                    </a:lnTo>
                    <a:lnTo>
                      <a:pt x="69" y="196"/>
                    </a:lnTo>
                    <a:lnTo>
                      <a:pt x="73" y="182"/>
                    </a:lnTo>
                    <a:lnTo>
                      <a:pt x="73" y="171"/>
                    </a:lnTo>
                    <a:lnTo>
                      <a:pt x="82" y="159"/>
                    </a:lnTo>
                    <a:lnTo>
                      <a:pt x="87" y="148"/>
                    </a:lnTo>
                    <a:lnTo>
                      <a:pt x="91" y="137"/>
                    </a:lnTo>
                    <a:lnTo>
                      <a:pt x="96" y="125"/>
                    </a:lnTo>
                    <a:lnTo>
                      <a:pt x="110" y="117"/>
                    </a:lnTo>
                    <a:lnTo>
                      <a:pt x="114" y="108"/>
                    </a:lnTo>
                    <a:lnTo>
                      <a:pt x="123" y="97"/>
                    </a:lnTo>
                    <a:lnTo>
                      <a:pt x="128" y="91"/>
                    </a:lnTo>
                    <a:lnTo>
                      <a:pt x="137" y="83"/>
                    </a:lnTo>
                    <a:lnTo>
                      <a:pt x="146" y="74"/>
                    </a:lnTo>
                    <a:lnTo>
                      <a:pt x="155" y="68"/>
                    </a:lnTo>
                    <a:lnTo>
                      <a:pt x="165" y="60"/>
                    </a:lnTo>
                    <a:lnTo>
                      <a:pt x="174" y="54"/>
                    </a:lnTo>
                    <a:lnTo>
                      <a:pt x="187" y="48"/>
                    </a:lnTo>
                    <a:lnTo>
                      <a:pt x="206" y="40"/>
                    </a:lnTo>
                    <a:lnTo>
                      <a:pt x="224" y="31"/>
                    </a:lnTo>
                    <a:lnTo>
                      <a:pt x="242" y="23"/>
                    </a:lnTo>
                    <a:lnTo>
                      <a:pt x="265" y="17"/>
                    </a:lnTo>
                    <a:lnTo>
                      <a:pt x="274" y="14"/>
                    </a:lnTo>
                    <a:lnTo>
                      <a:pt x="283" y="11"/>
                    </a:lnTo>
                    <a:lnTo>
                      <a:pt x="292" y="9"/>
                    </a:lnTo>
                    <a:lnTo>
                      <a:pt x="306" y="6"/>
                    </a:lnTo>
                    <a:lnTo>
                      <a:pt x="311" y="6"/>
                    </a:lnTo>
                    <a:lnTo>
                      <a:pt x="324" y="6"/>
                    </a:lnTo>
                    <a:lnTo>
                      <a:pt x="334" y="3"/>
                    </a:lnTo>
                    <a:lnTo>
                      <a:pt x="347" y="3"/>
                    </a:lnTo>
                    <a:lnTo>
                      <a:pt x="366" y="0"/>
                    </a:lnTo>
                    <a:lnTo>
                      <a:pt x="384" y="3"/>
                    </a:lnTo>
                    <a:lnTo>
                      <a:pt x="398" y="3"/>
                    </a:lnTo>
                    <a:lnTo>
                      <a:pt x="407" y="3"/>
                    </a:lnTo>
                    <a:lnTo>
                      <a:pt x="416" y="3"/>
                    </a:lnTo>
                    <a:lnTo>
                      <a:pt x="425" y="6"/>
                    </a:lnTo>
                    <a:lnTo>
                      <a:pt x="443" y="6"/>
                    </a:lnTo>
                    <a:lnTo>
                      <a:pt x="466" y="9"/>
                    </a:lnTo>
                    <a:lnTo>
                      <a:pt x="484" y="14"/>
                    </a:lnTo>
                    <a:lnTo>
                      <a:pt x="503" y="20"/>
                    </a:lnTo>
                    <a:lnTo>
                      <a:pt x="521" y="23"/>
                    </a:lnTo>
                    <a:lnTo>
                      <a:pt x="539" y="28"/>
                    </a:lnTo>
                    <a:lnTo>
                      <a:pt x="553" y="37"/>
                    </a:lnTo>
                    <a:lnTo>
                      <a:pt x="576" y="43"/>
                    </a:lnTo>
                    <a:lnTo>
                      <a:pt x="590" y="48"/>
                    </a:lnTo>
                    <a:lnTo>
                      <a:pt x="603" y="60"/>
                    </a:lnTo>
                    <a:lnTo>
                      <a:pt x="622" y="68"/>
                    </a:lnTo>
                    <a:lnTo>
                      <a:pt x="635" y="77"/>
                    </a:lnTo>
                    <a:lnTo>
                      <a:pt x="654" y="85"/>
                    </a:lnTo>
                    <a:lnTo>
                      <a:pt x="663" y="97"/>
                    </a:lnTo>
                    <a:lnTo>
                      <a:pt x="672" y="108"/>
                    </a:lnTo>
                    <a:lnTo>
                      <a:pt x="690" y="120"/>
                    </a:lnTo>
                    <a:lnTo>
                      <a:pt x="699" y="131"/>
                    </a:lnTo>
                    <a:lnTo>
                      <a:pt x="708" y="142"/>
                    </a:lnTo>
                    <a:lnTo>
                      <a:pt x="718" y="154"/>
                    </a:lnTo>
                    <a:lnTo>
                      <a:pt x="727" y="165"/>
                    </a:lnTo>
                    <a:lnTo>
                      <a:pt x="727" y="171"/>
                    </a:lnTo>
                    <a:lnTo>
                      <a:pt x="731" y="177"/>
                    </a:lnTo>
                    <a:lnTo>
                      <a:pt x="736" y="185"/>
                    </a:lnTo>
                    <a:lnTo>
                      <a:pt x="736" y="194"/>
                    </a:lnTo>
                    <a:lnTo>
                      <a:pt x="740" y="199"/>
                    </a:lnTo>
                    <a:lnTo>
                      <a:pt x="745" y="208"/>
                    </a:lnTo>
                    <a:lnTo>
                      <a:pt x="745" y="216"/>
                    </a:lnTo>
                    <a:lnTo>
                      <a:pt x="745" y="228"/>
                    </a:lnTo>
                    <a:lnTo>
                      <a:pt x="745" y="236"/>
                    </a:lnTo>
                    <a:lnTo>
                      <a:pt x="754" y="245"/>
                    </a:lnTo>
                    <a:lnTo>
                      <a:pt x="754" y="256"/>
                    </a:lnTo>
                    <a:lnTo>
                      <a:pt x="754" y="268"/>
                    </a:lnTo>
                    <a:lnTo>
                      <a:pt x="759" y="279"/>
                    </a:lnTo>
                    <a:lnTo>
                      <a:pt x="759" y="290"/>
                    </a:lnTo>
                    <a:lnTo>
                      <a:pt x="759" y="302"/>
                    </a:lnTo>
                    <a:lnTo>
                      <a:pt x="763" y="313"/>
                    </a:lnTo>
                    <a:lnTo>
                      <a:pt x="763" y="327"/>
                    </a:lnTo>
                    <a:lnTo>
                      <a:pt x="763" y="336"/>
                    </a:lnTo>
                    <a:lnTo>
                      <a:pt x="763" y="347"/>
                    </a:lnTo>
                    <a:lnTo>
                      <a:pt x="768" y="362"/>
                    </a:lnTo>
                    <a:lnTo>
                      <a:pt x="768" y="379"/>
                    </a:lnTo>
                    <a:lnTo>
                      <a:pt x="772" y="390"/>
                    </a:lnTo>
                    <a:lnTo>
                      <a:pt x="772" y="401"/>
                    </a:lnTo>
                    <a:lnTo>
                      <a:pt x="777" y="416"/>
                    </a:lnTo>
                    <a:lnTo>
                      <a:pt x="777" y="430"/>
                    </a:lnTo>
                    <a:lnTo>
                      <a:pt x="777" y="444"/>
                    </a:lnTo>
                    <a:lnTo>
                      <a:pt x="777" y="456"/>
                    </a:lnTo>
                    <a:lnTo>
                      <a:pt x="777" y="470"/>
                    </a:lnTo>
                    <a:lnTo>
                      <a:pt x="777" y="484"/>
                    </a:lnTo>
                    <a:lnTo>
                      <a:pt x="777" y="498"/>
                    </a:lnTo>
                    <a:lnTo>
                      <a:pt x="777" y="510"/>
                    </a:lnTo>
                    <a:lnTo>
                      <a:pt x="781" y="524"/>
                    </a:lnTo>
                    <a:lnTo>
                      <a:pt x="781" y="538"/>
                    </a:lnTo>
                    <a:lnTo>
                      <a:pt x="781" y="552"/>
                    </a:lnTo>
                    <a:lnTo>
                      <a:pt x="781" y="561"/>
                    </a:lnTo>
                    <a:lnTo>
                      <a:pt x="781" y="575"/>
                    </a:lnTo>
                    <a:lnTo>
                      <a:pt x="781" y="587"/>
                    </a:lnTo>
                    <a:lnTo>
                      <a:pt x="781" y="601"/>
                    </a:lnTo>
                    <a:lnTo>
                      <a:pt x="781" y="612"/>
                    </a:lnTo>
                    <a:lnTo>
                      <a:pt x="781" y="626"/>
                    </a:lnTo>
                    <a:lnTo>
                      <a:pt x="781" y="635"/>
                    </a:lnTo>
                    <a:lnTo>
                      <a:pt x="781" y="649"/>
                    </a:lnTo>
                    <a:lnTo>
                      <a:pt x="781" y="658"/>
                    </a:lnTo>
                    <a:lnTo>
                      <a:pt x="781" y="669"/>
                    </a:lnTo>
                    <a:lnTo>
                      <a:pt x="781" y="681"/>
                    </a:lnTo>
                    <a:lnTo>
                      <a:pt x="781" y="692"/>
                    </a:lnTo>
                    <a:lnTo>
                      <a:pt x="781" y="700"/>
                    </a:lnTo>
                    <a:lnTo>
                      <a:pt x="781" y="712"/>
                    </a:lnTo>
                    <a:lnTo>
                      <a:pt x="781" y="720"/>
                    </a:lnTo>
                    <a:lnTo>
                      <a:pt x="781" y="726"/>
                    </a:lnTo>
                    <a:lnTo>
                      <a:pt x="781" y="735"/>
                    </a:lnTo>
                    <a:lnTo>
                      <a:pt x="781" y="743"/>
                    </a:lnTo>
                    <a:lnTo>
                      <a:pt x="781" y="749"/>
                    </a:lnTo>
                    <a:lnTo>
                      <a:pt x="781" y="757"/>
                    </a:lnTo>
                    <a:lnTo>
                      <a:pt x="781" y="763"/>
                    </a:lnTo>
                    <a:lnTo>
                      <a:pt x="781" y="769"/>
                    </a:lnTo>
                    <a:lnTo>
                      <a:pt x="781" y="777"/>
                    </a:lnTo>
                    <a:lnTo>
                      <a:pt x="781" y="786"/>
                    </a:lnTo>
                    <a:lnTo>
                      <a:pt x="781" y="789"/>
                    </a:lnTo>
                    <a:lnTo>
                      <a:pt x="781" y="792"/>
                    </a:lnTo>
                    <a:lnTo>
                      <a:pt x="0" y="82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96" name="Freeform 150"/>
              <p:cNvSpPr>
                <a:spLocks/>
              </p:cNvSpPr>
              <p:nvPr>
                <p:custDataLst>
                  <p:tags r:id="rId60"/>
                </p:custDataLst>
              </p:nvPr>
            </p:nvSpPr>
            <p:spPr bwMode="gray">
              <a:xfrm>
                <a:off x="1134" y="2045"/>
                <a:ext cx="1339" cy="362"/>
              </a:xfrm>
              <a:custGeom>
                <a:avLst/>
                <a:gdLst>
                  <a:gd name="T0" fmla="*/ 62 w 1307"/>
                  <a:gd name="T1" fmla="*/ 5 h 396"/>
                  <a:gd name="T2" fmla="*/ 147 w 1307"/>
                  <a:gd name="T3" fmla="*/ 5 h 396"/>
                  <a:gd name="T4" fmla="*/ 232 w 1307"/>
                  <a:gd name="T5" fmla="*/ 10 h 396"/>
                  <a:gd name="T6" fmla="*/ 318 w 1307"/>
                  <a:gd name="T7" fmla="*/ 14 h 396"/>
                  <a:gd name="T8" fmla="*/ 421 w 1307"/>
                  <a:gd name="T9" fmla="*/ 15 h 396"/>
                  <a:gd name="T10" fmla="*/ 526 w 1307"/>
                  <a:gd name="T11" fmla="*/ 18 h 396"/>
                  <a:gd name="T12" fmla="*/ 630 w 1307"/>
                  <a:gd name="T13" fmla="*/ 22 h 396"/>
                  <a:gd name="T14" fmla="*/ 740 w 1307"/>
                  <a:gd name="T15" fmla="*/ 24 h 396"/>
                  <a:gd name="T16" fmla="*/ 849 w 1307"/>
                  <a:gd name="T17" fmla="*/ 26 h 396"/>
                  <a:gd name="T18" fmla="*/ 953 w 1307"/>
                  <a:gd name="T19" fmla="*/ 26 h 396"/>
                  <a:gd name="T20" fmla="*/ 1061 w 1307"/>
                  <a:gd name="T21" fmla="*/ 28 h 396"/>
                  <a:gd name="T22" fmla="*/ 1167 w 1307"/>
                  <a:gd name="T23" fmla="*/ 28 h 396"/>
                  <a:gd name="T24" fmla="*/ 1265 w 1307"/>
                  <a:gd name="T25" fmla="*/ 28 h 396"/>
                  <a:gd name="T26" fmla="*/ 1356 w 1307"/>
                  <a:gd name="T27" fmla="*/ 31 h 396"/>
                  <a:gd name="T28" fmla="*/ 1442 w 1307"/>
                  <a:gd name="T29" fmla="*/ 32 h 396"/>
                  <a:gd name="T30" fmla="*/ 1514 w 1307"/>
                  <a:gd name="T31" fmla="*/ 32 h 396"/>
                  <a:gd name="T32" fmla="*/ 1583 w 1307"/>
                  <a:gd name="T33" fmla="*/ 32 h 396"/>
                  <a:gd name="T34" fmla="*/ 1643 w 1307"/>
                  <a:gd name="T35" fmla="*/ 32 h 396"/>
                  <a:gd name="T36" fmla="*/ 1694 w 1307"/>
                  <a:gd name="T37" fmla="*/ 34 h 396"/>
                  <a:gd name="T38" fmla="*/ 1742 w 1307"/>
                  <a:gd name="T39" fmla="*/ 34 h 396"/>
                  <a:gd name="T40" fmla="*/ 1723 w 1307"/>
                  <a:gd name="T41" fmla="*/ 134 h 396"/>
                  <a:gd name="T42" fmla="*/ 1680 w 1307"/>
                  <a:gd name="T43" fmla="*/ 134 h 396"/>
                  <a:gd name="T44" fmla="*/ 1637 w 1307"/>
                  <a:gd name="T45" fmla="*/ 134 h 396"/>
                  <a:gd name="T46" fmla="*/ 1583 w 1307"/>
                  <a:gd name="T47" fmla="*/ 134 h 396"/>
                  <a:gd name="T48" fmla="*/ 1514 w 1307"/>
                  <a:gd name="T49" fmla="*/ 134 h 396"/>
                  <a:gd name="T50" fmla="*/ 1435 w 1307"/>
                  <a:gd name="T51" fmla="*/ 134 h 396"/>
                  <a:gd name="T52" fmla="*/ 1394 w 1307"/>
                  <a:gd name="T53" fmla="*/ 134 h 396"/>
                  <a:gd name="T54" fmla="*/ 1351 w 1307"/>
                  <a:gd name="T55" fmla="*/ 134 h 396"/>
                  <a:gd name="T56" fmla="*/ 1296 w 1307"/>
                  <a:gd name="T57" fmla="*/ 133 h 396"/>
                  <a:gd name="T58" fmla="*/ 1246 w 1307"/>
                  <a:gd name="T59" fmla="*/ 133 h 396"/>
                  <a:gd name="T60" fmla="*/ 1190 w 1307"/>
                  <a:gd name="T61" fmla="*/ 133 h 396"/>
                  <a:gd name="T62" fmla="*/ 1130 w 1307"/>
                  <a:gd name="T63" fmla="*/ 133 h 396"/>
                  <a:gd name="T64" fmla="*/ 1075 w 1307"/>
                  <a:gd name="T65" fmla="*/ 133 h 396"/>
                  <a:gd name="T66" fmla="*/ 1015 w 1307"/>
                  <a:gd name="T67" fmla="*/ 131 h 396"/>
                  <a:gd name="T68" fmla="*/ 948 w 1307"/>
                  <a:gd name="T69" fmla="*/ 130 h 396"/>
                  <a:gd name="T70" fmla="*/ 881 w 1307"/>
                  <a:gd name="T71" fmla="*/ 128 h 396"/>
                  <a:gd name="T72" fmla="*/ 813 w 1307"/>
                  <a:gd name="T73" fmla="*/ 126 h 396"/>
                  <a:gd name="T74" fmla="*/ 746 w 1307"/>
                  <a:gd name="T75" fmla="*/ 126 h 396"/>
                  <a:gd name="T76" fmla="*/ 677 w 1307"/>
                  <a:gd name="T77" fmla="*/ 123 h 396"/>
                  <a:gd name="T78" fmla="*/ 611 w 1307"/>
                  <a:gd name="T79" fmla="*/ 122 h 396"/>
                  <a:gd name="T80" fmla="*/ 544 w 1307"/>
                  <a:gd name="T81" fmla="*/ 122 h 396"/>
                  <a:gd name="T82" fmla="*/ 489 w 1307"/>
                  <a:gd name="T83" fmla="*/ 121 h 396"/>
                  <a:gd name="T84" fmla="*/ 421 w 1307"/>
                  <a:gd name="T85" fmla="*/ 120 h 396"/>
                  <a:gd name="T86" fmla="*/ 367 w 1307"/>
                  <a:gd name="T87" fmla="*/ 117 h 396"/>
                  <a:gd name="T88" fmla="*/ 311 w 1307"/>
                  <a:gd name="T89" fmla="*/ 116 h 396"/>
                  <a:gd name="T90" fmla="*/ 257 w 1307"/>
                  <a:gd name="T91" fmla="*/ 115 h 396"/>
                  <a:gd name="T92" fmla="*/ 214 w 1307"/>
                  <a:gd name="T93" fmla="*/ 112 h 396"/>
                  <a:gd name="T94" fmla="*/ 164 w 1307"/>
                  <a:gd name="T95" fmla="*/ 112 h 396"/>
                  <a:gd name="T96" fmla="*/ 107 w 1307"/>
                  <a:gd name="T97" fmla="*/ 112 h 396"/>
                  <a:gd name="T98" fmla="*/ 49 w 1307"/>
                  <a:gd name="T99" fmla="*/ 110 h 396"/>
                  <a:gd name="T100" fmla="*/ 5 w 1307"/>
                  <a:gd name="T101" fmla="*/ 109 h 396"/>
                  <a:gd name="T102" fmla="*/ 18 w 1307"/>
                  <a:gd name="T103" fmla="*/ 0 h 3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7"/>
                  <a:gd name="T157" fmla="*/ 0 h 396"/>
                  <a:gd name="T158" fmla="*/ 1307 w 1307"/>
                  <a:gd name="T159" fmla="*/ 396 h 3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7" h="396">
                    <a:moveTo>
                      <a:pt x="18" y="0"/>
                    </a:moveTo>
                    <a:lnTo>
                      <a:pt x="32" y="3"/>
                    </a:lnTo>
                    <a:lnTo>
                      <a:pt x="50" y="5"/>
                    </a:lnTo>
                    <a:lnTo>
                      <a:pt x="69" y="11"/>
                    </a:lnTo>
                    <a:lnTo>
                      <a:pt x="91" y="14"/>
                    </a:lnTo>
                    <a:lnTo>
                      <a:pt x="110" y="17"/>
                    </a:lnTo>
                    <a:lnTo>
                      <a:pt x="128" y="22"/>
                    </a:lnTo>
                    <a:lnTo>
                      <a:pt x="151" y="25"/>
                    </a:lnTo>
                    <a:lnTo>
                      <a:pt x="174" y="28"/>
                    </a:lnTo>
                    <a:lnTo>
                      <a:pt x="196" y="31"/>
                    </a:lnTo>
                    <a:lnTo>
                      <a:pt x="219" y="34"/>
                    </a:lnTo>
                    <a:lnTo>
                      <a:pt x="238" y="40"/>
                    </a:lnTo>
                    <a:lnTo>
                      <a:pt x="270" y="40"/>
                    </a:lnTo>
                    <a:lnTo>
                      <a:pt x="288" y="42"/>
                    </a:lnTo>
                    <a:lnTo>
                      <a:pt x="315" y="45"/>
                    </a:lnTo>
                    <a:lnTo>
                      <a:pt x="338" y="51"/>
                    </a:lnTo>
                    <a:lnTo>
                      <a:pt x="366" y="51"/>
                    </a:lnTo>
                    <a:lnTo>
                      <a:pt x="393" y="54"/>
                    </a:lnTo>
                    <a:lnTo>
                      <a:pt x="420" y="57"/>
                    </a:lnTo>
                    <a:lnTo>
                      <a:pt x="443" y="60"/>
                    </a:lnTo>
                    <a:lnTo>
                      <a:pt x="471" y="62"/>
                    </a:lnTo>
                    <a:lnTo>
                      <a:pt x="498" y="62"/>
                    </a:lnTo>
                    <a:lnTo>
                      <a:pt x="526" y="65"/>
                    </a:lnTo>
                    <a:lnTo>
                      <a:pt x="553" y="68"/>
                    </a:lnTo>
                    <a:lnTo>
                      <a:pt x="580" y="71"/>
                    </a:lnTo>
                    <a:lnTo>
                      <a:pt x="608" y="71"/>
                    </a:lnTo>
                    <a:lnTo>
                      <a:pt x="635" y="74"/>
                    </a:lnTo>
                    <a:lnTo>
                      <a:pt x="658" y="74"/>
                    </a:lnTo>
                    <a:lnTo>
                      <a:pt x="685" y="74"/>
                    </a:lnTo>
                    <a:lnTo>
                      <a:pt x="713" y="77"/>
                    </a:lnTo>
                    <a:lnTo>
                      <a:pt x="740" y="79"/>
                    </a:lnTo>
                    <a:lnTo>
                      <a:pt x="768" y="79"/>
                    </a:lnTo>
                    <a:lnTo>
                      <a:pt x="795" y="82"/>
                    </a:lnTo>
                    <a:lnTo>
                      <a:pt x="823" y="82"/>
                    </a:lnTo>
                    <a:lnTo>
                      <a:pt x="845" y="85"/>
                    </a:lnTo>
                    <a:lnTo>
                      <a:pt x="873" y="85"/>
                    </a:lnTo>
                    <a:lnTo>
                      <a:pt x="896" y="85"/>
                    </a:lnTo>
                    <a:lnTo>
                      <a:pt x="919" y="85"/>
                    </a:lnTo>
                    <a:lnTo>
                      <a:pt x="946" y="85"/>
                    </a:lnTo>
                    <a:lnTo>
                      <a:pt x="969" y="88"/>
                    </a:lnTo>
                    <a:lnTo>
                      <a:pt x="992" y="91"/>
                    </a:lnTo>
                    <a:lnTo>
                      <a:pt x="1015" y="91"/>
                    </a:lnTo>
                    <a:lnTo>
                      <a:pt x="1037" y="91"/>
                    </a:lnTo>
                    <a:lnTo>
                      <a:pt x="1056" y="91"/>
                    </a:lnTo>
                    <a:lnTo>
                      <a:pt x="1079" y="94"/>
                    </a:lnTo>
                    <a:lnTo>
                      <a:pt x="1097" y="94"/>
                    </a:lnTo>
                    <a:lnTo>
                      <a:pt x="1115" y="94"/>
                    </a:lnTo>
                    <a:lnTo>
                      <a:pt x="1133" y="94"/>
                    </a:lnTo>
                    <a:lnTo>
                      <a:pt x="1156" y="94"/>
                    </a:lnTo>
                    <a:lnTo>
                      <a:pt x="1165" y="94"/>
                    </a:lnTo>
                    <a:lnTo>
                      <a:pt x="1184" y="94"/>
                    </a:lnTo>
                    <a:lnTo>
                      <a:pt x="1202" y="94"/>
                    </a:lnTo>
                    <a:lnTo>
                      <a:pt x="1216" y="94"/>
                    </a:lnTo>
                    <a:lnTo>
                      <a:pt x="1229" y="94"/>
                    </a:lnTo>
                    <a:lnTo>
                      <a:pt x="1243" y="94"/>
                    </a:lnTo>
                    <a:lnTo>
                      <a:pt x="1252" y="94"/>
                    </a:lnTo>
                    <a:lnTo>
                      <a:pt x="1266" y="97"/>
                    </a:lnTo>
                    <a:lnTo>
                      <a:pt x="1280" y="97"/>
                    </a:lnTo>
                    <a:lnTo>
                      <a:pt x="1298" y="97"/>
                    </a:lnTo>
                    <a:lnTo>
                      <a:pt x="1302" y="97"/>
                    </a:lnTo>
                    <a:lnTo>
                      <a:pt x="1307" y="97"/>
                    </a:lnTo>
                    <a:lnTo>
                      <a:pt x="1293" y="396"/>
                    </a:lnTo>
                    <a:lnTo>
                      <a:pt x="1289" y="396"/>
                    </a:lnTo>
                    <a:lnTo>
                      <a:pt x="1284" y="396"/>
                    </a:lnTo>
                    <a:lnTo>
                      <a:pt x="1270" y="396"/>
                    </a:lnTo>
                    <a:lnTo>
                      <a:pt x="1257" y="396"/>
                    </a:lnTo>
                    <a:lnTo>
                      <a:pt x="1248" y="396"/>
                    </a:lnTo>
                    <a:lnTo>
                      <a:pt x="1234" y="396"/>
                    </a:lnTo>
                    <a:lnTo>
                      <a:pt x="1225" y="396"/>
                    </a:lnTo>
                    <a:lnTo>
                      <a:pt x="1216" y="396"/>
                    </a:lnTo>
                    <a:lnTo>
                      <a:pt x="1197" y="396"/>
                    </a:lnTo>
                    <a:lnTo>
                      <a:pt x="1184" y="396"/>
                    </a:lnTo>
                    <a:lnTo>
                      <a:pt x="1165" y="396"/>
                    </a:lnTo>
                    <a:lnTo>
                      <a:pt x="1156" y="396"/>
                    </a:lnTo>
                    <a:lnTo>
                      <a:pt x="1133" y="396"/>
                    </a:lnTo>
                    <a:lnTo>
                      <a:pt x="1115" y="396"/>
                    </a:lnTo>
                    <a:lnTo>
                      <a:pt x="1097" y="396"/>
                    </a:lnTo>
                    <a:lnTo>
                      <a:pt x="1074" y="396"/>
                    </a:lnTo>
                    <a:lnTo>
                      <a:pt x="1065" y="396"/>
                    </a:lnTo>
                    <a:lnTo>
                      <a:pt x="1056" y="396"/>
                    </a:lnTo>
                    <a:lnTo>
                      <a:pt x="1042" y="396"/>
                    </a:lnTo>
                    <a:lnTo>
                      <a:pt x="1033" y="396"/>
                    </a:lnTo>
                    <a:lnTo>
                      <a:pt x="1019" y="396"/>
                    </a:lnTo>
                    <a:lnTo>
                      <a:pt x="1010" y="396"/>
                    </a:lnTo>
                    <a:lnTo>
                      <a:pt x="996" y="396"/>
                    </a:lnTo>
                    <a:lnTo>
                      <a:pt x="987" y="396"/>
                    </a:lnTo>
                    <a:lnTo>
                      <a:pt x="969" y="393"/>
                    </a:lnTo>
                    <a:lnTo>
                      <a:pt x="960" y="393"/>
                    </a:lnTo>
                    <a:lnTo>
                      <a:pt x="946" y="393"/>
                    </a:lnTo>
                    <a:lnTo>
                      <a:pt x="932" y="393"/>
                    </a:lnTo>
                    <a:lnTo>
                      <a:pt x="919" y="390"/>
                    </a:lnTo>
                    <a:lnTo>
                      <a:pt x="905" y="390"/>
                    </a:lnTo>
                    <a:lnTo>
                      <a:pt x="891" y="387"/>
                    </a:lnTo>
                    <a:lnTo>
                      <a:pt x="877" y="387"/>
                    </a:lnTo>
                    <a:lnTo>
                      <a:pt x="864" y="387"/>
                    </a:lnTo>
                    <a:lnTo>
                      <a:pt x="845" y="387"/>
                    </a:lnTo>
                    <a:lnTo>
                      <a:pt x="836" y="387"/>
                    </a:lnTo>
                    <a:lnTo>
                      <a:pt x="823" y="387"/>
                    </a:lnTo>
                    <a:lnTo>
                      <a:pt x="804" y="387"/>
                    </a:lnTo>
                    <a:lnTo>
                      <a:pt x="786" y="387"/>
                    </a:lnTo>
                    <a:lnTo>
                      <a:pt x="772" y="384"/>
                    </a:lnTo>
                    <a:lnTo>
                      <a:pt x="759" y="384"/>
                    </a:lnTo>
                    <a:lnTo>
                      <a:pt x="740" y="381"/>
                    </a:lnTo>
                    <a:lnTo>
                      <a:pt x="722" y="381"/>
                    </a:lnTo>
                    <a:lnTo>
                      <a:pt x="708" y="381"/>
                    </a:lnTo>
                    <a:lnTo>
                      <a:pt x="695" y="378"/>
                    </a:lnTo>
                    <a:lnTo>
                      <a:pt x="676" y="376"/>
                    </a:lnTo>
                    <a:lnTo>
                      <a:pt x="658" y="376"/>
                    </a:lnTo>
                    <a:lnTo>
                      <a:pt x="640" y="376"/>
                    </a:lnTo>
                    <a:lnTo>
                      <a:pt x="622" y="376"/>
                    </a:lnTo>
                    <a:lnTo>
                      <a:pt x="608" y="370"/>
                    </a:lnTo>
                    <a:lnTo>
                      <a:pt x="590" y="370"/>
                    </a:lnTo>
                    <a:lnTo>
                      <a:pt x="571" y="370"/>
                    </a:lnTo>
                    <a:lnTo>
                      <a:pt x="558" y="370"/>
                    </a:lnTo>
                    <a:lnTo>
                      <a:pt x="539" y="367"/>
                    </a:lnTo>
                    <a:lnTo>
                      <a:pt x="526" y="367"/>
                    </a:lnTo>
                    <a:lnTo>
                      <a:pt x="507" y="364"/>
                    </a:lnTo>
                    <a:lnTo>
                      <a:pt x="489" y="364"/>
                    </a:lnTo>
                    <a:lnTo>
                      <a:pt x="475" y="361"/>
                    </a:lnTo>
                    <a:lnTo>
                      <a:pt x="457" y="359"/>
                    </a:lnTo>
                    <a:lnTo>
                      <a:pt x="439" y="359"/>
                    </a:lnTo>
                    <a:lnTo>
                      <a:pt x="425" y="359"/>
                    </a:lnTo>
                    <a:lnTo>
                      <a:pt x="407" y="356"/>
                    </a:lnTo>
                    <a:lnTo>
                      <a:pt x="393" y="356"/>
                    </a:lnTo>
                    <a:lnTo>
                      <a:pt x="379" y="353"/>
                    </a:lnTo>
                    <a:lnTo>
                      <a:pt x="366" y="353"/>
                    </a:lnTo>
                    <a:lnTo>
                      <a:pt x="347" y="353"/>
                    </a:lnTo>
                    <a:lnTo>
                      <a:pt x="334" y="350"/>
                    </a:lnTo>
                    <a:lnTo>
                      <a:pt x="315" y="350"/>
                    </a:lnTo>
                    <a:lnTo>
                      <a:pt x="302" y="347"/>
                    </a:lnTo>
                    <a:lnTo>
                      <a:pt x="288" y="344"/>
                    </a:lnTo>
                    <a:lnTo>
                      <a:pt x="274" y="344"/>
                    </a:lnTo>
                    <a:lnTo>
                      <a:pt x="256" y="341"/>
                    </a:lnTo>
                    <a:lnTo>
                      <a:pt x="247" y="341"/>
                    </a:lnTo>
                    <a:lnTo>
                      <a:pt x="233" y="341"/>
                    </a:lnTo>
                    <a:lnTo>
                      <a:pt x="219" y="339"/>
                    </a:lnTo>
                    <a:lnTo>
                      <a:pt x="201" y="339"/>
                    </a:lnTo>
                    <a:lnTo>
                      <a:pt x="192" y="339"/>
                    </a:lnTo>
                    <a:lnTo>
                      <a:pt x="183" y="336"/>
                    </a:lnTo>
                    <a:lnTo>
                      <a:pt x="169" y="336"/>
                    </a:lnTo>
                    <a:lnTo>
                      <a:pt x="160" y="333"/>
                    </a:lnTo>
                    <a:lnTo>
                      <a:pt x="146" y="333"/>
                    </a:lnTo>
                    <a:lnTo>
                      <a:pt x="133" y="330"/>
                    </a:lnTo>
                    <a:lnTo>
                      <a:pt x="123" y="330"/>
                    </a:lnTo>
                    <a:lnTo>
                      <a:pt x="114" y="327"/>
                    </a:lnTo>
                    <a:lnTo>
                      <a:pt x="101" y="327"/>
                    </a:lnTo>
                    <a:lnTo>
                      <a:pt x="82" y="327"/>
                    </a:lnTo>
                    <a:lnTo>
                      <a:pt x="69" y="324"/>
                    </a:lnTo>
                    <a:lnTo>
                      <a:pt x="50" y="321"/>
                    </a:lnTo>
                    <a:lnTo>
                      <a:pt x="37" y="321"/>
                    </a:lnTo>
                    <a:lnTo>
                      <a:pt x="23" y="319"/>
                    </a:lnTo>
                    <a:lnTo>
                      <a:pt x="18" y="319"/>
                    </a:lnTo>
                    <a:lnTo>
                      <a:pt x="5" y="319"/>
                    </a:lnTo>
                    <a:lnTo>
                      <a:pt x="0" y="319"/>
                    </a:lnTo>
                    <a:lnTo>
                      <a:pt x="1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97" name="Freeform 151"/>
              <p:cNvSpPr>
                <a:spLocks/>
              </p:cNvSpPr>
              <p:nvPr>
                <p:custDataLst>
                  <p:tags r:id="rId61"/>
                </p:custDataLst>
              </p:nvPr>
            </p:nvSpPr>
            <p:spPr bwMode="gray">
              <a:xfrm>
                <a:off x="3527" y="2060"/>
                <a:ext cx="1022" cy="403"/>
              </a:xfrm>
              <a:custGeom>
                <a:avLst/>
                <a:gdLst>
                  <a:gd name="T0" fmla="*/ 58 w 997"/>
                  <a:gd name="T1" fmla="*/ 20 h 441"/>
                  <a:gd name="T2" fmla="*/ 148 w 997"/>
                  <a:gd name="T3" fmla="*/ 20 h 441"/>
                  <a:gd name="T4" fmla="*/ 241 w 997"/>
                  <a:gd name="T5" fmla="*/ 20 h 441"/>
                  <a:gd name="T6" fmla="*/ 327 w 997"/>
                  <a:gd name="T7" fmla="*/ 18 h 441"/>
                  <a:gd name="T8" fmla="*/ 414 w 997"/>
                  <a:gd name="T9" fmla="*/ 17 h 441"/>
                  <a:gd name="T10" fmla="*/ 492 w 997"/>
                  <a:gd name="T11" fmla="*/ 16 h 441"/>
                  <a:gd name="T12" fmla="*/ 579 w 997"/>
                  <a:gd name="T13" fmla="*/ 15 h 441"/>
                  <a:gd name="T14" fmla="*/ 652 w 997"/>
                  <a:gd name="T15" fmla="*/ 15 h 441"/>
                  <a:gd name="T16" fmla="*/ 732 w 997"/>
                  <a:gd name="T17" fmla="*/ 13 h 441"/>
                  <a:gd name="T18" fmla="*/ 806 w 997"/>
                  <a:gd name="T19" fmla="*/ 12 h 441"/>
                  <a:gd name="T20" fmla="*/ 873 w 997"/>
                  <a:gd name="T21" fmla="*/ 11 h 441"/>
                  <a:gd name="T22" fmla="*/ 935 w 997"/>
                  <a:gd name="T23" fmla="*/ 9 h 441"/>
                  <a:gd name="T24" fmla="*/ 989 w 997"/>
                  <a:gd name="T25" fmla="*/ 8 h 441"/>
                  <a:gd name="T26" fmla="*/ 1045 w 997"/>
                  <a:gd name="T27" fmla="*/ 5 h 441"/>
                  <a:gd name="T28" fmla="*/ 1096 w 997"/>
                  <a:gd name="T29" fmla="*/ 5 h 441"/>
                  <a:gd name="T30" fmla="*/ 1139 w 997"/>
                  <a:gd name="T31" fmla="*/ 5 h 441"/>
                  <a:gd name="T32" fmla="*/ 1193 w 997"/>
                  <a:gd name="T33" fmla="*/ 5 h 441"/>
                  <a:gd name="T34" fmla="*/ 1249 w 997"/>
                  <a:gd name="T35" fmla="*/ 0 h 441"/>
                  <a:gd name="T36" fmla="*/ 1256 w 997"/>
                  <a:gd name="T37" fmla="*/ 5 h 441"/>
                  <a:gd name="T38" fmla="*/ 1268 w 997"/>
                  <a:gd name="T39" fmla="*/ 12 h 441"/>
                  <a:gd name="T40" fmla="*/ 1274 w 997"/>
                  <a:gd name="T41" fmla="*/ 16 h 441"/>
                  <a:gd name="T42" fmla="*/ 1280 w 997"/>
                  <a:gd name="T43" fmla="*/ 24 h 441"/>
                  <a:gd name="T44" fmla="*/ 1293 w 997"/>
                  <a:gd name="T45" fmla="*/ 31 h 441"/>
                  <a:gd name="T46" fmla="*/ 1298 w 997"/>
                  <a:gd name="T47" fmla="*/ 37 h 441"/>
                  <a:gd name="T48" fmla="*/ 1298 w 997"/>
                  <a:gd name="T49" fmla="*/ 46 h 441"/>
                  <a:gd name="T50" fmla="*/ 1311 w 997"/>
                  <a:gd name="T51" fmla="*/ 54 h 441"/>
                  <a:gd name="T52" fmla="*/ 1316 w 997"/>
                  <a:gd name="T53" fmla="*/ 64 h 441"/>
                  <a:gd name="T54" fmla="*/ 1324 w 997"/>
                  <a:gd name="T55" fmla="*/ 70 h 441"/>
                  <a:gd name="T56" fmla="*/ 1328 w 997"/>
                  <a:gd name="T57" fmla="*/ 80 h 441"/>
                  <a:gd name="T58" fmla="*/ 1342 w 997"/>
                  <a:gd name="T59" fmla="*/ 88 h 441"/>
                  <a:gd name="T60" fmla="*/ 1342 w 997"/>
                  <a:gd name="T61" fmla="*/ 95 h 441"/>
                  <a:gd name="T62" fmla="*/ 1342 w 997"/>
                  <a:gd name="T63" fmla="*/ 101 h 441"/>
                  <a:gd name="T64" fmla="*/ 1342 w 997"/>
                  <a:gd name="T65" fmla="*/ 111 h 441"/>
                  <a:gd name="T66" fmla="*/ 1336 w 997"/>
                  <a:gd name="T67" fmla="*/ 119 h 441"/>
                  <a:gd name="T68" fmla="*/ 1316 w 997"/>
                  <a:gd name="T69" fmla="*/ 121 h 441"/>
                  <a:gd name="T70" fmla="*/ 1256 w 997"/>
                  <a:gd name="T71" fmla="*/ 121 h 441"/>
                  <a:gd name="T72" fmla="*/ 1214 w 997"/>
                  <a:gd name="T73" fmla="*/ 122 h 441"/>
                  <a:gd name="T74" fmla="*/ 1163 w 997"/>
                  <a:gd name="T75" fmla="*/ 122 h 441"/>
                  <a:gd name="T76" fmla="*/ 1102 w 997"/>
                  <a:gd name="T77" fmla="*/ 123 h 441"/>
                  <a:gd name="T78" fmla="*/ 1039 w 997"/>
                  <a:gd name="T79" fmla="*/ 125 h 441"/>
                  <a:gd name="T80" fmla="*/ 974 w 997"/>
                  <a:gd name="T81" fmla="*/ 127 h 441"/>
                  <a:gd name="T82" fmla="*/ 899 w 997"/>
                  <a:gd name="T83" fmla="*/ 129 h 441"/>
                  <a:gd name="T84" fmla="*/ 819 w 997"/>
                  <a:gd name="T85" fmla="*/ 132 h 441"/>
                  <a:gd name="T86" fmla="*/ 739 w 997"/>
                  <a:gd name="T87" fmla="*/ 133 h 441"/>
                  <a:gd name="T88" fmla="*/ 652 w 997"/>
                  <a:gd name="T89" fmla="*/ 135 h 441"/>
                  <a:gd name="T90" fmla="*/ 579 w 997"/>
                  <a:gd name="T91" fmla="*/ 137 h 441"/>
                  <a:gd name="T92" fmla="*/ 492 w 997"/>
                  <a:gd name="T93" fmla="*/ 140 h 441"/>
                  <a:gd name="T94" fmla="*/ 419 w 997"/>
                  <a:gd name="T95" fmla="*/ 141 h 441"/>
                  <a:gd name="T96" fmla="*/ 344 w 997"/>
                  <a:gd name="T97" fmla="*/ 143 h 441"/>
                  <a:gd name="T98" fmla="*/ 277 w 997"/>
                  <a:gd name="T99" fmla="*/ 144 h 441"/>
                  <a:gd name="T100" fmla="*/ 210 w 997"/>
                  <a:gd name="T101" fmla="*/ 145 h 441"/>
                  <a:gd name="T102" fmla="*/ 160 w 997"/>
                  <a:gd name="T103" fmla="*/ 146 h 441"/>
                  <a:gd name="T104" fmla="*/ 103 w 997"/>
                  <a:gd name="T105" fmla="*/ 148 h 441"/>
                  <a:gd name="T106" fmla="*/ 44 w 997"/>
                  <a:gd name="T107" fmla="*/ 150 h 4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97"/>
                  <a:gd name="T163" fmla="*/ 0 h 441"/>
                  <a:gd name="T164" fmla="*/ 997 w 997"/>
                  <a:gd name="T165" fmla="*/ 441 h 4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97" h="441">
                    <a:moveTo>
                      <a:pt x="0" y="57"/>
                    </a:moveTo>
                    <a:lnTo>
                      <a:pt x="23" y="57"/>
                    </a:lnTo>
                    <a:lnTo>
                      <a:pt x="46" y="57"/>
                    </a:lnTo>
                    <a:lnTo>
                      <a:pt x="69" y="57"/>
                    </a:lnTo>
                    <a:lnTo>
                      <a:pt x="87" y="57"/>
                    </a:lnTo>
                    <a:lnTo>
                      <a:pt x="110" y="57"/>
                    </a:lnTo>
                    <a:lnTo>
                      <a:pt x="137" y="57"/>
                    </a:lnTo>
                    <a:lnTo>
                      <a:pt x="156" y="57"/>
                    </a:lnTo>
                    <a:lnTo>
                      <a:pt x="179" y="57"/>
                    </a:lnTo>
                    <a:lnTo>
                      <a:pt x="201" y="57"/>
                    </a:lnTo>
                    <a:lnTo>
                      <a:pt x="224" y="54"/>
                    </a:lnTo>
                    <a:lnTo>
                      <a:pt x="243" y="54"/>
                    </a:lnTo>
                    <a:lnTo>
                      <a:pt x="265" y="54"/>
                    </a:lnTo>
                    <a:lnTo>
                      <a:pt x="288" y="51"/>
                    </a:lnTo>
                    <a:lnTo>
                      <a:pt x="307" y="51"/>
                    </a:lnTo>
                    <a:lnTo>
                      <a:pt x="325" y="51"/>
                    </a:lnTo>
                    <a:lnTo>
                      <a:pt x="348" y="51"/>
                    </a:lnTo>
                    <a:lnTo>
                      <a:pt x="366" y="48"/>
                    </a:lnTo>
                    <a:lnTo>
                      <a:pt x="389" y="48"/>
                    </a:lnTo>
                    <a:lnTo>
                      <a:pt x="412" y="45"/>
                    </a:lnTo>
                    <a:lnTo>
                      <a:pt x="430" y="45"/>
                    </a:lnTo>
                    <a:lnTo>
                      <a:pt x="448" y="45"/>
                    </a:lnTo>
                    <a:lnTo>
                      <a:pt x="466" y="45"/>
                    </a:lnTo>
                    <a:lnTo>
                      <a:pt x="485" y="43"/>
                    </a:lnTo>
                    <a:lnTo>
                      <a:pt x="508" y="43"/>
                    </a:lnTo>
                    <a:lnTo>
                      <a:pt x="521" y="40"/>
                    </a:lnTo>
                    <a:lnTo>
                      <a:pt x="544" y="37"/>
                    </a:lnTo>
                    <a:lnTo>
                      <a:pt x="562" y="37"/>
                    </a:lnTo>
                    <a:lnTo>
                      <a:pt x="581" y="34"/>
                    </a:lnTo>
                    <a:lnTo>
                      <a:pt x="599" y="34"/>
                    </a:lnTo>
                    <a:lnTo>
                      <a:pt x="613" y="34"/>
                    </a:lnTo>
                    <a:lnTo>
                      <a:pt x="631" y="31"/>
                    </a:lnTo>
                    <a:lnTo>
                      <a:pt x="649" y="31"/>
                    </a:lnTo>
                    <a:lnTo>
                      <a:pt x="668" y="28"/>
                    </a:lnTo>
                    <a:lnTo>
                      <a:pt x="677" y="28"/>
                    </a:lnTo>
                    <a:lnTo>
                      <a:pt x="695" y="25"/>
                    </a:lnTo>
                    <a:lnTo>
                      <a:pt x="709" y="23"/>
                    </a:lnTo>
                    <a:lnTo>
                      <a:pt x="722" y="23"/>
                    </a:lnTo>
                    <a:lnTo>
                      <a:pt x="736" y="23"/>
                    </a:lnTo>
                    <a:lnTo>
                      <a:pt x="750" y="20"/>
                    </a:lnTo>
                    <a:lnTo>
                      <a:pt x="768" y="20"/>
                    </a:lnTo>
                    <a:lnTo>
                      <a:pt x="777" y="17"/>
                    </a:lnTo>
                    <a:lnTo>
                      <a:pt x="791" y="14"/>
                    </a:lnTo>
                    <a:lnTo>
                      <a:pt x="800" y="14"/>
                    </a:lnTo>
                    <a:lnTo>
                      <a:pt x="814" y="14"/>
                    </a:lnTo>
                    <a:lnTo>
                      <a:pt x="823" y="11"/>
                    </a:lnTo>
                    <a:lnTo>
                      <a:pt x="832" y="11"/>
                    </a:lnTo>
                    <a:lnTo>
                      <a:pt x="846" y="11"/>
                    </a:lnTo>
                    <a:lnTo>
                      <a:pt x="855" y="11"/>
                    </a:lnTo>
                    <a:lnTo>
                      <a:pt x="869" y="8"/>
                    </a:lnTo>
                    <a:lnTo>
                      <a:pt x="887" y="5"/>
                    </a:lnTo>
                    <a:lnTo>
                      <a:pt x="901" y="3"/>
                    </a:lnTo>
                    <a:lnTo>
                      <a:pt x="910" y="3"/>
                    </a:lnTo>
                    <a:lnTo>
                      <a:pt x="928" y="0"/>
                    </a:lnTo>
                    <a:lnTo>
                      <a:pt x="933" y="0"/>
                    </a:lnTo>
                    <a:lnTo>
                      <a:pt x="933" y="5"/>
                    </a:lnTo>
                    <a:lnTo>
                      <a:pt x="933" y="8"/>
                    </a:lnTo>
                    <a:lnTo>
                      <a:pt x="937" y="14"/>
                    </a:lnTo>
                    <a:lnTo>
                      <a:pt x="937" y="23"/>
                    </a:lnTo>
                    <a:lnTo>
                      <a:pt x="942" y="34"/>
                    </a:lnTo>
                    <a:lnTo>
                      <a:pt x="942" y="37"/>
                    </a:lnTo>
                    <a:lnTo>
                      <a:pt x="942" y="43"/>
                    </a:lnTo>
                    <a:lnTo>
                      <a:pt x="946" y="48"/>
                    </a:lnTo>
                    <a:lnTo>
                      <a:pt x="946" y="57"/>
                    </a:lnTo>
                    <a:lnTo>
                      <a:pt x="946" y="62"/>
                    </a:lnTo>
                    <a:lnTo>
                      <a:pt x="951" y="68"/>
                    </a:lnTo>
                    <a:lnTo>
                      <a:pt x="951" y="77"/>
                    </a:lnTo>
                    <a:lnTo>
                      <a:pt x="955" y="82"/>
                    </a:lnTo>
                    <a:lnTo>
                      <a:pt x="960" y="91"/>
                    </a:lnTo>
                    <a:lnTo>
                      <a:pt x="960" y="97"/>
                    </a:lnTo>
                    <a:lnTo>
                      <a:pt x="960" y="105"/>
                    </a:lnTo>
                    <a:lnTo>
                      <a:pt x="965" y="111"/>
                    </a:lnTo>
                    <a:lnTo>
                      <a:pt x="965" y="119"/>
                    </a:lnTo>
                    <a:lnTo>
                      <a:pt x="965" y="128"/>
                    </a:lnTo>
                    <a:lnTo>
                      <a:pt x="965" y="136"/>
                    </a:lnTo>
                    <a:lnTo>
                      <a:pt x="969" y="145"/>
                    </a:lnTo>
                    <a:lnTo>
                      <a:pt x="969" y="154"/>
                    </a:lnTo>
                    <a:lnTo>
                      <a:pt x="974" y="162"/>
                    </a:lnTo>
                    <a:lnTo>
                      <a:pt x="978" y="171"/>
                    </a:lnTo>
                    <a:lnTo>
                      <a:pt x="978" y="179"/>
                    </a:lnTo>
                    <a:lnTo>
                      <a:pt x="978" y="188"/>
                    </a:lnTo>
                    <a:lnTo>
                      <a:pt x="978" y="196"/>
                    </a:lnTo>
                    <a:lnTo>
                      <a:pt x="983" y="202"/>
                    </a:lnTo>
                    <a:lnTo>
                      <a:pt x="983" y="211"/>
                    </a:lnTo>
                    <a:lnTo>
                      <a:pt x="983" y="219"/>
                    </a:lnTo>
                    <a:lnTo>
                      <a:pt x="987" y="228"/>
                    </a:lnTo>
                    <a:lnTo>
                      <a:pt x="987" y="236"/>
                    </a:lnTo>
                    <a:lnTo>
                      <a:pt x="992" y="245"/>
                    </a:lnTo>
                    <a:lnTo>
                      <a:pt x="992" y="250"/>
                    </a:lnTo>
                    <a:lnTo>
                      <a:pt x="997" y="259"/>
                    </a:lnTo>
                    <a:lnTo>
                      <a:pt x="997" y="265"/>
                    </a:lnTo>
                    <a:lnTo>
                      <a:pt x="997" y="273"/>
                    </a:lnTo>
                    <a:lnTo>
                      <a:pt x="997" y="282"/>
                    </a:lnTo>
                    <a:lnTo>
                      <a:pt x="997" y="287"/>
                    </a:lnTo>
                    <a:lnTo>
                      <a:pt x="997" y="293"/>
                    </a:lnTo>
                    <a:lnTo>
                      <a:pt x="997" y="302"/>
                    </a:lnTo>
                    <a:lnTo>
                      <a:pt x="997" y="310"/>
                    </a:lnTo>
                    <a:lnTo>
                      <a:pt x="997" y="322"/>
                    </a:lnTo>
                    <a:lnTo>
                      <a:pt x="997" y="330"/>
                    </a:lnTo>
                    <a:lnTo>
                      <a:pt x="997" y="339"/>
                    </a:lnTo>
                    <a:lnTo>
                      <a:pt x="997" y="344"/>
                    </a:lnTo>
                    <a:lnTo>
                      <a:pt x="992" y="350"/>
                    </a:lnTo>
                    <a:lnTo>
                      <a:pt x="987" y="353"/>
                    </a:lnTo>
                    <a:lnTo>
                      <a:pt x="978" y="353"/>
                    </a:lnTo>
                    <a:lnTo>
                      <a:pt x="965" y="353"/>
                    </a:lnTo>
                    <a:lnTo>
                      <a:pt x="951" y="353"/>
                    </a:lnTo>
                    <a:lnTo>
                      <a:pt x="933" y="356"/>
                    </a:lnTo>
                    <a:lnTo>
                      <a:pt x="923" y="356"/>
                    </a:lnTo>
                    <a:lnTo>
                      <a:pt x="910" y="356"/>
                    </a:lnTo>
                    <a:lnTo>
                      <a:pt x="901" y="359"/>
                    </a:lnTo>
                    <a:lnTo>
                      <a:pt x="891" y="359"/>
                    </a:lnTo>
                    <a:lnTo>
                      <a:pt x="878" y="359"/>
                    </a:lnTo>
                    <a:lnTo>
                      <a:pt x="864" y="361"/>
                    </a:lnTo>
                    <a:lnTo>
                      <a:pt x="850" y="361"/>
                    </a:lnTo>
                    <a:lnTo>
                      <a:pt x="837" y="364"/>
                    </a:lnTo>
                    <a:lnTo>
                      <a:pt x="818" y="364"/>
                    </a:lnTo>
                    <a:lnTo>
                      <a:pt x="805" y="367"/>
                    </a:lnTo>
                    <a:lnTo>
                      <a:pt x="791" y="367"/>
                    </a:lnTo>
                    <a:lnTo>
                      <a:pt x="773" y="370"/>
                    </a:lnTo>
                    <a:lnTo>
                      <a:pt x="754" y="370"/>
                    </a:lnTo>
                    <a:lnTo>
                      <a:pt x="736" y="373"/>
                    </a:lnTo>
                    <a:lnTo>
                      <a:pt x="722" y="376"/>
                    </a:lnTo>
                    <a:lnTo>
                      <a:pt x="704" y="379"/>
                    </a:lnTo>
                    <a:lnTo>
                      <a:pt x="681" y="379"/>
                    </a:lnTo>
                    <a:lnTo>
                      <a:pt x="668" y="379"/>
                    </a:lnTo>
                    <a:lnTo>
                      <a:pt x="645" y="381"/>
                    </a:lnTo>
                    <a:lnTo>
                      <a:pt x="626" y="384"/>
                    </a:lnTo>
                    <a:lnTo>
                      <a:pt x="608" y="387"/>
                    </a:lnTo>
                    <a:lnTo>
                      <a:pt x="590" y="390"/>
                    </a:lnTo>
                    <a:lnTo>
                      <a:pt x="567" y="390"/>
                    </a:lnTo>
                    <a:lnTo>
                      <a:pt x="549" y="393"/>
                    </a:lnTo>
                    <a:lnTo>
                      <a:pt x="526" y="396"/>
                    </a:lnTo>
                    <a:lnTo>
                      <a:pt x="508" y="398"/>
                    </a:lnTo>
                    <a:lnTo>
                      <a:pt x="485" y="398"/>
                    </a:lnTo>
                    <a:lnTo>
                      <a:pt x="466" y="401"/>
                    </a:lnTo>
                    <a:lnTo>
                      <a:pt x="448" y="401"/>
                    </a:lnTo>
                    <a:lnTo>
                      <a:pt x="430" y="404"/>
                    </a:lnTo>
                    <a:lnTo>
                      <a:pt x="412" y="407"/>
                    </a:lnTo>
                    <a:lnTo>
                      <a:pt x="389" y="410"/>
                    </a:lnTo>
                    <a:lnTo>
                      <a:pt x="366" y="413"/>
                    </a:lnTo>
                    <a:lnTo>
                      <a:pt x="348" y="413"/>
                    </a:lnTo>
                    <a:lnTo>
                      <a:pt x="329" y="413"/>
                    </a:lnTo>
                    <a:lnTo>
                      <a:pt x="311" y="416"/>
                    </a:lnTo>
                    <a:lnTo>
                      <a:pt x="293" y="418"/>
                    </a:lnTo>
                    <a:lnTo>
                      <a:pt x="275" y="418"/>
                    </a:lnTo>
                    <a:lnTo>
                      <a:pt x="256" y="421"/>
                    </a:lnTo>
                    <a:lnTo>
                      <a:pt x="243" y="424"/>
                    </a:lnTo>
                    <a:lnTo>
                      <a:pt x="224" y="424"/>
                    </a:lnTo>
                    <a:lnTo>
                      <a:pt x="206" y="424"/>
                    </a:lnTo>
                    <a:lnTo>
                      <a:pt x="188" y="427"/>
                    </a:lnTo>
                    <a:lnTo>
                      <a:pt x="174" y="430"/>
                    </a:lnTo>
                    <a:lnTo>
                      <a:pt x="156" y="430"/>
                    </a:lnTo>
                    <a:lnTo>
                      <a:pt x="142" y="433"/>
                    </a:lnTo>
                    <a:lnTo>
                      <a:pt x="128" y="433"/>
                    </a:lnTo>
                    <a:lnTo>
                      <a:pt x="119" y="433"/>
                    </a:lnTo>
                    <a:lnTo>
                      <a:pt x="101" y="433"/>
                    </a:lnTo>
                    <a:lnTo>
                      <a:pt x="87" y="435"/>
                    </a:lnTo>
                    <a:lnTo>
                      <a:pt x="78" y="435"/>
                    </a:lnTo>
                    <a:lnTo>
                      <a:pt x="69" y="435"/>
                    </a:lnTo>
                    <a:lnTo>
                      <a:pt x="46" y="438"/>
                    </a:lnTo>
                    <a:lnTo>
                      <a:pt x="32" y="441"/>
                    </a:lnTo>
                    <a:lnTo>
                      <a:pt x="0" y="5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98" name="Freeform 152"/>
              <p:cNvSpPr>
                <a:spLocks/>
              </p:cNvSpPr>
              <p:nvPr>
                <p:custDataLst>
                  <p:tags r:id="rId62"/>
                </p:custDataLst>
              </p:nvPr>
            </p:nvSpPr>
            <p:spPr bwMode="gray">
              <a:xfrm>
                <a:off x="1134" y="1621"/>
                <a:ext cx="3424" cy="421"/>
              </a:xfrm>
              <a:custGeom>
                <a:avLst/>
                <a:gdLst>
                  <a:gd name="T0" fmla="*/ 0 w 3341"/>
                  <a:gd name="T1" fmla="*/ 22 h 461"/>
                  <a:gd name="T2" fmla="*/ 9 w 3341"/>
                  <a:gd name="T3" fmla="*/ 38 h 461"/>
                  <a:gd name="T4" fmla="*/ 14 w 3341"/>
                  <a:gd name="T5" fmla="*/ 57 h 461"/>
                  <a:gd name="T6" fmla="*/ 18 w 3341"/>
                  <a:gd name="T7" fmla="*/ 76 h 461"/>
                  <a:gd name="T8" fmla="*/ 18 w 3341"/>
                  <a:gd name="T9" fmla="*/ 92 h 461"/>
                  <a:gd name="T10" fmla="*/ 35 w 3341"/>
                  <a:gd name="T11" fmla="*/ 111 h 461"/>
                  <a:gd name="T12" fmla="*/ 35 w 3341"/>
                  <a:gd name="T13" fmla="*/ 130 h 461"/>
                  <a:gd name="T14" fmla="*/ 102 w 3341"/>
                  <a:gd name="T15" fmla="*/ 131 h 461"/>
                  <a:gd name="T16" fmla="*/ 247 w 3341"/>
                  <a:gd name="T17" fmla="*/ 134 h 461"/>
                  <a:gd name="T18" fmla="*/ 435 w 3341"/>
                  <a:gd name="T19" fmla="*/ 137 h 461"/>
                  <a:gd name="T20" fmla="*/ 664 w 3341"/>
                  <a:gd name="T21" fmla="*/ 142 h 461"/>
                  <a:gd name="T22" fmla="*/ 896 w 3341"/>
                  <a:gd name="T23" fmla="*/ 145 h 461"/>
                  <a:gd name="T24" fmla="*/ 1122 w 3341"/>
                  <a:gd name="T25" fmla="*/ 149 h 461"/>
                  <a:gd name="T26" fmla="*/ 1325 w 3341"/>
                  <a:gd name="T27" fmla="*/ 150 h 461"/>
                  <a:gd name="T28" fmla="*/ 1484 w 3341"/>
                  <a:gd name="T29" fmla="*/ 152 h 461"/>
                  <a:gd name="T30" fmla="*/ 1583 w 3341"/>
                  <a:gd name="T31" fmla="*/ 152 h 461"/>
                  <a:gd name="T32" fmla="*/ 1681 w 3341"/>
                  <a:gd name="T33" fmla="*/ 152 h 461"/>
                  <a:gd name="T34" fmla="*/ 1801 w 3341"/>
                  <a:gd name="T35" fmla="*/ 153 h 461"/>
                  <a:gd name="T36" fmla="*/ 1832 w 3341"/>
                  <a:gd name="T37" fmla="*/ 142 h 461"/>
                  <a:gd name="T38" fmla="*/ 1925 w 3341"/>
                  <a:gd name="T39" fmla="*/ 125 h 461"/>
                  <a:gd name="T40" fmla="*/ 2072 w 3341"/>
                  <a:gd name="T41" fmla="*/ 111 h 461"/>
                  <a:gd name="T42" fmla="*/ 2183 w 3341"/>
                  <a:gd name="T43" fmla="*/ 102 h 461"/>
                  <a:gd name="T44" fmla="*/ 2302 w 3341"/>
                  <a:gd name="T45" fmla="*/ 97 h 461"/>
                  <a:gd name="T46" fmla="*/ 2404 w 3341"/>
                  <a:gd name="T47" fmla="*/ 94 h 461"/>
                  <a:gd name="T48" fmla="*/ 2551 w 3341"/>
                  <a:gd name="T49" fmla="*/ 94 h 461"/>
                  <a:gd name="T50" fmla="*/ 2705 w 3341"/>
                  <a:gd name="T51" fmla="*/ 101 h 461"/>
                  <a:gd name="T52" fmla="*/ 2823 w 3341"/>
                  <a:gd name="T53" fmla="*/ 111 h 461"/>
                  <a:gd name="T54" fmla="*/ 2957 w 3341"/>
                  <a:gd name="T55" fmla="*/ 128 h 461"/>
                  <a:gd name="T56" fmla="*/ 3060 w 3341"/>
                  <a:gd name="T57" fmla="*/ 148 h 461"/>
                  <a:gd name="T58" fmla="*/ 3119 w 3341"/>
                  <a:gd name="T59" fmla="*/ 156 h 461"/>
                  <a:gd name="T60" fmla="*/ 3247 w 3341"/>
                  <a:gd name="T61" fmla="*/ 152 h 461"/>
                  <a:gd name="T62" fmla="*/ 3417 w 3341"/>
                  <a:gd name="T63" fmla="*/ 150 h 461"/>
                  <a:gd name="T64" fmla="*/ 3622 w 3341"/>
                  <a:gd name="T65" fmla="*/ 145 h 461"/>
                  <a:gd name="T66" fmla="*/ 3833 w 3341"/>
                  <a:gd name="T67" fmla="*/ 142 h 461"/>
                  <a:gd name="T68" fmla="*/ 4056 w 3341"/>
                  <a:gd name="T69" fmla="*/ 138 h 461"/>
                  <a:gd name="T70" fmla="*/ 4247 w 3341"/>
                  <a:gd name="T71" fmla="*/ 136 h 461"/>
                  <a:gd name="T72" fmla="*/ 4390 w 3341"/>
                  <a:gd name="T73" fmla="*/ 134 h 461"/>
                  <a:gd name="T74" fmla="*/ 4442 w 3341"/>
                  <a:gd name="T75" fmla="*/ 0 h 461"/>
                  <a:gd name="T76" fmla="*/ 4330 w 3341"/>
                  <a:gd name="T77" fmla="*/ 5 h 461"/>
                  <a:gd name="T78" fmla="*/ 4171 w 3341"/>
                  <a:gd name="T79" fmla="*/ 6 h 461"/>
                  <a:gd name="T80" fmla="*/ 3938 w 3341"/>
                  <a:gd name="T81" fmla="*/ 13 h 461"/>
                  <a:gd name="T82" fmla="*/ 3671 w 3341"/>
                  <a:gd name="T83" fmla="*/ 20 h 461"/>
                  <a:gd name="T84" fmla="*/ 3337 w 3341"/>
                  <a:gd name="T85" fmla="*/ 26 h 461"/>
                  <a:gd name="T86" fmla="*/ 2982 w 3341"/>
                  <a:gd name="T87" fmla="*/ 32 h 461"/>
                  <a:gd name="T88" fmla="*/ 2594 w 3341"/>
                  <a:gd name="T89" fmla="*/ 36 h 461"/>
                  <a:gd name="T90" fmla="*/ 2203 w 3341"/>
                  <a:gd name="T91" fmla="*/ 39 h 461"/>
                  <a:gd name="T92" fmla="*/ 1806 w 3341"/>
                  <a:gd name="T93" fmla="*/ 39 h 461"/>
                  <a:gd name="T94" fmla="*/ 1436 w 3341"/>
                  <a:gd name="T95" fmla="*/ 37 h 461"/>
                  <a:gd name="T96" fmla="*/ 1104 w 3341"/>
                  <a:gd name="T97" fmla="*/ 33 h 461"/>
                  <a:gd name="T98" fmla="*/ 815 w 3341"/>
                  <a:gd name="T99" fmla="*/ 28 h 461"/>
                  <a:gd name="T100" fmla="*/ 564 w 3341"/>
                  <a:gd name="T101" fmla="*/ 23 h 461"/>
                  <a:gd name="T102" fmla="*/ 348 w 3341"/>
                  <a:gd name="T103" fmla="*/ 17 h 461"/>
                  <a:gd name="T104" fmla="*/ 192 w 3341"/>
                  <a:gd name="T105" fmla="*/ 12 h 461"/>
                  <a:gd name="T106" fmla="*/ 73 w 3341"/>
                  <a:gd name="T107" fmla="*/ 7 h 4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41"/>
                  <a:gd name="T163" fmla="*/ 0 h 461"/>
                  <a:gd name="T164" fmla="*/ 3341 w 3341"/>
                  <a:gd name="T165" fmla="*/ 461 h 4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41" h="461">
                    <a:moveTo>
                      <a:pt x="0" y="14"/>
                    </a:moveTo>
                    <a:lnTo>
                      <a:pt x="0" y="22"/>
                    </a:lnTo>
                    <a:lnTo>
                      <a:pt x="0" y="31"/>
                    </a:lnTo>
                    <a:lnTo>
                      <a:pt x="0" y="42"/>
                    </a:lnTo>
                    <a:lnTo>
                      <a:pt x="0" y="54"/>
                    </a:lnTo>
                    <a:lnTo>
                      <a:pt x="0" y="57"/>
                    </a:lnTo>
                    <a:lnTo>
                      <a:pt x="0" y="65"/>
                    </a:lnTo>
                    <a:lnTo>
                      <a:pt x="0" y="71"/>
                    </a:lnTo>
                    <a:lnTo>
                      <a:pt x="5" y="76"/>
                    </a:lnTo>
                    <a:lnTo>
                      <a:pt x="5" y="82"/>
                    </a:lnTo>
                    <a:lnTo>
                      <a:pt x="5" y="88"/>
                    </a:lnTo>
                    <a:lnTo>
                      <a:pt x="5" y="96"/>
                    </a:lnTo>
                    <a:lnTo>
                      <a:pt x="9" y="105"/>
                    </a:lnTo>
                    <a:lnTo>
                      <a:pt x="9" y="113"/>
                    </a:lnTo>
                    <a:lnTo>
                      <a:pt x="9" y="119"/>
                    </a:lnTo>
                    <a:lnTo>
                      <a:pt x="9" y="128"/>
                    </a:lnTo>
                    <a:lnTo>
                      <a:pt x="14" y="136"/>
                    </a:lnTo>
                    <a:lnTo>
                      <a:pt x="14" y="142"/>
                    </a:lnTo>
                    <a:lnTo>
                      <a:pt x="14" y="153"/>
                    </a:lnTo>
                    <a:lnTo>
                      <a:pt x="14" y="159"/>
                    </a:lnTo>
                    <a:lnTo>
                      <a:pt x="14" y="168"/>
                    </a:lnTo>
                    <a:lnTo>
                      <a:pt x="14" y="173"/>
                    </a:lnTo>
                    <a:lnTo>
                      <a:pt x="14" y="182"/>
                    </a:lnTo>
                    <a:lnTo>
                      <a:pt x="14" y="190"/>
                    </a:lnTo>
                    <a:lnTo>
                      <a:pt x="18" y="199"/>
                    </a:lnTo>
                    <a:lnTo>
                      <a:pt x="18" y="205"/>
                    </a:lnTo>
                    <a:lnTo>
                      <a:pt x="18" y="216"/>
                    </a:lnTo>
                    <a:lnTo>
                      <a:pt x="18" y="225"/>
                    </a:lnTo>
                    <a:lnTo>
                      <a:pt x="18" y="230"/>
                    </a:lnTo>
                    <a:lnTo>
                      <a:pt x="18" y="239"/>
                    </a:lnTo>
                    <a:lnTo>
                      <a:pt x="18" y="244"/>
                    </a:lnTo>
                    <a:lnTo>
                      <a:pt x="18" y="253"/>
                    </a:lnTo>
                    <a:lnTo>
                      <a:pt x="18" y="262"/>
                    </a:lnTo>
                    <a:lnTo>
                      <a:pt x="18" y="267"/>
                    </a:lnTo>
                    <a:lnTo>
                      <a:pt x="18" y="273"/>
                    </a:lnTo>
                    <a:lnTo>
                      <a:pt x="18" y="281"/>
                    </a:lnTo>
                    <a:lnTo>
                      <a:pt x="23" y="290"/>
                    </a:lnTo>
                    <a:lnTo>
                      <a:pt x="23" y="296"/>
                    </a:lnTo>
                    <a:lnTo>
                      <a:pt x="23" y="304"/>
                    </a:lnTo>
                    <a:lnTo>
                      <a:pt x="23" y="310"/>
                    </a:lnTo>
                    <a:lnTo>
                      <a:pt x="23" y="316"/>
                    </a:lnTo>
                    <a:lnTo>
                      <a:pt x="23" y="327"/>
                    </a:lnTo>
                    <a:lnTo>
                      <a:pt x="23" y="341"/>
                    </a:lnTo>
                    <a:lnTo>
                      <a:pt x="23" y="350"/>
                    </a:lnTo>
                    <a:lnTo>
                      <a:pt x="23" y="361"/>
                    </a:lnTo>
                    <a:lnTo>
                      <a:pt x="23" y="367"/>
                    </a:lnTo>
                    <a:lnTo>
                      <a:pt x="23" y="375"/>
                    </a:lnTo>
                    <a:lnTo>
                      <a:pt x="23" y="381"/>
                    </a:lnTo>
                    <a:lnTo>
                      <a:pt x="23" y="387"/>
                    </a:lnTo>
                    <a:lnTo>
                      <a:pt x="23" y="390"/>
                    </a:lnTo>
                    <a:lnTo>
                      <a:pt x="27" y="390"/>
                    </a:lnTo>
                    <a:lnTo>
                      <a:pt x="37" y="390"/>
                    </a:lnTo>
                    <a:lnTo>
                      <a:pt x="50" y="390"/>
                    </a:lnTo>
                    <a:lnTo>
                      <a:pt x="69" y="390"/>
                    </a:lnTo>
                    <a:lnTo>
                      <a:pt x="78" y="390"/>
                    </a:lnTo>
                    <a:lnTo>
                      <a:pt x="91" y="390"/>
                    </a:lnTo>
                    <a:lnTo>
                      <a:pt x="101" y="393"/>
                    </a:lnTo>
                    <a:lnTo>
                      <a:pt x="114" y="393"/>
                    </a:lnTo>
                    <a:lnTo>
                      <a:pt x="133" y="395"/>
                    </a:lnTo>
                    <a:lnTo>
                      <a:pt x="146" y="398"/>
                    </a:lnTo>
                    <a:lnTo>
                      <a:pt x="164" y="398"/>
                    </a:lnTo>
                    <a:lnTo>
                      <a:pt x="183" y="398"/>
                    </a:lnTo>
                    <a:lnTo>
                      <a:pt x="201" y="398"/>
                    </a:lnTo>
                    <a:lnTo>
                      <a:pt x="219" y="401"/>
                    </a:lnTo>
                    <a:lnTo>
                      <a:pt x="238" y="401"/>
                    </a:lnTo>
                    <a:lnTo>
                      <a:pt x="260" y="404"/>
                    </a:lnTo>
                    <a:lnTo>
                      <a:pt x="279" y="404"/>
                    </a:lnTo>
                    <a:lnTo>
                      <a:pt x="306" y="407"/>
                    </a:lnTo>
                    <a:lnTo>
                      <a:pt x="324" y="410"/>
                    </a:lnTo>
                    <a:lnTo>
                      <a:pt x="352" y="410"/>
                    </a:lnTo>
                    <a:lnTo>
                      <a:pt x="375" y="412"/>
                    </a:lnTo>
                    <a:lnTo>
                      <a:pt x="398" y="412"/>
                    </a:lnTo>
                    <a:lnTo>
                      <a:pt x="420" y="415"/>
                    </a:lnTo>
                    <a:lnTo>
                      <a:pt x="443" y="418"/>
                    </a:lnTo>
                    <a:lnTo>
                      <a:pt x="466" y="421"/>
                    </a:lnTo>
                    <a:lnTo>
                      <a:pt x="494" y="421"/>
                    </a:lnTo>
                    <a:lnTo>
                      <a:pt x="521" y="421"/>
                    </a:lnTo>
                    <a:lnTo>
                      <a:pt x="544" y="424"/>
                    </a:lnTo>
                    <a:lnTo>
                      <a:pt x="567" y="424"/>
                    </a:lnTo>
                    <a:lnTo>
                      <a:pt x="594" y="427"/>
                    </a:lnTo>
                    <a:lnTo>
                      <a:pt x="617" y="427"/>
                    </a:lnTo>
                    <a:lnTo>
                      <a:pt x="644" y="432"/>
                    </a:lnTo>
                    <a:lnTo>
                      <a:pt x="667" y="432"/>
                    </a:lnTo>
                    <a:lnTo>
                      <a:pt x="695" y="432"/>
                    </a:lnTo>
                    <a:lnTo>
                      <a:pt x="717" y="432"/>
                    </a:lnTo>
                    <a:lnTo>
                      <a:pt x="745" y="435"/>
                    </a:lnTo>
                    <a:lnTo>
                      <a:pt x="768" y="435"/>
                    </a:lnTo>
                    <a:lnTo>
                      <a:pt x="791" y="438"/>
                    </a:lnTo>
                    <a:lnTo>
                      <a:pt x="813" y="438"/>
                    </a:lnTo>
                    <a:lnTo>
                      <a:pt x="836" y="441"/>
                    </a:lnTo>
                    <a:lnTo>
                      <a:pt x="859" y="441"/>
                    </a:lnTo>
                    <a:lnTo>
                      <a:pt x="882" y="444"/>
                    </a:lnTo>
                    <a:lnTo>
                      <a:pt x="905" y="444"/>
                    </a:lnTo>
                    <a:lnTo>
                      <a:pt x="928" y="444"/>
                    </a:lnTo>
                    <a:lnTo>
                      <a:pt x="946" y="444"/>
                    </a:lnTo>
                    <a:lnTo>
                      <a:pt x="969" y="444"/>
                    </a:lnTo>
                    <a:lnTo>
                      <a:pt x="987" y="444"/>
                    </a:lnTo>
                    <a:lnTo>
                      <a:pt x="1005" y="447"/>
                    </a:lnTo>
                    <a:lnTo>
                      <a:pt x="1024" y="447"/>
                    </a:lnTo>
                    <a:lnTo>
                      <a:pt x="1042" y="449"/>
                    </a:lnTo>
                    <a:lnTo>
                      <a:pt x="1060" y="449"/>
                    </a:lnTo>
                    <a:lnTo>
                      <a:pt x="1074" y="452"/>
                    </a:lnTo>
                    <a:lnTo>
                      <a:pt x="1092" y="452"/>
                    </a:lnTo>
                    <a:lnTo>
                      <a:pt x="1106" y="452"/>
                    </a:lnTo>
                    <a:lnTo>
                      <a:pt x="1115" y="452"/>
                    </a:lnTo>
                    <a:lnTo>
                      <a:pt x="1129" y="452"/>
                    </a:lnTo>
                    <a:lnTo>
                      <a:pt x="1138" y="452"/>
                    </a:lnTo>
                    <a:lnTo>
                      <a:pt x="1147" y="452"/>
                    </a:lnTo>
                    <a:lnTo>
                      <a:pt x="1156" y="452"/>
                    </a:lnTo>
                    <a:lnTo>
                      <a:pt x="1165" y="452"/>
                    </a:lnTo>
                    <a:lnTo>
                      <a:pt x="1179" y="452"/>
                    </a:lnTo>
                    <a:lnTo>
                      <a:pt x="1188" y="452"/>
                    </a:lnTo>
                    <a:lnTo>
                      <a:pt x="1202" y="452"/>
                    </a:lnTo>
                    <a:lnTo>
                      <a:pt x="1211" y="452"/>
                    </a:lnTo>
                    <a:lnTo>
                      <a:pt x="1220" y="452"/>
                    </a:lnTo>
                    <a:lnTo>
                      <a:pt x="1234" y="452"/>
                    </a:lnTo>
                    <a:lnTo>
                      <a:pt x="1238" y="452"/>
                    </a:lnTo>
                    <a:lnTo>
                      <a:pt x="1252" y="452"/>
                    </a:lnTo>
                    <a:lnTo>
                      <a:pt x="1266" y="452"/>
                    </a:lnTo>
                    <a:lnTo>
                      <a:pt x="1280" y="452"/>
                    </a:lnTo>
                    <a:lnTo>
                      <a:pt x="1289" y="452"/>
                    </a:lnTo>
                    <a:lnTo>
                      <a:pt x="1302" y="452"/>
                    </a:lnTo>
                    <a:lnTo>
                      <a:pt x="1321" y="455"/>
                    </a:lnTo>
                    <a:lnTo>
                      <a:pt x="1334" y="455"/>
                    </a:lnTo>
                    <a:lnTo>
                      <a:pt x="1339" y="455"/>
                    </a:lnTo>
                    <a:lnTo>
                      <a:pt x="1344" y="458"/>
                    </a:lnTo>
                    <a:lnTo>
                      <a:pt x="1344" y="455"/>
                    </a:lnTo>
                    <a:lnTo>
                      <a:pt x="1344" y="452"/>
                    </a:lnTo>
                    <a:lnTo>
                      <a:pt x="1348" y="449"/>
                    </a:lnTo>
                    <a:lnTo>
                      <a:pt x="1353" y="444"/>
                    </a:lnTo>
                    <a:lnTo>
                      <a:pt x="1353" y="432"/>
                    </a:lnTo>
                    <a:lnTo>
                      <a:pt x="1366" y="424"/>
                    </a:lnTo>
                    <a:lnTo>
                      <a:pt x="1371" y="415"/>
                    </a:lnTo>
                    <a:lnTo>
                      <a:pt x="1389" y="404"/>
                    </a:lnTo>
                    <a:lnTo>
                      <a:pt x="1394" y="398"/>
                    </a:lnTo>
                    <a:lnTo>
                      <a:pt x="1403" y="393"/>
                    </a:lnTo>
                    <a:lnTo>
                      <a:pt x="1412" y="387"/>
                    </a:lnTo>
                    <a:lnTo>
                      <a:pt x="1421" y="381"/>
                    </a:lnTo>
                    <a:lnTo>
                      <a:pt x="1435" y="375"/>
                    </a:lnTo>
                    <a:lnTo>
                      <a:pt x="1449" y="367"/>
                    </a:lnTo>
                    <a:lnTo>
                      <a:pt x="1458" y="361"/>
                    </a:lnTo>
                    <a:lnTo>
                      <a:pt x="1476" y="356"/>
                    </a:lnTo>
                    <a:lnTo>
                      <a:pt x="1490" y="350"/>
                    </a:lnTo>
                    <a:lnTo>
                      <a:pt x="1508" y="341"/>
                    </a:lnTo>
                    <a:lnTo>
                      <a:pt x="1526" y="336"/>
                    </a:lnTo>
                    <a:lnTo>
                      <a:pt x="1545" y="327"/>
                    </a:lnTo>
                    <a:lnTo>
                      <a:pt x="1554" y="324"/>
                    </a:lnTo>
                    <a:lnTo>
                      <a:pt x="1568" y="321"/>
                    </a:lnTo>
                    <a:lnTo>
                      <a:pt x="1577" y="318"/>
                    </a:lnTo>
                    <a:lnTo>
                      <a:pt x="1590" y="316"/>
                    </a:lnTo>
                    <a:lnTo>
                      <a:pt x="1600" y="313"/>
                    </a:lnTo>
                    <a:lnTo>
                      <a:pt x="1613" y="310"/>
                    </a:lnTo>
                    <a:lnTo>
                      <a:pt x="1627" y="304"/>
                    </a:lnTo>
                    <a:lnTo>
                      <a:pt x="1641" y="304"/>
                    </a:lnTo>
                    <a:lnTo>
                      <a:pt x="1650" y="301"/>
                    </a:lnTo>
                    <a:lnTo>
                      <a:pt x="1663" y="296"/>
                    </a:lnTo>
                    <a:lnTo>
                      <a:pt x="1677" y="293"/>
                    </a:lnTo>
                    <a:lnTo>
                      <a:pt x="1686" y="293"/>
                    </a:lnTo>
                    <a:lnTo>
                      <a:pt x="1700" y="290"/>
                    </a:lnTo>
                    <a:lnTo>
                      <a:pt x="1714" y="287"/>
                    </a:lnTo>
                    <a:lnTo>
                      <a:pt x="1723" y="284"/>
                    </a:lnTo>
                    <a:lnTo>
                      <a:pt x="1732" y="284"/>
                    </a:lnTo>
                    <a:lnTo>
                      <a:pt x="1746" y="284"/>
                    </a:lnTo>
                    <a:lnTo>
                      <a:pt x="1755" y="281"/>
                    </a:lnTo>
                    <a:lnTo>
                      <a:pt x="1769" y="279"/>
                    </a:lnTo>
                    <a:lnTo>
                      <a:pt x="1782" y="279"/>
                    </a:lnTo>
                    <a:lnTo>
                      <a:pt x="1791" y="279"/>
                    </a:lnTo>
                    <a:lnTo>
                      <a:pt x="1801" y="279"/>
                    </a:lnTo>
                    <a:lnTo>
                      <a:pt x="1814" y="279"/>
                    </a:lnTo>
                    <a:lnTo>
                      <a:pt x="1823" y="279"/>
                    </a:lnTo>
                    <a:lnTo>
                      <a:pt x="1842" y="279"/>
                    </a:lnTo>
                    <a:lnTo>
                      <a:pt x="1860" y="279"/>
                    </a:lnTo>
                    <a:lnTo>
                      <a:pt x="1878" y="279"/>
                    </a:lnTo>
                    <a:lnTo>
                      <a:pt x="1901" y="281"/>
                    </a:lnTo>
                    <a:lnTo>
                      <a:pt x="1915" y="281"/>
                    </a:lnTo>
                    <a:lnTo>
                      <a:pt x="1933" y="284"/>
                    </a:lnTo>
                    <a:lnTo>
                      <a:pt x="1951" y="284"/>
                    </a:lnTo>
                    <a:lnTo>
                      <a:pt x="1970" y="290"/>
                    </a:lnTo>
                    <a:lnTo>
                      <a:pt x="1988" y="293"/>
                    </a:lnTo>
                    <a:lnTo>
                      <a:pt x="2002" y="296"/>
                    </a:lnTo>
                    <a:lnTo>
                      <a:pt x="2015" y="301"/>
                    </a:lnTo>
                    <a:lnTo>
                      <a:pt x="2034" y="304"/>
                    </a:lnTo>
                    <a:lnTo>
                      <a:pt x="2043" y="307"/>
                    </a:lnTo>
                    <a:lnTo>
                      <a:pt x="2057" y="313"/>
                    </a:lnTo>
                    <a:lnTo>
                      <a:pt x="2070" y="316"/>
                    </a:lnTo>
                    <a:lnTo>
                      <a:pt x="2084" y="321"/>
                    </a:lnTo>
                    <a:lnTo>
                      <a:pt x="2093" y="324"/>
                    </a:lnTo>
                    <a:lnTo>
                      <a:pt x="2102" y="330"/>
                    </a:lnTo>
                    <a:lnTo>
                      <a:pt x="2111" y="336"/>
                    </a:lnTo>
                    <a:lnTo>
                      <a:pt x="2125" y="338"/>
                    </a:lnTo>
                    <a:lnTo>
                      <a:pt x="2148" y="347"/>
                    </a:lnTo>
                    <a:lnTo>
                      <a:pt x="2162" y="356"/>
                    </a:lnTo>
                    <a:lnTo>
                      <a:pt x="2180" y="364"/>
                    </a:lnTo>
                    <a:lnTo>
                      <a:pt x="2189" y="373"/>
                    </a:lnTo>
                    <a:lnTo>
                      <a:pt x="2203" y="378"/>
                    </a:lnTo>
                    <a:lnTo>
                      <a:pt x="2216" y="390"/>
                    </a:lnTo>
                    <a:lnTo>
                      <a:pt x="2230" y="398"/>
                    </a:lnTo>
                    <a:lnTo>
                      <a:pt x="2239" y="404"/>
                    </a:lnTo>
                    <a:lnTo>
                      <a:pt x="2253" y="412"/>
                    </a:lnTo>
                    <a:lnTo>
                      <a:pt x="2262" y="424"/>
                    </a:lnTo>
                    <a:lnTo>
                      <a:pt x="2271" y="432"/>
                    </a:lnTo>
                    <a:lnTo>
                      <a:pt x="2280" y="438"/>
                    </a:lnTo>
                    <a:lnTo>
                      <a:pt x="2285" y="444"/>
                    </a:lnTo>
                    <a:lnTo>
                      <a:pt x="2290" y="449"/>
                    </a:lnTo>
                    <a:lnTo>
                      <a:pt x="2299" y="458"/>
                    </a:lnTo>
                    <a:lnTo>
                      <a:pt x="2299" y="461"/>
                    </a:lnTo>
                    <a:lnTo>
                      <a:pt x="2303" y="461"/>
                    </a:lnTo>
                    <a:lnTo>
                      <a:pt x="2312" y="461"/>
                    </a:lnTo>
                    <a:lnTo>
                      <a:pt x="2322" y="461"/>
                    </a:lnTo>
                    <a:lnTo>
                      <a:pt x="2340" y="458"/>
                    </a:lnTo>
                    <a:lnTo>
                      <a:pt x="2349" y="455"/>
                    </a:lnTo>
                    <a:lnTo>
                      <a:pt x="2363" y="455"/>
                    </a:lnTo>
                    <a:lnTo>
                      <a:pt x="2372" y="455"/>
                    </a:lnTo>
                    <a:lnTo>
                      <a:pt x="2386" y="455"/>
                    </a:lnTo>
                    <a:lnTo>
                      <a:pt x="2404" y="452"/>
                    </a:lnTo>
                    <a:lnTo>
                      <a:pt x="2418" y="452"/>
                    </a:lnTo>
                    <a:lnTo>
                      <a:pt x="2436" y="452"/>
                    </a:lnTo>
                    <a:lnTo>
                      <a:pt x="2454" y="452"/>
                    </a:lnTo>
                    <a:lnTo>
                      <a:pt x="2472" y="449"/>
                    </a:lnTo>
                    <a:lnTo>
                      <a:pt x="2486" y="447"/>
                    </a:lnTo>
                    <a:lnTo>
                      <a:pt x="2504" y="444"/>
                    </a:lnTo>
                    <a:lnTo>
                      <a:pt x="2523" y="444"/>
                    </a:lnTo>
                    <a:lnTo>
                      <a:pt x="2546" y="444"/>
                    </a:lnTo>
                    <a:lnTo>
                      <a:pt x="2564" y="444"/>
                    </a:lnTo>
                    <a:lnTo>
                      <a:pt x="2587" y="441"/>
                    </a:lnTo>
                    <a:lnTo>
                      <a:pt x="2610" y="441"/>
                    </a:lnTo>
                    <a:lnTo>
                      <a:pt x="2628" y="438"/>
                    </a:lnTo>
                    <a:lnTo>
                      <a:pt x="2651" y="438"/>
                    </a:lnTo>
                    <a:lnTo>
                      <a:pt x="2678" y="432"/>
                    </a:lnTo>
                    <a:lnTo>
                      <a:pt x="2696" y="432"/>
                    </a:lnTo>
                    <a:lnTo>
                      <a:pt x="2719" y="432"/>
                    </a:lnTo>
                    <a:lnTo>
                      <a:pt x="2747" y="432"/>
                    </a:lnTo>
                    <a:lnTo>
                      <a:pt x="2765" y="430"/>
                    </a:lnTo>
                    <a:lnTo>
                      <a:pt x="2792" y="430"/>
                    </a:lnTo>
                    <a:lnTo>
                      <a:pt x="2815" y="427"/>
                    </a:lnTo>
                    <a:lnTo>
                      <a:pt x="2838" y="424"/>
                    </a:lnTo>
                    <a:lnTo>
                      <a:pt x="2856" y="424"/>
                    </a:lnTo>
                    <a:lnTo>
                      <a:pt x="2884" y="421"/>
                    </a:lnTo>
                    <a:lnTo>
                      <a:pt x="2907" y="421"/>
                    </a:lnTo>
                    <a:lnTo>
                      <a:pt x="2929" y="421"/>
                    </a:lnTo>
                    <a:lnTo>
                      <a:pt x="2952" y="418"/>
                    </a:lnTo>
                    <a:lnTo>
                      <a:pt x="2980" y="415"/>
                    </a:lnTo>
                    <a:lnTo>
                      <a:pt x="2998" y="412"/>
                    </a:lnTo>
                    <a:lnTo>
                      <a:pt x="3021" y="412"/>
                    </a:lnTo>
                    <a:lnTo>
                      <a:pt x="3039" y="412"/>
                    </a:lnTo>
                    <a:lnTo>
                      <a:pt x="3062" y="410"/>
                    </a:lnTo>
                    <a:lnTo>
                      <a:pt x="3085" y="410"/>
                    </a:lnTo>
                    <a:lnTo>
                      <a:pt x="3103" y="410"/>
                    </a:lnTo>
                    <a:lnTo>
                      <a:pt x="3126" y="404"/>
                    </a:lnTo>
                    <a:lnTo>
                      <a:pt x="3144" y="404"/>
                    </a:lnTo>
                    <a:lnTo>
                      <a:pt x="3162" y="404"/>
                    </a:lnTo>
                    <a:lnTo>
                      <a:pt x="3181" y="401"/>
                    </a:lnTo>
                    <a:lnTo>
                      <a:pt x="3199" y="401"/>
                    </a:lnTo>
                    <a:lnTo>
                      <a:pt x="3213" y="401"/>
                    </a:lnTo>
                    <a:lnTo>
                      <a:pt x="3231" y="398"/>
                    </a:lnTo>
                    <a:lnTo>
                      <a:pt x="3245" y="398"/>
                    </a:lnTo>
                    <a:lnTo>
                      <a:pt x="3258" y="398"/>
                    </a:lnTo>
                    <a:lnTo>
                      <a:pt x="3272" y="398"/>
                    </a:lnTo>
                    <a:lnTo>
                      <a:pt x="3281" y="398"/>
                    </a:lnTo>
                    <a:lnTo>
                      <a:pt x="3295" y="398"/>
                    </a:lnTo>
                    <a:lnTo>
                      <a:pt x="3304" y="398"/>
                    </a:lnTo>
                    <a:lnTo>
                      <a:pt x="3313" y="398"/>
                    </a:lnTo>
                    <a:lnTo>
                      <a:pt x="3332" y="398"/>
                    </a:lnTo>
                    <a:lnTo>
                      <a:pt x="3341" y="398"/>
                    </a:lnTo>
                    <a:lnTo>
                      <a:pt x="3309" y="0"/>
                    </a:lnTo>
                    <a:lnTo>
                      <a:pt x="3304" y="0"/>
                    </a:lnTo>
                    <a:lnTo>
                      <a:pt x="3295" y="0"/>
                    </a:lnTo>
                    <a:lnTo>
                      <a:pt x="3281" y="0"/>
                    </a:lnTo>
                    <a:lnTo>
                      <a:pt x="3263" y="2"/>
                    </a:lnTo>
                    <a:lnTo>
                      <a:pt x="3254" y="2"/>
                    </a:lnTo>
                    <a:lnTo>
                      <a:pt x="3245" y="5"/>
                    </a:lnTo>
                    <a:lnTo>
                      <a:pt x="3226" y="8"/>
                    </a:lnTo>
                    <a:lnTo>
                      <a:pt x="3213" y="8"/>
                    </a:lnTo>
                    <a:lnTo>
                      <a:pt x="3199" y="11"/>
                    </a:lnTo>
                    <a:lnTo>
                      <a:pt x="3181" y="14"/>
                    </a:lnTo>
                    <a:lnTo>
                      <a:pt x="3162" y="14"/>
                    </a:lnTo>
                    <a:lnTo>
                      <a:pt x="3144" y="17"/>
                    </a:lnTo>
                    <a:lnTo>
                      <a:pt x="3126" y="19"/>
                    </a:lnTo>
                    <a:lnTo>
                      <a:pt x="3108" y="19"/>
                    </a:lnTo>
                    <a:lnTo>
                      <a:pt x="3085" y="22"/>
                    </a:lnTo>
                    <a:lnTo>
                      <a:pt x="3062" y="25"/>
                    </a:lnTo>
                    <a:lnTo>
                      <a:pt x="3039" y="25"/>
                    </a:lnTo>
                    <a:lnTo>
                      <a:pt x="3012" y="31"/>
                    </a:lnTo>
                    <a:lnTo>
                      <a:pt x="2989" y="34"/>
                    </a:lnTo>
                    <a:lnTo>
                      <a:pt x="2966" y="34"/>
                    </a:lnTo>
                    <a:lnTo>
                      <a:pt x="2934" y="37"/>
                    </a:lnTo>
                    <a:lnTo>
                      <a:pt x="2907" y="42"/>
                    </a:lnTo>
                    <a:lnTo>
                      <a:pt x="2879" y="45"/>
                    </a:lnTo>
                    <a:lnTo>
                      <a:pt x="2852" y="48"/>
                    </a:lnTo>
                    <a:lnTo>
                      <a:pt x="2820" y="48"/>
                    </a:lnTo>
                    <a:lnTo>
                      <a:pt x="2792" y="54"/>
                    </a:lnTo>
                    <a:lnTo>
                      <a:pt x="2760" y="57"/>
                    </a:lnTo>
                    <a:lnTo>
                      <a:pt x="2733" y="59"/>
                    </a:lnTo>
                    <a:lnTo>
                      <a:pt x="2696" y="62"/>
                    </a:lnTo>
                    <a:lnTo>
                      <a:pt x="2660" y="65"/>
                    </a:lnTo>
                    <a:lnTo>
                      <a:pt x="2628" y="68"/>
                    </a:lnTo>
                    <a:lnTo>
                      <a:pt x="2591" y="68"/>
                    </a:lnTo>
                    <a:lnTo>
                      <a:pt x="2559" y="71"/>
                    </a:lnTo>
                    <a:lnTo>
                      <a:pt x="2523" y="76"/>
                    </a:lnTo>
                    <a:lnTo>
                      <a:pt x="2486" y="76"/>
                    </a:lnTo>
                    <a:lnTo>
                      <a:pt x="2450" y="79"/>
                    </a:lnTo>
                    <a:lnTo>
                      <a:pt x="2413" y="79"/>
                    </a:lnTo>
                    <a:lnTo>
                      <a:pt x="2376" y="85"/>
                    </a:lnTo>
                    <a:lnTo>
                      <a:pt x="2335" y="85"/>
                    </a:lnTo>
                    <a:lnTo>
                      <a:pt x="2299" y="88"/>
                    </a:lnTo>
                    <a:lnTo>
                      <a:pt x="2258" y="88"/>
                    </a:lnTo>
                    <a:lnTo>
                      <a:pt x="2221" y="94"/>
                    </a:lnTo>
                    <a:lnTo>
                      <a:pt x="2180" y="96"/>
                    </a:lnTo>
                    <a:lnTo>
                      <a:pt x="2143" y="99"/>
                    </a:lnTo>
                    <a:lnTo>
                      <a:pt x="2098" y="99"/>
                    </a:lnTo>
                    <a:lnTo>
                      <a:pt x="2057" y="102"/>
                    </a:lnTo>
                    <a:lnTo>
                      <a:pt x="2015" y="102"/>
                    </a:lnTo>
                    <a:lnTo>
                      <a:pt x="1979" y="105"/>
                    </a:lnTo>
                    <a:lnTo>
                      <a:pt x="1933" y="108"/>
                    </a:lnTo>
                    <a:lnTo>
                      <a:pt x="1892" y="111"/>
                    </a:lnTo>
                    <a:lnTo>
                      <a:pt x="1855" y="111"/>
                    </a:lnTo>
                    <a:lnTo>
                      <a:pt x="1810" y="113"/>
                    </a:lnTo>
                    <a:lnTo>
                      <a:pt x="1769" y="113"/>
                    </a:lnTo>
                    <a:lnTo>
                      <a:pt x="1723" y="113"/>
                    </a:lnTo>
                    <a:lnTo>
                      <a:pt x="1682" y="113"/>
                    </a:lnTo>
                    <a:lnTo>
                      <a:pt x="1641" y="116"/>
                    </a:lnTo>
                    <a:lnTo>
                      <a:pt x="1595" y="116"/>
                    </a:lnTo>
                    <a:lnTo>
                      <a:pt x="1558" y="119"/>
                    </a:lnTo>
                    <a:lnTo>
                      <a:pt x="1513" y="119"/>
                    </a:lnTo>
                    <a:lnTo>
                      <a:pt x="1472" y="119"/>
                    </a:lnTo>
                    <a:lnTo>
                      <a:pt x="1426" y="119"/>
                    </a:lnTo>
                    <a:lnTo>
                      <a:pt x="1389" y="119"/>
                    </a:lnTo>
                    <a:lnTo>
                      <a:pt x="1344" y="116"/>
                    </a:lnTo>
                    <a:lnTo>
                      <a:pt x="1302" y="116"/>
                    </a:lnTo>
                    <a:lnTo>
                      <a:pt x="1266" y="113"/>
                    </a:lnTo>
                    <a:lnTo>
                      <a:pt x="1225" y="113"/>
                    </a:lnTo>
                    <a:lnTo>
                      <a:pt x="1184" y="113"/>
                    </a:lnTo>
                    <a:lnTo>
                      <a:pt x="1147" y="113"/>
                    </a:lnTo>
                    <a:lnTo>
                      <a:pt x="1111" y="111"/>
                    </a:lnTo>
                    <a:lnTo>
                      <a:pt x="1069" y="111"/>
                    </a:lnTo>
                    <a:lnTo>
                      <a:pt x="1033" y="108"/>
                    </a:lnTo>
                    <a:lnTo>
                      <a:pt x="996" y="108"/>
                    </a:lnTo>
                    <a:lnTo>
                      <a:pt x="964" y="102"/>
                    </a:lnTo>
                    <a:lnTo>
                      <a:pt x="928" y="102"/>
                    </a:lnTo>
                    <a:lnTo>
                      <a:pt x="891" y="102"/>
                    </a:lnTo>
                    <a:lnTo>
                      <a:pt x="855" y="102"/>
                    </a:lnTo>
                    <a:lnTo>
                      <a:pt x="823" y="99"/>
                    </a:lnTo>
                    <a:lnTo>
                      <a:pt x="791" y="96"/>
                    </a:lnTo>
                    <a:lnTo>
                      <a:pt x="759" y="94"/>
                    </a:lnTo>
                    <a:lnTo>
                      <a:pt x="727" y="91"/>
                    </a:lnTo>
                    <a:lnTo>
                      <a:pt x="695" y="88"/>
                    </a:lnTo>
                    <a:lnTo>
                      <a:pt x="667" y="88"/>
                    </a:lnTo>
                    <a:lnTo>
                      <a:pt x="635" y="85"/>
                    </a:lnTo>
                    <a:lnTo>
                      <a:pt x="608" y="85"/>
                    </a:lnTo>
                    <a:lnTo>
                      <a:pt x="580" y="79"/>
                    </a:lnTo>
                    <a:lnTo>
                      <a:pt x="544" y="76"/>
                    </a:lnTo>
                    <a:lnTo>
                      <a:pt x="521" y="76"/>
                    </a:lnTo>
                    <a:lnTo>
                      <a:pt x="494" y="76"/>
                    </a:lnTo>
                    <a:lnTo>
                      <a:pt x="466" y="71"/>
                    </a:lnTo>
                    <a:lnTo>
                      <a:pt x="443" y="68"/>
                    </a:lnTo>
                    <a:lnTo>
                      <a:pt x="420" y="68"/>
                    </a:lnTo>
                    <a:lnTo>
                      <a:pt x="398" y="68"/>
                    </a:lnTo>
                    <a:lnTo>
                      <a:pt x="366" y="65"/>
                    </a:lnTo>
                    <a:lnTo>
                      <a:pt x="347" y="59"/>
                    </a:lnTo>
                    <a:lnTo>
                      <a:pt x="324" y="57"/>
                    </a:lnTo>
                    <a:lnTo>
                      <a:pt x="306" y="57"/>
                    </a:lnTo>
                    <a:lnTo>
                      <a:pt x="279" y="54"/>
                    </a:lnTo>
                    <a:lnTo>
                      <a:pt x="260" y="51"/>
                    </a:lnTo>
                    <a:lnTo>
                      <a:pt x="238" y="48"/>
                    </a:lnTo>
                    <a:lnTo>
                      <a:pt x="224" y="45"/>
                    </a:lnTo>
                    <a:lnTo>
                      <a:pt x="201" y="42"/>
                    </a:lnTo>
                    <a:lnTo>
                      <a:pt x="187" y="42"/>
                    </a:lnTo>
                    <a:lnTo>
                      <a:pt x="169" y="37"/>
                    </a:lnTo>
                    <a:lnTo>
                      <a:pt x="160" y="37"/>
                    </a:lnTo>
                    <a:lnTo>
                      <a:pt x="142" y="34"/>
                    </a:lnTo>
                    <a:lnTo>
                      <a:pt x="128" y="34"/>
                    </a:lnTo>
                    <a:lnTo>
                      <a:pt x="114" y="31"/>
                    </a:lnTo>
                    <a:lnTo>
                      <a:pt x="101" y="31"/>
                    </a:lnTo>
                    <a:lnTo>
                      <a:pt x="87" y="25"/>
                    </a:lnTo>
                    <a:lnTo>
                      <a:pt x="78" y="25"/>
                    </a:lnTo>
                    <a:lnTo>
                      <a:pt x="64" y="25"/>
                    </a:lnTo>
                    <a:lnTo>
                      <a:pt x="55" y="22"/>
                    </a:lnTo>
                    <a:lnTo>
                      <a:pt x="37" y="19"/>
                    </a:lnTo>
                    <a:lnTo>
                      <a:pt x="23" y="19"/>
                    </a:lnTo>
                    <a:lnTo>
                      <a:pt x="14" y="14"/>
                    </a:lnTo>
                    <a:lnTo>
                      <a:pt x="0"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99" name="Freeform 153"/>
              <p:cNvSpPr>
                <a:spLocks/>
              </p:cNvSpPr>
              <p:nvPr>
                <p:custDataLst>
                  <p:tags r:id="rId63"/>
                </p:custDataLst>
              </p:nvPr>
            </p:nvSpPr>
            <p:spPr bwMode="gray">
              <a:xfrm>
                <a:off x="904" y="576"/>
                <a:ext cx="3795" cy="815"/>
              </a:xfrm>
              <a:custGeom>
                <a:avLst/>
                <a:gdLst>
                  <a:gd name="T0" fmla="*/ 2011 w 3702"/>
                  <a:gd name="T1" fmla="*/ 26 h 892"/>
                  <a:gd name="T2" fmla="*/ 1766 w 3702"/>
                  <a:gd name="T3" fmla="*/ 50 h 892"/>
                  <a:gd name="T4" fmla="*/ 1520 w 3702"/>
                  <a:gd name="T5" fmla="*/ 77 h 892"/>
                  <a:gd name="T6" fmla="*/ 1280 w 3702"/>
                  <a:gd name="T7" fmla="*/ 103 h 892"/>
                  <a:gd name="T8" fmla="*/ 1048 w 3702"/>
                  <a:gd name="T9" fmla="*/ 131 h 892"/>
                  <a:gd name="T10" fmla="*/ 824 w 3702"/>
                  <a:gd name="T11" fmla="*/ 159 h 892"/>
                  <a:gd name="T12" fmla="*/ 623 w 3702"/>
                  <a:gd name="T13" fmla="*/ 187 h 892"/>
                  <a:gd name="T14" fmla="*/ 437 w 3702"/>
                  <a:gd name="T15" fmla="*/ 210 h 892"/>
                  <a:gd name="T16" fmla="*/ 277 w 3702"/>
                  <a:gd name="T17" fmla="*/ 232 h 892"/>
                  <a:gd name="T18" fmla="*/ 153 w 3702"/>
                  <a:gd name="T19" fmla="*/ 252 h 892"/>
                  <a:gd name="T20" fmla="*/ 58 w 3702"/>
                  <a:gd name="T21" fmla="*/ 268 h 892"/>
                  <a:gd name="T22" fmla="*/ 0 w 3702"/>
                  <a:gd name="T23" fmla="*/ 280 h 892"/>
                  <a:gd name="T24" fmla="*/ 53 w 3702"/>
                  <a:gd name="T25" fmla="*/ 283 h 892"/>
                  <a:gd name="T26" fmla="*/ 141 w 3702"/>
                  <a:gd name="T27" fmla="*/ 285 h 892"/>
                  <a:gd name="T28" fmla="*/ 277 w 3702"/>
                  <a:gd name="T29" fmla="*/ 288 h 892"/>
                  <a:gd name="T30" fmla="*/ 437 w 3702"/>
                  <a:gd name="T31" fmla="*/ 291 h 892"/>
                  <a:gd name="T32" fmla="*/ 623 w 3702"/>
                  <a:gd name="T33" fmla="*/ 293 h 892"/>
                  <a:gd name="T34" fmla="*/ 844 w 3702"/>
                  <a:gd name="T35" fmla="*/ 295 h 892"/>
                  <a:gd name="T36" fmla="*/ 1078 w 3702"/>
                  <a:gd name="T37" fmla="*/ 299 h 892"/>
                  <a:gd name="T38" fmla="*/ 1329 w 3702"/>
                  <a:gd name="T39" fmla="*/ 300 h 892"/>
                  <a:gd name="T40" fmla="*/ 1594 w 3702"/>
                  <a:gd name="T41" fmla="*/ 302 h 892"/>
                  <a:gd name="T42" fmla="*/ 1865 w 3702"/>
                  <a:gd name="T43" fmla="*/ 302 h 892"/>
                  <a:gd name="T44" fmla="*/ 2141 w 3702"/>
                  <a:gd name="T45" fmla="*/ 301 h 892"/>
                  <a:gd name="T46" fmla="*/ 2413 w 3702"/>
                  <a:gd name="T47" fmla="*/ 299 h 892"/>
                  <a:gd name="T48" fmla="*/ 2685 w 3702"/>
                  <a:gd name="T49" fmla="*/ 295 h 892"/>
                  <a:gd name="T50" fmla="*/ 2961 w 3702"/>
                  <a:gd name="T51" fmla="*/ 291 h 892"/>
                  <a:gd name="T52" fmla="*/ 3236 w 3702"/>
                  <a:gd name="T53" fmla="*/ 287 h 892"/>
                  <a:gd name="T54" fmla="*/ 3508 w 3702"/>
                  <a:gd name="T55" fmla="*/ 280 h 892"/>
                  <a:gd name="T56" fmla="*/ 3760 w 3702"/>
                  <a:gd name="T57" fmla="*/ 277 h 892"/>
                  <a:gd name="T58" fmla="*/ 4015 w 3702"/>
                  <a:gd name="T59" fmla="*/ 272 h 892"/>
                  <a:gd name="T60" fmla="*/ 4245 w 3702"/>
                  <a:gd name="T61" fmla="*/ 268 h 892"/>
                  <a:gd name="T62" fmla="*/ 4449 w 3702"/>
                  <a:gd name="T63" fmla="*/ 261 h 892"/>
                  <a:gd name="T64" fmla="*/ 4629 w 3702"/>
                  <a:gd name="T65" fmla="*/ 256 h 892"/>
                  <a:gd name="T66" fmla="*/ 4775 w 3702"/>
                  <a:gd name="T67" fmla="*/ 252 h 892"/>
                  <a:gd name="T68" fmla="*/ 4887 w 3702"/>
                  <a:gd name="T69" fmla="*/ 247 h 892"/>
                  <a:gd name="T70" fmla="*/ 4968 w 3702"/>
                  <a:gd name="T71" fmla="*/ 245 h 892"/>
                  <a:gd name="T72" fmla="*/ 4942 w 3702"/>
                  <a:gd name="T73" fmla="*/ 238 h 892"/>
                  <a:gd name="T74" fmla="*/ 4849 w 3702"/>
                  <a:gd name="T75" fmla="*/ 228 h 892"/>
                  <a:gd name="T76" fmla="*/ 4716 w 3702"/>
                  <a:gd name="T77" fmla="*/ 215 h 892"/>
                  <a:gd name="T78" fmla="*/ 4547 w 3702"/>
                  <a:gd name="T79" fmla="*/ 198 h 892"/>
                  <a:gd name="T80" fmla="*/ 4358 w 3702"/>
                  <a:gd name="T81" fmla="*/ 177 h 892"/>
                  <a:gd name="T82" fmla="*/ 4141 w 3702"/>
                  <a:gd name="T83" fmla="*/ 157 h 892"/>
                  <a:gd name="T84" fmla="*/ 3927 w 3702"/>
                  <a:gd name="T85" fmla="*/ 132 h 892"/>
                  <a:gd name="T86" fmla="*/ 3699 w 3702"/>
                  <a:gd name="T87" fmla="*/ 111 h 892"/>
                  <a:gd name="T88" fmla="*/ 3488 w 3702"/>
                  <a:gd name="T89" fmla="*/ 88 h 892"/>
                  <a:gd name="T90" fmla="*/ 3287 w 3702"/>
                  <a:gd name="T91" fmla="*/ 65 h 892"/>
                  <a:gd name="T92" fmla="*/ 3107 w 3702"/>
                  <a:gd name="T93" fmla="*/ 48 h 892"/>
                  <a:gd name="T94" fmla="*/ 2968 w 3702"/>
                  <a:gd name="T95" fmla="*/ 34 h 892"/>
                  <a:gd name="T96" fmla="*/ 2862 w 3702"/>
                  <a:gd name="T97" fmla="*/ 22 h 892"/>
                  <a:gd name="T98" fmla="*/ 2776 w 3702"/>
                  <a:gd name="T99" fmla="*/ 15 h 892"/>
                  <a:gd name="T100" fmla="*/ 2701 w 3702"/>
                  <a:gd name="T101" fmla="*/ 8 h 892"/>
                  <a:gd name="T102" fmla="*/ 2622 w 3702"/>
                  <a:gd name="T103" fmla="*/ 5 h 892"/>
                  <a:gd name="T104" fmla="*/ 2549 w 3702"/>
                  <a:gd name="T105" fmla="*/ 5 h 892"/>
                  <a:gd name="T106" fmla="*/ 2418 w 3702"/>
                  <a:gd name="T107" fmla="*/ 0 h 892"/>
                  <a:gd name="T108" fmla="*/ 2313 w 3702"/>
                  <a:gd name="T109" fmla="*/ 5 h 892"/>
                  <a:gd name="T110" fmla="*/ 2229 w 3702"/>
                  <a:gd name="T111" fmla="*/ 6 h 8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02"/>
                  <a:gd name="T169" fmla="*/ 0 h 892"/>
                  <a:gd name="T170" fmla="*/ 3702 w 3702"/>
                  <a:gd name="T171" fmla="*/ 892 h 8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02" h="892">
                    <a:moveTo>
                      <a:pt x="1632" y="26"/>
                    </a:moveTo>
                    <a:lnTo>
                      <a:pt x="1595" y="35"/>
                    </a:lnTo>
                    <a:lnTo>
                      <a:pt x="1563" y="49"/>
                    </a:lnTo>
                    <a:lnTo>
                      <a:pt x="1526" y="63"/>
                    </a:lnTo>
                    <a:lnTo>
                      <a:pt x="1494" y="77"/>
                    </a:lnTo>
                    <a:lnTo>
                      <a:pt x="1453" y="89"/>
                    </a:lnTo>
                    <a:lnTo>
                      <a:pt x="1421" y="103"/>
                    </a:lnTo>
                    <a:lnTo>
                      <a:pt x="1380" y="117"/>
                    </a:lnTo>
                    <a:lnTo>
                      <a:pt x="1348" y="131"/>
                    </a:lnTo>
                    <a:lnTo>
                      <a:pt x="1312" y="149"/>
                    </a:lnTo>
                    <a:lnTo>
                      <a:pt x="1275" y="160"/>
                    </a:lnTo>
                    <a:lnTo>
                      <a:pt x="1239" y="174"/>
                    </a:lnTo>
                    <a:lnTo>
                      <a:pt x="1202" y="191"/>
                    </a:lnTo>
                    <a:lnTo>
                      <a:pt x="1165" y="208"/>
                    </a:lnTo>
                    <a:lnTo>
                      <a:pt x="1129" y="225"/>
                    </a:lnTo>
                    <a:lnTo>
                      <a:pt x="1097" y="240"/>
                    </a:lnTo>
                    <a:lnTo>
                      <a:pt x="1060" y="257"/>
                    </a:lnTo>
                    <a:lnTo>
                      <a:pt x="1024" y="274"/>
                    </a:lnTo>
                    <a:lnTo>
                      <a:pt x="987" y="288"/>
                    </a:lnTo>
                    <a:lnTo>
                      <a:pt x="951" y="305"/>
                    </a:lnTo>
                    <a:lnTo>
                      <a:pt x="919" y="322"/>
                    </a:lnTo>
                    <a:lnTo>
                      <a:pt x="877" y="339"/>
                    </a:lnTo>
                    <a:lnTo>
                      <a:pt x="846" y="354"/>
                    </a:lnTo>
                    <a:lnTo>
                      <a:pt x="814" y="371"/>
                    </a:lnTo>
                    <a:lnTo>
                      <a:pt x="777" y="388"/>
                    </a:lnTo>
                    <a:lnTo>
                      <a:pt x="745" y="408"/>
                    </a:lnTo>
                    <a:lnTo>
                      <a:pt x="713" y="422"/>
                    </a:lnTo>
                    <a:lnTo>
                      <a:pt x="681" y="439"/>
                    </a:lnTo>
                    <a:lnTo>
                      <a:pt x="644" y="456"/>
                    </a:lnTo>
                    <a:lnTo>
                      <a:pt x="612" y="470"/>
                    </a:lnTo>
                    <a:lnTo>
                      <a:pt x="580" y="487"/>
                    </a:lnTo>
                    <a:lnTo>
                      <a:pt x="548" y="504"/>
                    </a:lnTo>
                    <a:lnTo>
                      <a:pt x="526" y="519"/>
                    </a:lnTo>
                    <a:lnTo>
                      <a:pt x="494" y="536"/>
                    </a:lnTo>
                    <a:lnTo>
                      <a:pt x="462" y="550"/>
                    </a:lnTo>
                    <a:lnTo>
                      <a:pt x="434" y="564"/>
                    </a:lnTo>
                    <a:lnTo>
                      <a:pt x="407" y="579"/>
                    </a:lnTo>
                    <a:lnTo>
                      <a:pt x="379" y="593"/>
                    </a:lnTo>
                    <a:lnTo>
                      <a:pt x="352" y="607"/>
                    </a:lnTo>
                    <a:lnTo>
                      <a:pt x="325" y="621"/>
                    </a:lnTo>
                    <a:lnTo>
                      <a:pt x="302" y="638"/>
                    </a:lnTo>
                    <a:lnTo>
                      <a:pt x="274" y="650"/>
                    </a:lnTo>
                    <a:lnTo>
                      <a:pt x="251" y="664"/>
                    </a:lnTo>
                    <a:lnTo>
                      <a:pt x="229" y="675"/>
                    </a:lnTo>
                    <a:lnTo>
                      <a:pt x="206" y="687"/>
                    </a:lnTo>
                    <a:lnTo>
                      <a:pt x="187" y="701"/>
                    </a:lnTo>
                    <a:lnTo>
                      <a:pt x="169" y="712"/>
                    </a:lnTo>
                    <a:lnTo>
                      <a:pt x="146" y="724"/>
                    </a:lnTo>
                    <a:lnTo>
                      <a:pt x="133" y="735"/>
                    </a:lnTo>
                    <a:lnTo>
                      <a:pt x="114" y="744"/>
                    </a:lnTo>
                    <a:lnTo>
                      <a:pt x="101" y="755"/>
                    </a:lnTo>
                    <a:lnTo>
                      <a:pt x="82" y="764"/>
                    </a:lnTo>
                    <a:lnTo>
                      <a:pt x="69" y="772"/>
                    </a:lnTo>
                    <a:lnTo>
                      <a:pt x="59" y="781"/>
                    </a:lnTo>
                    <a:lnTo>
                      <a:pt x="46" y="789"/>
                    </a:lnTo>
                    <a:lnTo>
                      <a:pt x="37" y="798"/>
                    </a:lnTo>
                    <a:lnTo>
                      <a:pt x="27" y="803"/>
                    </a:lnTo>
                    <a:lnTo>
                      <a:pt x="14" y="815"/>
                    </a:lnTo>
                    <a:lnTo>
                      <a:pt x="5" y="826"/>
                    </a:lnTo>
                    <a:lnTo>
                      <a:pt x="0" y="829"/>
                    </a:lnTo>
                    <a:lnTo>
                      <a:pt x="5" y="832"/>
                    </a:lnTo>
                    <a:lnTo>
                      <a:pt x="9" y="832"/>
                    </a:lnTo>
                    <a:lnTo>
                      <a:pt x="23" y="835"/>
                    </a:lnTo>
                    <a:lnTo>
                      <a:pt x="32" y="835"/>
                    </a:lnTo>
                    <a:lnTo>
                      <a:pt x="41" y="835"/>
                    </a:lnTo>
                    <a:lnTo>
                      <a:pt x="55" y="838"/>
                    </a:lnTo>
                    <a:lnTo>
                      <a:pt x="64" y="838"/>
                    </a:lnTo>
                    <a:lnTo>
                      <a:pt x="78" y="838"/>
                    </a:lnTo>
                    <a:lnTo>
                      <a:pt x="91" y="841"/>
                    </a:lnTo>
                    <a:lnTo>
                      <a:pt x="105" y="841"/>
                    </a:lnTo>
                    <a:lnTo>
                      <a:pt x="123" y="846"/>
                    </a:lnTo>
                    <a:lnTo>
                      <a:pt x="142" y="846"/>
                    </a:lnTo>
                    <a:lnTo>
                      <a:pt x="160" y="846"/>
                    </a:lnTo>
                    <a:lnTo>
                      <a:pt x="183" y="849"/>
                    </a:lnTo>
                    <a:lnTo>
                      <a:pt x="206" y="852"/>
                    </a:lnTo>
                    <a:lnTo>
                      <a:pt x="224" y="852"/>
                    </a:lnTo>
                    <a:lnTo>
                      <a:pt x="247" y="852"/>
                    </a:lnTo>
                    <a:lnTo>
                      <a:pt x="270" y="855"/>
                    </a:lnTo>
                    <a:lnTo>
                      <a:pt x="297" y="858"/>
                    </a:lnTo>
                    <a:lnTo>
                      <a:pt x="325" y="858"/>
                    </a:lnTo>
                    <a:lnTo>
                      <a:pt x="347" y="860"/>
                    </a:lnTo>
                    <a:lnTo>
                      <a:pt x="375" y="860"/>
                    </a:lnTo>
                    <a:lnTo>
                      <a:pt x="407" y="863"/>
                    </a:lnTo>
                    <a:lnTo>
                      <a:pt x="434" y="863"/>
                    </a:lnTo>
                    <a:lnTo>
                      <a:pt x="462" y="866"/>
                    </a:lnTo>
                    <a:lnTo>
                      <a:pt x="494" y="866"/>
                    </a:lnTo>
                    <a:lnTo>
                      <a:pt x="530" y="869"/>
                    </a:lnTo>
                    <a:lnTo>
                      <a:pt x="558" y="869"/>
                    </a:lnTo>
                    <a:lnTo>
                      <a:pt x="590" y="875"/>
                    </a:lnTo>
                    <a:lnTo>
                      <a:pt x="626" y="875"/>
                    </a:lnTo>
                    <a:lnTo>
                      <a:pt x="663" y="878"/>
                    </a:lnTo>
                    <a:lnTo>
                      <a:pt x="695" y="878"/>
                    </a:lnTo>
                    <a:lnTo>
                      <a:pt x="727" y="880"/>
                    </a:lnTo>
                    <a:lnTo>
                      <a:pt x="763" y="880"/>
                    </a:lnTo>
                    <a:lnTo>
                      <a:pt x="800" y="880"/>
                    </a:lnTo>
                    <a:lnTo>
                      <a:pt x="836" y="880"/>
                    </a:lnTo>
                    <a:lnTo>
                      <a:pt x="873" y="883"/>
                    </a:lnTo>
                    <a:lnTo>
                      <a:pt x="909" y="883"/>
                    </a:lnTo>
                    <a:lnTo>
                      <a:pt x="946" y="886"/>
                    </a:lnTo>
                    <a:lnTo>
                      <a:pt x="987" y="886"/>
                    </a:lnTo>
                    <a:lnTo>
                      <a:pt x="1028" y="889"/>
                    </a:lnTo>
                    <a:lnTo>
                      <a:pt x="1065" y="889"/>
                    </a:lnTo>
                    <a:lnTo>
                      <a:pt x="1106" y="889"/>
                    </a:lnTo>
                    <a:lnTo>
                      <a:pt x="1143" y="889"/>
                    </a:lnTo>
                    <a:lnTo>
                      <a:pt x="1184" y="892"/>
                    </a:lnTo>
                    <a:lnTo>
                      <a:pt x="1225" y="892"/>
                    </a:lnTo>
                    <a:lnTo>
                      <a:pt x="1266" y="892"/>
                    </a:lnTo>
                    <a:lnTo>
                      <a:pt x="1303" y="892"/>
                    </a:lnTo>
                    <a:lnTo>
                      <a:pt x="1344" y="892"/>
                    </a:lnTo>
                    <a:lnTo>
                      <a:pt x="1385" y="892"/>
                    </a:lnTo>
                    <a:lnTo>
                      <a:pt x="1426" y="892"/>
                    </a:lnTo>
                    <a:lnTo>
                      <a:pt x="1462" y="889"/>
                    </a:lnTo>
                    <a:lnTo>
                      <a:pt x="1508" y="889"/>
                    </a:lnTo>
                    <a:lnTo>
                      <a:pt x="1549" y="889"/>
                    </a:lnTo>
                    <a:lnTo>
                      <a:pt x="1590" y="889"/>
                    </a:lnTo>
                    <a:lnTo>
                      <a:pt x="1627" y="889"/>
                    </a:lnTo>
                    <a:lnTo>
                      <a:pt x="1673" y="889"/>
                    </a:lnTo>
                    <a:lnTo>
                      <a:pt x="1714" y="886"/>
                    </a:lnTo>
                    <a:lnTo>
                      <a:pt x="1755" y="886"/>
                    </a:lnTo>
                    <a:lnTo>
                      <a:pt x="1792" y="880"/>
                    </a:lnTo>
                    <a:lnTo>
                      <a:pt x="1837" y="880"/>
                    </a:lnTo>
                    <a:lnTo>
                      <a:pt x="1874" y="880"/>
                    </a:lnTo>
                    <a:lnTo>
                      <a:pt x="1919" y="878"/>
                    </a:lnTo>
                    <a:lnTo>
                      <a:pt x="1956" y="875"/>
                    </a:lnTo>
                    <a:lnTo>
                      <a:pt x="1993" y="872"/>
                    </a:lnTo>
                    <a:lnTo>
                      <a:pt x="2038" y="869"/>
                    </a:lnTo>
                    <a:lnTo>
                      <a:pt x="2079" y="866"/>
                    </a:lnTo>
                    <a:lnTo>
                      <a:pt x="2116" y="866"/>
                    </a:lnTo>
                    <a:lnTo>
                      <a:pt x="2157" y="863"/>
                    </a:lnTo>
                    <a:lnTo>
                      <a:pt x="2198" y="860"/>
                    </a:lnTo>
                    <a:lnTo>
                      <a:pt x="2239" y="858"/>
                    </a:lnTo>
                    <a:lnTo>
                      <a:pt x="2281" y="855"/>
                    </a:lnTo>
                    <a:lnTo>
                      <a:pt x="2317" y="852"/>
                    </a:lnTo>
                    <a:lnTo>
                      <a:pt x="2363" y="849"/>
                    </a:lnTo>
                    <a:lnTo>
                      <a:pt x="2404" y="846"/>
                    </a:lnTo>
                    <a:lnTo>
                      <a:pt x="2440" y="843"/>
                    </a:lnTo>
                    <a:lnTo>
                      <a:pt x="2482" y="841"/>
                    </a:lnTo>
                    <a:lnTo>
                      <a:pt x="2523" y="838"/>
                    </a:lnTo>
                    <a:lnTo>
                      <a:pt x="2564" y="835"/>
                    </a:lnTo>
                    <a:lnTo>
                      <a:pt x="2605" y="832"/>
                    </a:lnTo>
                    <a:lnTo>
                      <a:pt x="2642" y="829"/>
                    </a:lnTo>
                    <a:lnTo>
                      <a:pt x="2683" y="826"/>
                    </a:lnTo>
                    <a:lnTo>
                      <a:pt x="2719" y="826"/>
                    </a:lnTo>
                    <a:lnTo>
                      <a:pt x="2760" y="821"/>
                    </a:lnTo>
                    <a:lnTo>
                      <a:pt x="2792" y="818"/>
                    </a:lnTo>
                    <a:lnTo>
                      <a:pt x="2834" y="815"/>
                    </a:lnTo>
                    <a:lnTo>
                      <a:pt x="2870" y="812"/>
                    </a:lnTo>
                    <a:lnTo>
                      <a:pt x="2907" y="809"/>
                    </a:lnTo>
                    <a:lnTo>
                      <a:pt x="2948" y="803"/>
                    </a:lnTo>
                    <a:lnTo>
                      <a:pt x="2980" y="803"/>
                    </a:lnTo>
                    <a:lnTo>
                      <a:pt x="3016" y="801"/>
                    </a:lnTo>
                    <a:lnTo>
                      <a:pt x="3048" y="798"/>
                    </a:lnTo>
                    <a:lnTo>
                      <a:pt x="3085" y="792"/>
                    </a:lnTo>
                    <a:lnTo>
                      <a:pt x="3117" y="789"/>
                    </a:lnTo>
                    <a:lnTo>
                      <a:pt x="3153" y="789"/>
                    </a:lnTo>
                    <a:lnTo>
                      <a:pt x="3185" y="784"/>
                    </a:lnTo>
                    <a:lnTo>
                      <a:pt x="3213" y="781"/>
                    </a:lnTo>
                    <a:lnTo>
                      <a:pt x="3245" y="778"/>
                    </a:lnTo>
                    <a:lnTo>
                      <a:pt x="3281" y="775"/>
                    </a:lnTo>
                    <a:lnTo>
                      <a:pt x="3304" y="772"/>
                    </a:lnTo>
                    <a:lnTo>
                      <a:pt x="3332" y="769"/>
                    </a:lnTo>
                    <a:lnTo>
                      <a:pt x="3359" y="766"/>
                    </a:lnTo>
                    <a:lnTo>
                      <a:pt x="3391" y="764"/>
                    </a:lnTo>
                    <a:lnTo>
                      <a:pt x="3414" y="761"/>
                    </a:lnTo>
                    <a:lnTo>
                      <a:pt x="3437" y="758"/>
                    </a:lnTo>
                    <a:lnTo>
                      <a:pt x="3464" y="755"/>
                    </a:lnTo>
                    <a:lnTo>
                      <a:pt x="3487" y="752"/>
                    </a:lnTo>
                    <a:lnTo>
                      <a:pt x="3505" y="749"/>
                    </a:lnTo>
                    <a:lnTo>
                      <a:pt x="3528" y="749"/>
                    </a:lnTo>
                    <a:lnTo>
                      <a:pt x="3546" y="744"/>
                    </a:lnTo>
                    <a:lnTo>
                      <a:pt x="3574" y="744"/>
                    </a:lnTo>
                    <a:lnTo>
                      <a:pt x="3588" y="741"/>
                    </a:lnTo>
                    <a:lnTo>
                      <a:pt x="3606" y="738"/>
                    </a:lnTo>
                    <a:lnTo>
                      <a:pt x="3615" y="735"/>
                    </a:lnTo>
                    <a:lnTo>
                      <a:pt x="3629" y="732"/>
                    </a:lnTo>
                    <a:lnTo>
                      <a:pt x="3642" y="732"/>
                    </a:lnTo>
                    <a:lnTo>
                      <a:pt x="3656" y="729"/>
                    </a:lnTo>
                    <a:lnTo>
                      <a:pt x="3665" y="727"/>
                    </a:lnTo>
                    <a:lnTo>
                      <a:pt x="3674" y="727"/>
                    </a:lnTo>
                    <a:lnTo>
                      <a:pt x="3688" y="721"/>
                    </a:lnTo>
                    <a:lnTo>
                      <a:pt x="3697" y="721"/>
                    </a:lnTo>
                    <a:lnTo>
                      <a:pt x="3702" y="718"/>
                    </a:lnTo>
                    <a:lnTo>
                      <a:pt x="3697" y="715"/>
                    </a:lnTo>
                    <a:lnTo>
                      <a:pt x="3688" y="712"/>
                    </a:lnTo>
                    <a:lnTo>
                      <a:pt x="3670" y="704"/>
                    </a:lnTo>
                    <a:lnTo>
                      <a:pt x="3661" y="698"/>
                    </a:lnTo>
                    <a:lnTo>
                      <a:pt x="3647" y="695"/>
                    </a:lnTo>
                    <a:lnTo>
                      <a:pt x="3633" y="687"/>
                    </a:lnTo>
                    <a:lnTo>
                      <a:pt x="3620" y="687"/>
                    </a:lnTo>
                    <a:lnTo>
                      <a:pt x="3601" y="675"/>
                    </a:lnTo>
                    <a:lnTo>
                      <a:pt x="3583" y="670"/>
                    </a:lnTo>
                    <a:lnTo>
                      <a:pt x="3565" y="661"/>
                    </a:lnTo>
                    <a:lnTo>
                      <a:pt x="3546" y="653"/>
                    </a:lnTo>
                    <a:lnTo>
                      <a:pt x="3524" y="644"/>
                    </a:lnTo>
                    <a:lnTo>
                      <a:pt x="3501" y="635"/>
                    </a:lnTo>
                    <a:lnTo>
                      <a:pt x="3482" y="627"/>
                    </a:lnTo>
                    <a:lnTo>
                      <a:pt x="3455" y="618"/>
                    </a:lnTo>
                    <a:lnTo>
                      <a:pt x="3432" y="607"/>
                    </a:lnTo>
                    <a:lnTo>
                      <a:pt x="3405" y="596"/>
                    </a:lnTo>
                    <a:lnTo>
                      <a:pt x="3377" y="584"/>
                    </a:lnTo>
                    <a:lnTo>
                      <a:pt x="3350" y="573"/>
                    </a:lnTo>
                    <a:lnTo>
                      <a:pt x="3323" y="561"/>
                    </a:lnTo>
                    <a:lnTo>
                      <a:pt x="3295" y="550"/>
                    </a:lnTo>
                    <a:lnTo>
                      <a:pt x="3263" y="539"/>
                    </a:lnTo>
                    <a:lnTo>
                      <a:pt x="3236" y="524"/>
                    </a:lnTo>
                    <a:lnTo>
                      <a:pt x="3204" y="513"/>
                    </a:lnTo>
                    <a:lnTo>
                      <a:pt x="3172" y="502"/>
                    </a:lnTo>
                    <a:lnTo>
                      <a:pt x="3140" y="487"/>
                    </a:lnTo>
                    <a:lnTo>
                      <a:pt x="3112" y="473"/>
                    </a:lnTo>
                    <a:lnTo>
                      <a:pt x="3076" y="462"/>
                    </a:lnTo>
                    <a:lnTo>
                      <a:pt x="3044" y="448"/>
                    </a:lnTo>
                    <a:lnTo>
                      <a:pt x="3016" y="433"/>
                    </a:lnTo>
                    <a:lnTo>
                      <a:pt x="2980" y="422"/>
                    </a:lnTo>
                    <a:lnTo>
                      <a:pt x="2948" y="408"/>
                    </a:lnTo>
                    <a:lnTo>
                      <a:pt x="2916" y="393"/>
                    </a:lnTo>
                    <a:lnTo>
                      <a:pt x="2884" y="379"/>
                    </a:lnTo>
                    <a:lnTo>
                      <a:pt x="2847" y="365"/>
                    </a:lnTo>
                    <a:lnTo>
                      <a:pt x="2815" y="351"/>
                    </a:lnTo>
                    <a:lnTo>
                      <a:pt x="2783" y="336"/>
                    </a:lnTo>
                    <a:lnTo>
                      <a:pt x="2747" y="325"/>
                    </a:lnTo>
                    <a:lnTo>
                      <a:pt x="2715" y="311"/>
                    </a:lnTo>
                    <a:lnTo>
                      <a:pt x="2683" y="297"/>
                    </a:lnTo>
                    <a:lnTo>
                      <a:pt x="2651" y="285"/>
                    </a:lnTo>
                    <a:lnTo>
                      <a:pt x="2619" y="271"/>
                    </a:lnTo>
                    <a:lnTo>
                      <a:pt x="2591" y="260"/>
                    </a:lnTo>
                    <a:lnTo>
                      <a:pt x="2559" y="245"/>
                    </a:lnTo>
                    <a:lnTo>
                      <a:pt x="2527" y="231"/>
                    </a:lnTo>
                    <a:lnTo>
                      <a:pt x="2500" y="220"/>
                    </a:lnTo>
                    <a:lnTo>
                      <a:pt x="2472" y="208"/>
                    </a:lnTo>
                    <a:lnTo>
                      <a:pt x="2440" y="194"/>
                    </a:lnTo>
                    <a:lnTo>
                      <a:pt x="2413" y="183"/>
                    </a:lnTo>
                    <a:lnTo>
                      <a:pt x="2386" y="171"/>
                    </a:lnTo>
                    <a:lnTo>
                      <a:pt x="2363" y="160"/>
                    </a:lnTo>
                    <a:lnTo>
                      <a:pt x="2335" y="151"/>
                    </a:lnTo>
                    <a:lnTo>
                      <a:pt x="2308" y="140"/>
                    </a:lnTo>
                    <a:lnTo>
                      <a:pt x="2285" y="131"/>
                    </a:lnTo>
                    <a:lnTo>
                      <a:pt x="2262" y="123"/>
                    </a:lnTo>
                    <a:lnTo>
                      <a:pt x="2244" y="112"/>
                    </a:lnTo>
                    <a:lnTo>
                      <a:pt x="2221" y="106"/>
                    </a:lnTo>
                    <a:lnTo>
                      <a:pt x="2203" y="97"/>
                    </a:lnTo>
                    <a:lnTo>
                      <a:pt x="2185" y="89"/>
                    </a:lnTo>
                    <a:lnTo>
                      <a:pt x="2166" y="83"/>
                    </a:lnTo>
                    <a:lnTo>
                      <a:pt x="2153" y="74"/>
                    </a:lnTo>
                    <a:lnTo>
                      <a:pt x="2134" y="69"/>
                    </a:lnTo>
                    <a:lnTo>
                      <a:pt x="2125" y="66"/>
                    </a:lnTo>
                    <a:lnTo>
                      <a:pt x="2116" y="60"/>
                    </a:lnTo>
                    <a:lnTo>
                      <a:pt x="2098" y="55"/>
                    </a:lnTo>
                    <a:lnTo>
                      <a:pt x="2089" y="49"/>
                    </a:lnTo>
                    <a:lnTo>
                      <a:pt x="2079" y="46"/>
                    </a:lnTo>
                    <a:lnTo>
                      <a:pt x="2061" y="43"/>
                    </a:lnTo>
                    <a:lnTo>
                      <a:pt x="2052" y="37"/>
                    </a:lnTo>
                    <a:lnTo>
                      <a:pt x="2043" y="35"/>
                    </a:lnTo>
                    <a:lnTo>
                      <a:pt x="2025" y="32"/>
                    </a:lnTo>
                    <a:lnTo>
                      <a:pt x="2015" y="26"/>
                    </a:lnTo>
                    <a:lnTo>
                      <a:pt x="2006" y="23"/>
                    </a:lnTo>
                    <a:lnTo>
                      <a:pt x="1993" y="20"/>
                    </a:lnTo>
                    <a:lnTo>
                      <a:pt x="1979" y="20"/>
                    </a:lnTo>
                    <a:lnTo>
                      <a:pt x="1970" y="15"/>
                    </a:lnTo>
                    <a:lnTo>
                      <a:pt x="1956" y="15"/>
                    </a:lnTo>
                    <a:lnTo>
                      <a:pt x="1947" y="12"/>
                    </a:lnTo>
                    <a:lnTo>
                      <a:pt x="1938" y="12"/>
                    </a:lnTo>
                    <a:lnTo>
                      <a:pt x="1924" y="9"/>
                    </a:lnTo>
                    <a:lnTo>
                      <a:pt x="1915" y="9"/>
                    </a:lnTo>
                    <a:lnTo>
                      <a:pt x="1901" y="6"/>
                    </a:lnTo>
                    <a:lnTo>
                      <a:pt x="1892" y="6"/>
                    </a:lnTo>
                    <a:lnTo>
                      <a:pt x="1869" y="0"/>
                    </a:lnTo>
                    <a:lnTo>
                      <a:pt x="1856" y="0"/>
                    </a:lnTo>
                    <a:lnTo>
                      <a:pt x="1833" y="0"/>
                    </a:lnTo>
                    <a:lnTo>
                      <a:pt x="1814" y="0"/>
                    </a:lnTo>
                    <a:lnTo>
                      <a:pt x="1796" y="0"/>
                    </a:lnTo>
                    <a:lnTo>
                      <a:pt x="1782" y="3"/>
                    </a:lnTo>
                    <a:lnTo>
                      <a:pt x="1764" y="3"/>
                    </a:lnTo>
                    <a:lnTo>
                      <a:pt x="1750" y="6"/>
                    </a:lnTo>
                    <a:lnTo>
                      <a:pt x="1732" y="6"/>
                    </a:lnTo>
                    <a:lnTo>
                      <a:pt x="1718" y="9"/>
                    </a:lnTo>
                    <a:lnTo>
                      <a:pt x="1700" y="9"/>
                    </a:lnTo>
                    <a:lnTo>
                      <a:pt x="1696" y="9"/>
                    </a:lnTo>
                    <a:lnTo>
                      <a:pt x="1682" y="12"/>
                    </a:lnTo>
                    <a:lnTo>
                      <a:pt x="1673" y="15"/>
                    </a:lnTo>
                    <a:lnTo>
                      <a:pt x="1654" y="20"/>
                    </a:lnTo>
                    <a:lnTo>
                      <a:pt x="1641" y="20"/>
                    </a:lnTo>
                    <a:lnTo>
                      <a:pt x="1636" y="23"/>
                    </a:lnTo>
                    <a:lnTo>
                      <a:pt x="1632" y="2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0" name="Freeform 154"/>
              <p:cNvSpPr>
                <a:spLocks/>
              </p:cNvSpPr>
              <p:nvPr>
                <p:custDataLst>
                  <p:tags r:id="rId64"/>
                </p:custDataLst>
              </p:nvPr>
            </p:nvSpPr>
            <p:spPr bwMode="gray">
              <a:xfrm>
                <a:off x="1358" y="666"/>
                <a:ext cx="1270" cy="535"/>
              </a:xfrm>
              <a:custGeom>
                <a:avLst/>
                <a:gdLst>
                  <a:gd name="T0" fmla="*/ 1470 w 1239"/>
                  <a:gd name="T1" fmla="*/ 9 h 587"/>
                  <a:gd name="T2" fmla="*/ 1384 w 1239"/>
                  <a:gd name="T3" fmla="*/ 15 h 587"/>
                  <a:gd name="T4" fmla="*/ 1298 w 1239"/>
                  <a:gd name="T5" fmla="*/ 24 h 587"/>
                  <a:gd name="T6" fmla="*/ 1213 w 1239"/>
                  <a:gd name="T7" fmla="*/ 33 h 587"/>
                  <a:gd name="T8" fmla="*/ 1132 w 1239"/>
                  <a:gd name="T9" fmla="*/ 42 h 587"/>
                  <a:gd name="T10" fmla="*/ 1053 w 1239"/>
                  <a:gd name="T11" fmla="*/ 50 h 587"/>
                  <a:gd name="T12" fmla="*/ 971 w 1239"/>
                  <a:gd name="T13" fmla="*/ 59 h 587"/>
                  <a:gd name="T14" fmla="*/ 898 w 1239"/>
                  <a:gd name="T15" fmla="*/ 67 h 587"/>
                  <a:gd name="T16" fmla="*/ 818 w 1239"/>
                  <a:gd name="T17" fmla="*/ 77 h 587"/>
                  <a:gd name="T18" fmla="*/ 744 w 1239"/>
                  <a:gd name="T19" fmla="*/ 87 h 587"/>
                  <a:gd name="T20" fmla="*/ 669 w 1239"/>
                  <a:gd name="T21" fmla="*/ 95 h 587"/>
                  <a:gd name="T22" fmla="*/ 602 w 1239"/>
                  <a:gd name="T23" fmla="*/ 104 h 587"/>
                  <a:gd name="T24" fmla="*/ 542 w 1239"/>
                  <a:gd name="T25" fmla="*/ 113 h 587"/>
                  <a:gd name="T26" fmla="*/ 473 w 1239"/>
                  <a:gd name="T27" fmla="*/ 120 h 587"/>
                  <a:gd name="T28" fmla="*/ 418 w 1239"/>
                  <a:gd name="T29" fmla="*/ 129 h 587"/>
                  <a:gd name="T30" fmla="*/ 363 w 1239"/>
                  <a:gd name="T31" fmla="*/ 136 h 587"/>
                  <a:gd name="T32" fmla="*/ 302 w 1239"/>
                  <a:gd name="T33" fmla="*/ 145 h 587"/>
                  <a:gd name="T34" fmla="*/ 258 w 1239"/>
                  <a:gd name="T35" fmla="*/ 152 h 587"/>
                  <a:gd name="T36" fmla="*/ 215 w 1239"/>
                  <a:gd name="T37" fmla="*/ 159 h 587"/>
                  <a:gd name="T38" fmla="*/ 172 w 1239"/>
                  <a:gd name="T39" fmla="*/ 165 h 587"/>
                  <a:gd name="T40" fmla="*/ 130 w 1239"/>
                  <a:gd name="T41" fmla="*/ 170 h 587"/>
                  <a:gd name="T42" fmla="*/ 97 w 1239"/>
                  <a:gd name="T43" fmla="*/ 175 h 587"/>
                  <a:gd name="T44" fmla="*/ 66 w 1239"/>
                  <a:gd name="T45" fmla="*/ 181 h 587"/>
                  <a:gd name="T46" fmla="*/ 44 w 1239"/>
                  <a:gd name="T47" fmla="*/ 183 h 587"/>
                  <a:gd name="T48" fmla="*/ 14 w 1239"/>
                  <a:gd name="T49" fmla="*/ 190 h 587"/>
                  <a:gd name="T50" fmla="*/ 0 w 1239"/>
                  <a:gd name="T51" fmla="*/ 191 h 587"/>
                  <a:gd name="T52" fmla="*/ 0 w 1239"/>
                  <a:gd name="T53" fmla="*/ 191 h 587"/>
                  <a:gd name="T54" fmla="*/ 35 w 1239"/>
                  <a:gd name="T55" fmla="*/ 190 h 587"/>
                  <a:gd name="T56" fmla="*/ 66 w 1239"/>
                  <a:gd name="T57" fmla="*/ 183 h 587"/>
                  <a:gd name="T58" fmla="*/ 97 w 1239"/>
                  <a:gd name="T59" fmla="*/ 178 h 587"/>
                  <a:gd name="T60" fmla="*/ 141 w 1239"/>
                  <a:gd name="T61" fmla="*/ 173 h 587"/>
                  <a:gd name="T62" fmla="*/ 185 w 1239"/>
                  <a:gd name="T63" fmla="*/ 167 h 587"/>
                  <a:gd name="T64" fmla="*/ 234 w 1239"/>
                  <a:gd name="T65" fmla="*/ 160 h 587"/>
                  <a:gd name="T66" fmla="*/ 284 w 1239"/>
                  <a:gd name="T67" fmla="*/ 154 h 587"/>
                  <a:gd name="T68" fmla="*/ 344 w 1239"/>
                  <a:gd name="T69" fmla="*/ 148 h 587"/>
                  <a:gd name="T70" fmla="*/ 407 w 1239"/>
                  <a:gd name="T71" fmla="*/ 140 h 587"/>
                  <a:gd name="T72" fmla="*/ 461 w 1239"/>
                  <a:gd name="T73" fmla="*/ 132 h 587"/>
                  <a:gd name="T74" fmla="*/ 529 w 1239"/>
                  <a:gd name="T75" fmla="*/ 126 h 587"/>
                  <a:gd name="T76" fmla="*/ 602 w 1239"/>
                  <a:gd name="T77" fmla="*/ 117 h 587"/>
                  <a:gd name="T78" fmla="*/ 664 w 1239"/>
                  <a:gd name="T79" fmla="*/ 109 h 587"/>
                  <a:gd name="T80" fmla="*/ 739 w 1239"/>
                  <a:gd name="T81" fmla="*/ 102 h 587"/>
                  <a:gd name="T82" fmla="*/ 812 w 1239"/>
                  <a:gd name="T83" fmla="*/ 94 h 587"/>
                  <a:gd name="T84" fmla="*/ 879 w 1239"/>
                  <a:gd name="T85" fmla="*/ 87 h 587"/>
                  <a:gd name="T86" fmla="*/ 955 w 1239"/>
                  <a:gd name="T87" fmla="*/ 78 h 587"/>
                  <a:gd name="T88" fmla="*/ 1020 w 1239"/>
                  <a:gd name="T89" fmla="*/ 70 h 587"/>
                  <a:gd name="T90" fmla="*/ 1094 w 1239"/>
                  <a:gd name="T91" fmla="*/ 61 h 587"/>
                  <a:gd name="T92" fmla="*/ 1162 w 1239"/>
                  <a:gd name="T93" fmla="*/ 55 h 587"/>
                  <a:gd name="T94" fmla="*/ 1224 w 1239"/>
                  <a:gd name="T95" fmla="*/ 46 h 587"/>
                  <a:gd name="T96" fmla="*/ 1293 w 1239"/>
                  <a:gd name="T97" fmla="*/ 40 h 587"/>
                  <a:gd name="T98" fmla="*/ 1352 w 1239"/>
                  <a:gd name="T99" fmla="*/ 34 h 587"/>
                  <a:gd name="T100" fmla="*/ 1414 w 1239"/>
                  <a:gd name="T101" fmla="*/ 27 h 587"/>
                  <a:gd name="T102" fmla="*/ 1464 w 1239"/>
                  <a:gd name="T103" fmla="*/ 22 h 587"/>
                  <a:gd name="T104" fmla="*/ 1518 w 1239"/>
                  <a:gd name="T105" fmla="*/ 15 h 587"/>
                  <a:gd name="T106" fmla="*/ 1556 w 1239"/>
                  <a:gd name="T107" fmla="*/ 12 h 587"/>
                  <a:gd name="T108" fmla="*/ 1599 w 1239"/>
                  <a:gd name="T109" fmla="*/ 6 h 587"/>
                  <a:gd name="T110" fmla="*/ 1635 w 1239"/>
                  <a:gd name="T111" fmla="*/ 5 h 587"/>
                  <a:gd name="T112" fmla="*/ 1668 w 1239"/>
                  <a:gd name="T113" fmla="*/ 0 h 587"/>
                  <a:gd name="T114" fmla="*/ 1518 w 1239"/>
                  <a:gd name="T115" fmla="*/ 5 h 5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9"/>
                  <a:gd name="T175" fmla="*/ 0 h 587"/>
                  <a:gd name="T176" fmla="*/ 1239 w 1239"/>
                  <a:gd name="T177" fmla="*/ 587 h 5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9" h="587">
                    <a:moveTo>
                      <a:pt x="1129" y="14"/>
                    </a:moveTo>
                    <a:lnTo>
                      <a:pt x="1093" y="26"/>
                    </a:lnTo>
                    <a:lnTo>
                      <a:pt x="1061" y="34"/>
                    </a:lnTo>
                    <a:lnTo>
                      <a:pt x="1029" y="46"/>
                    </a:lnTo>
                    <a:lnTo>
                      <a:pt x="997" y="60"/>
                    </a:lnTo>
                    <a:lnTo>
                      <a:pt x="965" y="74"/>
                    </a:lnTo>
                    <a:lnTo>
                      <a:pt x="933" y="86"/>
                    </a:lnTo>
                    <a:lnTo>
                      <a:pt x="901" y="100"/>
                    </a:lnTo>
                    <a:lnTo>
                      <a:pt x="873" y="114"/>
                    </a:lnTo>
                    <a:lnTo>
                      <a:pt x="841" y="125"/>
                    </a:lnTo>
                    <a:lnTo>
                      <a:pt x="814" y="140"/>
                    </a:lnTo>
                    <a:lnTo>
                      <a:pt x="782" y="151"/>
                    </a:lnTo>
                    <a:lnTo>
                      <a:pt x="750" y="165"/>
                    </a:lnTo>
                    <a:lnTo>
                      <a:pt x="722" y="179"/>
                    </a:lnTo>
                    <a:lnTo>
                      <a:pt x="690" y="194"/>
                    </a:lnTo>
                    <a:lnTo>
                      <a:pt x="668" y="208"/>
                    </a:lnTo>
                    <a:lnTo>
                      <a:pt x="636" y="219"/>
                    </a:lnTo>
                    <a:lnTo>
                      <a:pt x="608" y="234"/>
                    </a:lnTo>
                    <a:lnTo>
                      <a:pt x="585" y="251"/>
                    </a:lnTo>
                    <a:lnTo>
                      <a:pt x="553" y="262"/>
                    </a:lnTo>
                    <a:lnTo>
                      <a:pt x="530" y="276"/>
                    </a:lnTo>
                    <a:lnTo>
                      <a:pt x="498" y="288"/>
                    </a:lnTo>
                    <a:lnTo>
                      <a:pt x="476" y="302"/>
                    </a:lnTo>
                    <a:lnTo>
                      <a:pt x="448" y="316"/>
                    </a:lnTo>
                    <a:lnTo>
                      <a:pt x="430" y="330"/>
                    </a:lnTo>
                    <a:lnTo>
                      <a:pt x="403" y="342"/>
                    </a:lnTo>
                    <a:lnTo>
                      <a:pt x="380" y="356"/>
                    </a:lnTo>
                    <a:lnTo>
                      <a:pt x="352" y="367"/>
                    </a:lnTo>
                    <a:lnTo>
                      <a:pt x="329" y="382"/>
                    </a:lnTo>
                    <a:lnTo>
                      <a:pt x="311" y="393"/>
                    </a:lnTo>
                    <a:lnTo>
                      <a:pt x="288" y="404"/>
                    </a:lnTo>
                    <a:lnTo>
                      <a:pt x="270" y="416"/>
                    </a:lnTo>
                    <a:lnTo>
                      <a:pt x="247" y="430"/>
                    </a:lnTo>
                    <a:lnTo>
                      <a:pt x="224" y="441"/>
                    </a:lnTo>
                    <a:lnTo>
                      <a:pt x="206" y="450"/>
                    </a:lnTo>
                    <a:lnTo>
                      <a:pt x="192" y="461"/>
                    </a:lnTo>
                    <a:lnTo>
                      <a:pt x="174" y="473"/>
                    </a:lnTo>
                    <a:lnTo>
                      <a:pt x="160" y="484"/>
                    </a:lnTo>
                    <a:lnTo>
                      <a:pt x="142" y="493"/>
                    </a:lnTo>
                    <a:lnTo>
                      <a:pt x="128" y="504"/>
                    </a:lnTo>
                    <a:lnTo>
                      <a:pt x="115" y="513"/>
                    </a:lnTo>
                    <a:lnTo>
                      <a:pt x="96" y="518"/>
                    </a:lnTo>
                    <a:lnTo>
                      <a:pt x="87" y="530"/>
                    </a:lnTo>
                    <a:lnTo>
                      <a:pt x="73" y="535"/>
                    </a:lnTo>
                    <a:lnTo>
                      <a:pt x="60" y="541"/>
                    </a:lnTo>
                    <a:lnTo>
                      <a:pt x="51" y="550"/>
                    </a:lnTo>
                    <a:lnTo>
                      <a:pt x="41" y="555"/>
                    </a:lnTo>
                    <a:lnTo>
                      <a:pt x="32" y="561"/>
                    </a:lnTo>
                    <a:lnTo>
                      <a:pt x="23" y="567"/>
                    </a:lnTo>
                    <a:lnTo>
                      <a:pt x="14" y="575"/>
                    </a:lnTo>
                    <a:lnTo>
                      <a:pt x="5" y="581"/>
                    </a:lnTo>
                    <a:lnTo>
                      <a:pt x="0" y="584"/>
                    </a:lnTo>
                    <a:lnTo>
                      <a:pt x="0" y="587"/>
                    </a:lnTo>
                    <a:lnTo>
                      <a:pt x="0" y="584"/>
                    </a:lnTo>
                    <a:lnTo>
                      <a:pt x="14" y="581"/>
                    </a:lnTo>
                    <a:lnTo>
                      <a:pt x="23" y="575"/>
                    </a:lnTo>
                    <a:lnTo>
                      <a:pt x="41" y="564"/>
                    </a:lnTo>
                    <a:lnTo>
                      <a:pt x="51" y="555"/>
                    </a:lnTo>
                    <a:lnTo>
                      <a:pt x="64" y="550"/>
                    </a:lnTo>
                    <a:lnTo>
                      <a:pt x="73" y="541"/>
                    </a:lnTo>
                    <a:lnTo>
                      <a:pt x="92" y="535"/>
                    </a:lnTo>
                    <a:lnTo>
                      <a:pt x="105" y="524"/>
                    </a:lnTo>
                    <a:lnTo>
                      <a:pt x="119" y="518"/>
                    </a:lnTo>
                    <a:lnTo>
                      <a:pt x="137" y="507"/>
                    </a:lnTo>
                    <a:lnTo>
                      <a:pt x="156" y="498"/>
                    </a:lnTo>
                    <a:lnTo>
                      <a:pt x="174" y="490"/>
                    </a:lnTo>
                    <a:lnTo>
                      <a:pt x="192" y="481"/>
                    </a:lnTo>
                    <a:lnTo>
                      <a:pt x="211" y="470"/>
                    </a:lnTo>
                    <a:lnTo>
                      <a:pt x="238" y="461"/>
                    </a:lnTo>
                    <a:lnTo>
                      <a:pt x="256" y="450"/>
                    </a:lnTo>
                    <a:lnTo>
                      <a:pt x="275" y="439"/>
                    </a:lnTo>
                    <a:lnTo>
                      <a:pt x="302" y="427"/>
                    </a:lnTo>
                    <a:lnTo>
                      <a:pt x="325" y="416"/>
                    </a:lnTo>
                    <a:lnTo>
                      <a:pt x="343" y="404"/>
                    </a:lnTo>
                    <a:lnTo>
                      <a:pt x="371" y="393"/>
                    </a:lnTo>
                    <a:lnTo>
                      <a:pt x="393" y="382"/>
                    </a:lnTo>
                    <a:lnTo>
                      <a:pt x="421" y="370"/>
                    </a:lnTo>
                    <a:lnTo>
                      <a:pt x="448" y="356"/>
                    </a:lnTo>
                    <a:lnTo>
                      <a:pt x="476" y="347"/>
                    </a:lnTo>
                    <a:lnTo>
                      <a:pt x="494" y="333"/>
                    </a:lnTo>
                    <a:lnTo>
                      <a:pt x="526" y="322"/>
                    </a:lnTo>
                    <a:lnTo>
                      <a:pt x="549" y="310"/>
                    </a:lnTo>
                    <a:lnTo>
                      <a:pt x="576" y="299"/>
                    </a:lnTo>
                    <a:lnTo>
                      <a:pt x="604" y="285"/>
                    </a:lnTo>
                    <a:lnTo>
                      <a:pt x="631" y="273"/>
                    </a:lnTo>
                    <a:lnTo>
                      <a:pt x="654" y="262"/>
                    </a:lnTo>
                    <a:lnTo>
                      <a:pt x="681" y="251"/>
                    </a:lnTo>
                    <a:lnTo>
                      <a:pt x="709" y="236"/>
                    </a:lnTo>
                    <a:lnTo>
                      <a:pt x="741" y="228"/>
                    </a:lnTo>
                    <a:lnTo>
                      <a:pt x="759" y="214"/>
                    </a:lnTo>
                    <a:lnTo>
                      <a:pt x="786" y="202"/>
                    </a:lnTo>
                    <a:lnTo>
                      <a:pt x="814" y="188"/>
                    </a:lnTo>
                    <a:lnTo>
                      <a:pt x="841" y="179"/>
                    </a:lnTo>
                    <a:lnTo>
                      <a:pt x="864" y="165"/>
                    </a:lnTo>
                    <a:lnTo>
                      <a:pt x="892" y="154"/>
                    </a:lnTo>
                    <a:lnTo>
                      <a:pt x="910" y="142"/>
                    </a:lnTo>
                    <a:lnTo>
                      <a:pt x="937" y="134"/>
                    </a:lnTo>
                    <a:lnTo>
                      <a:pt x="960" y="123"/>
                    </a:lnTo>
                    <a:lnTo>
                      <a:pt x="983" y="111"/>
                    </a:lnTo>
                    <a:lnTo>
                      <a:pt x="1006" y="103"/>
                    </a:lnTo>
                    <a:lnTo>
                      <a:pt x="1029" y="91"/>
                    </a:lnTo>
                    <a:lnTo>
                      <a:pt x="1051" y="83"/>
                    </a:lnTo>
                    <a:lnTo>
                      <a:pt x="1070" y="74"/>
                    </a:lnTo>
                    <a:lnTo>
                      <a:pt x="1088" y="66"/>
                    </a:lnTo>
                    <a:lnTo>
                      <a:pt x="1111" y="57"/>
                    </a:lnTo>
                    <a:lnTo>
                      <a:pt x="1129" y="48"/>
                    </a:lnTo>
                    <a:lnTo>
                      <a:pt x="1143" y="40"/>
                    </a:lnTo>
                    <a:lnTo>
                      <a:pt x="1157" y="34"/>
                    </a:lnTo>
                    <a:lnTo>
                      <a:pt x="1175" y="26"/>
                    </a:lnTo>
                    <a:lnTo>
                      <a:pt x="1189" y="20"/>
                    </a:lnTo>
                    <a:lnTo>
                      <a:pt x="1202" y="14"/>
                    </a:lnTo>
                    <a:lnTo>
                      <a:pt x="1216" y="9"/>
                    </a:lnTo>
                    <a:lnTo>
                      <a:pt x="1230" y="3"/>
                    </a:lnTo>
                    <a:lnTo>
                      <a:pt x="1239" y="0"/>
                    </a:lnTo>
                    <a:lnTo>
                      <a:pt x="1129"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1" name="Freeform 155"/>
              <p:cNvSpPr>
                <a:spLocks/>
              </p:cNvSpPr>
              <p:nvPr>
                <p:custDataLst>
                  <p:tags r:id="rId65"/>
                </p:custDataLst>
              </p:nvPr>
            </p:nvSpPr>
            <p:spPr bwMode="gray">
              <a:xfrm>
                <a:off x="1799" y="813"/>
                <a:ext cx="740" cy="393"/>
              </a:xfrm>
              <a:custGeom>
                <a:avLst/>
                <a:gdLst>
                  <a:gd name="T0" fmla="*/ 787 w 722"/>
                  <a:gd name="T1" fmla="*/ 13 h 430"/>
                  <a:gd name="T2" fmla="*/ 732 w 722"/>
                  <a:gd name="T3" fmla="*/ 20 h 430"/>
                  <a:gd name="T4" fmla="*/ 682 w 722"/>
                  <a:gd name="T5" fmla="*/ 26 h 430"/>
                  <a:gd name="T6" fmla="*/ 633 w 722"/>
                  <a:gd name="T7" fmla="*/ 34 h 430"/>
                  <a:gd name="T8" fmla="*/ 589 w 722"/>
                  <a:gd name="T9" fmla="*/ 40 h 430"/>
                  <a:gd name="T10" fmla="*/ 541 w 722"/>
                  <a:gd name="T11" fmla="*/ 47 h 430"/>
                  <a:gd name="T12" fmla="*/ 496 w 722"/>
                  <a:gd name="T13" fmla="*/ 53 h 430"/>
                  <a:gd name="T14" fmla="*/ 455 w 722"/>
                  <a:gd name="T15" fmla="*/ 59 h 430"/>
                  <a:gd name="T16" fmla="*/ 412 w 722"/>
                  <a:gd name="T17" fmla="*/ 67 h 430"/>
                  <a:gd name="T18" fmla="*/ 369 w 722"/>
                  <a:gd name="T19" fmla="*/ 73 h 430"/>
                  <a:gd name="T20" fmla="*/ 325 w 722"/>
                  <a:gd name="T21" fmla="*/ 80 h 430"/>
                  <a:gd name="T22" fmla="*/ 294 w 722"/>
                  <a:gd name="T23" fmla="*/ 85 h 430"/>
                  <a:gd name="T24" fmla="*/ 258 w 722"/>
                  <a:gd name="T25" fmla="*/ 92 h 430"/>
                  <a:gd name="T26" fmla="*/ 227 w 722"/>
                  <a:gd name="T27" fmla="*/ 98 h 430"/>
                  <a:gd name="T28" fmla="*/ 192 w 722"/>
                  <a:gd name="T29" fmla="*/ 103 h 430"/>
                  <a:gd name="T30" fmla="*/ 159 w 722"/>
                  <a:gd name="T31" fmla="*/ 110 h 430"/>
                  <a:gd name="T32" fmla="*/ 135 w 722"/>
                  <a:gd name="T33" fmla="*/ 115 h 430"/>
                  <a:gd name="T34" fmla="*/ 108 w 722"/>
                  <a:gd name="T35" fmla="*/ 120 h 430"/>
                  <a:gd name="T36" fmla="*/ 88 w 722"/>
                  <a:gd name="T37" fmla="*/ 122 h 430"/>
                  <a:gd name="T38" fmla="*/ 63 w 722"/>
                  <a:gd name="T39" fmla="*/ 127 h 430"/>
                  <a:gd name="T40" fmla="*/ 44 w 722"/>
                  <a:gd name="T41" fmla="*/ 133 h 430"/>
                  <a:gd name="T42" fmla="*/ 14 w 722"/>
                  <a:gd name="T43" fmla="*/ 139 h 430"/>
                  <a:gd name="T44" fmla="*/ 0 w 722"/>
                  <a:gd name="T45" fmla="*/ 144 h 430"/>
                  <a:gd name="T46" fmla="*/ 4 w 722"/>
                  <a:gd name="T47" fmla="*/ 145 h 430"/>
                  <a:gd name="T48" fmla="*/ 18 w 722"/>
                  <a:gd name="T49" fmla="*/ 142 h 430"/>
                  <a:gd name="T50" fmla="*/ 58 w 722"/>
                  <a:gd name="T51" fmla="*/ 138 h 430"/>
                  <a:gd name="T52" fmla="*/ 97 w 722"/>
                  <a:gd name="T53" fmla="*/ 133 h 430"/>
                  <a:gd name="T54" fmla="*/ 122 w 722"/>
                  <a:gd name="T55" fmla="*/ 129 h 430"/>
                  <a:gd name="T56" fmla="*/ 159 w 722"/>
                  <a:gd name="T57" fmla="*/ 126 h 430"/>
                  <a:gd name="T58" fmla="*/ 183 w 722"/>
                  <a:gd name="T59" fmla="*/ 121 h 430"/>
                  <a:gd name="T60" fmla="*/ 214 w 722"/>
                  <a:gd name="T61" fmla="*/ 115 h 430"/>
                  <a:gd name="T62" fmla="*/ 252 w 722"/>
                  <a:gd name="T63" fmla="*/ 109 h 430"/>
                  <a:gd name="T64" fmla="*/ 294 w 722"/>
                  <a:gd name="T65" fmla="*/ 102 h 430"/>
                  <a:gd name="T66" fmla="*/ 325 w 722"/>
                  <a:gd name="T67" fmla="*/ 97 h 430"/>
                  <a:gd name="T68" fmla="*/ 369 w 722"/>
                  <a:gd name="T69" fmla="*/ 92 h 430"/>
                  <a:gd name="T70" fmla="*/ 412 w 722"/>
                  <a:gd name="T71" fmla="*/ 84 h 430"/>
                  <a:gd name="T72" fmla="*/ 455 w 722"/>
                  <a:gd name="T73" fmla="*/ 78 h 430"/>
                  <a:gd name="T74" fmla="*/ 492 w 722"/>
                  <a:gd name="T75" fmla="*/ 71 h 430"/>
                  <a:gd name="T76" fmla="*/ 534 w 722"/>
                  <a:gd name="T77" fmla="*/ 65 h 430"/>
                  <a:gd name="T78" fmla="*/ 578 w 722"/>
                  <a:gd name="T79" fmla="*/ 59 h 430"/>
                  <a:gd name="T80" fmla="*/ 621 w 722"/>
                  <a:gd name="T81" fmla="*/ 53 h 430"/>
                  <a:gd name="T82" fmla="*/ 656 w 722"/>
                  <a:gd name="T83" fmla="*/ 47 h 430"/>
                  <a:gd name="T84" fmla="*/ 694 w 722"/>
                  <a:gd name="T85" fmla="*/ 40 h 430"/>
                  <a:gd name="T86" fmla="*/ 736 w 722"/>
                  <a:gd name="T87" fmla="*/ 34 h 430"/>
                  <a:gd name="T88" fmla="*/ 773 w 722"/>
                  <a:gd name="T89" fmla="*/ 28 h 430"/>
                  <a:gd name="T90" fmla="*/ 810 w 722"/>
                  <a:gd name="T91" fmla="*/ 24 h 430"/>
                  <a:gd name="T92" fmla="*/ 841 w 722"/>
                  <a:gd name="T93" fmla="*/ 18 h 430"/>
                  <a:gd name="T94" fmla="*/ 877 w 722"/>
                  <a:gd name="T95" fmla="*/ 14 h 430"/>
                  <a:gd name="T96" fmla="*/ 910 w 722"/>
                  <a:gd name="T97" fmla="*/ 9 h 430"/>
                  <a:gd name="T98" fmla="*/ 935 w 722"/>
                  <a:gd name="T99" fmla="*/ 5 h 430"/>
                  <a:gd name="T100" fmla="*/ 969 w 722"/>
                  <a:gd name="T101" fmla="*/ 0 h 430"/>
                  <a:gd name="T102" fmla="*/ 810 w 722"/>
                  <a:gd name="T103" fmla="*/ 11 h 4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2"/>
                  <a:gd name="T157" fmla="*/ 0 h 430"/>
                  <a:gd name="T158" fmla="*/ 722 w 722"/>
                  <a:gd name="T159" fmla="*/ 430 h 4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2" h="430">
                    <a:moveTo>
                      <a:pt x="603" y="29"/>
                    </a:moveTo>
                    <a:lnTo>
                      <a:pt x="585" y="37"/>
                    </a:lnTo>
                    <a:lnTo>
                      <a:pt x="567" y="46"/>
                    </a:lnTo>
                    <a:lnTo>
                      <a:pt x="544" y="57"/>
                    </a:lnTo>
                    <a:lnTo>
                      <a:pt x="525" y="66"/>
                    </a:lnTo>
                    <a:lnTo>
                      <a:pt x="507" y="77"/>
                    </a:lnTo>
                    <a:lnTo>
                      <a:pt x="489" y="89"/>
                    </a:lnTo>
                    <a:lnTo>
                      <a:pt x="471" y="97"/>
                    </a:lnTo>
                    <a:lnTo>
                      <a:pt x="457" y="109"/>
                    </a:lnTo>
                    <a:lnTo>
                      <a:pt x="439" y="117"/>
                    </a:lnTo>
                    <a:lnTo>
                      <a:pt x="420" y="129"/>
                    </a:lnTo>
                    <a:lnTo>
                      <a:pt x="402" y="137"/>
                    </a:lnTo>
                    <a:lnTo>
                      <a:pt x="388" y="148"/>
                    </a:lnTo>
                    <a:lnTo>
                      <a:pt x="370" y="157"/>
                    </a:lnTo>
                    <a:lnTo>
                      <a:pt x="352" y="168"/>
                    </a:lnTo>
                    <a:lnTo>
                      <a:pt x="338" y="177"/>
                    </a:lnTo>
                    <a:lnTo>
                      <a:pt x="320" y="188"/>
                    </a:lnTo>
                    <a:lnTo>
                      <a:pt x="306" y="197"/>
                    </a:lnTo>
                    <a:lnTo>
                      <a:pt x="288" y="205"/>
                    </a:lnTo>
                    <a:lnTo>
                      <a:pt x="274" y="217"/>
                    </a:lnTo>
                    <a:lnTo>
                      <a:pt x="260" y="225"/>
                    </a:lnTo>
                    <a:lnTo>
                      <a:pt x="242" y="234"/>
                    </a:lnTo>
                    <a:lnTo>
                      <a:pt x="233" y="242"/>
                    </a:lnTo>
                    <a:lnTo>
                      <a:pt x="219" y="254"/>
                    </a:lnTo>
                    <a:lnTo>
                      <a:pt x="206" y="262"/>
                    </a:lnTo>
                    <a:lnTo>
                      <a:pt x="192" y="271"/>
                    </a:lnTo>
                    <a:lnTo>
                      <a:pt x="178" y="279"/>
                    </a:lnTo>
                    <a:lnTo>
                      <a:pt x="169" y="288"/>
                    </a:lnTo>
                    <a:lnTo>
                      <a:pt x="155" y="297"/>
                    </a:lnTo>
                    <a:lnTo>
                      <a:pt x="142" y="305"/>
                    </a:lnTo>
                    <a:lnTo>
                      <a:pt x="132" y="314"/>
                    </a:lnTo>
                    <a:lnTo>
                      <a:pt x="119" y="322"/>
                    </a:lnTo>
                    <a:lnTo>
                      <a:pt x="114" y="331"/>
                    </a:lnTo>
                    <a:lnTo>
                      <a:pt x="100" y="336"/>
                    </a:lnTo>
                    <a:lnTo>
                      <a:pt x="91" y="345"/>
                    </a:lnTo>
                    <a:lnTo>
                      <a:pt x="82" y="351"/>
                    </a:lnTo>
                    <a:lnTo>
                      <a:pt x="73" y="356"/>
                    </a:lnTo>
                    <a:lnTo>
                      <a:pt x="64" y="362"/>
                    </a:lnTo>
                    <a:lnTo>
                      <a:pt x="55" y="368"/>
                    </a:lnTo>
                    <a:lnTo>
                      <a:pt x="50" y="376"/>
                    </a:lnTo>
                    <a:lnTo>
                      <a:pt x="46" y="382"/>
                    </a:lnTo>
                    <a:lnTo>
                      <a:pt x="32" y="391"/>
                    </a:lnTo>
                    <a:lnTo>
                      <a:pt x="18" y="402"/>
                    </a:lnTo>
                    <a:lnTo>
                      <a:pt x="14" y="408"/>
                    </a:lnTo>
                    <a:lnTo>
                      <a:pt x="4" y="416"/>
                    </a:lnTo>
                    <a:lnTo>
                      <a:pt x="0" y="425"/>
                    </a:lnTo>
                    <a:lnTo>
                      <a:pt x="0" y="430"/>
                    </a:lnTo>
                    <a:lnTo>
                      <a:pt x="4" y="428"/>
                    </a:lnTo>
                    <a:lnTo>
                      <a:pt x="14" y="425"/>
                    </a:lnTo>
                    <a:lnTo>
                      <a:pt x="18" y="419"/>
                    </a:lnTo>
                    <a:lnTo>
                      <a:pt x="36" y="413"/>
                    </a:lnTo>
                    <a:lnTo>
                      <a:pt x="46" y="405"/>
                    </a:lnTo>
                    <a:lnTo>
                      <a:pt x="64" y="396"/>
                    </a:lnTo>
                    <a:lnTo>
                      <a:pt x="73" y="391"/>
                    </a:lnTo>
                    <a:lnTo>
                      <a:pt x="82" y="385"/>
                    </a:lnTo>
                    <a:lnTo>
                      <a:pt x="91" y="379"/>
                    </a:lnTo>
                    <a:lnTo>
                      <a:pt x="105" y="373"/>
                    </a:lnTo>
                    <a:lnTo>
                      <a:pt x="119" y="368"/>
                    </a:lnTo>
                    <a:lnTo>
                      <a:pt x="128" y="356"/>
                    </a:lnTo>
                    <a:lnTo>
                      <a:pt x="137" y="353"/>
                    </a:lnTo>
                    <a:lnTo>
                      <a:pt x="151" y="345"/>
                    </a:lnTo>
                    <a:lnTo>
                      <a:pt x="160" y="336"/>
                    </a:lnTo>
                    <a:lnTo>
                      <a:pt x="174" y="328"/>
                    </a:lnTo>
                    <a:lnTo>
                      <a:pt x="187" y="319"/>
                    </a:lnTo>
                    <a:lnTo>
                      <a:pt x="206" y="314"/>
                    </a:lnTo>
                    <a:lnTo>
                      <a:pt x="219" y="302"/>
                    </a:lnTo>
                    <a:lnTo>
                      <a:pt x="233" y="297"/>
                    </a:lnTo>
                    <a:lnTo>
                      <a:pt x="242" y="285"/>
                    </a:lnTo>
                    <a:lnTo>
                      <a:pt x="260" y="277"/>
                    </a:lnTo>
                    <a:lnTo>
                      <a:pt x="274" y="268"/>
                    </a:lnTo>
                    <a:lnTo>
                      <a:pt x="292" y="260"/>
                    </a:lnTo>
                    <a:lnTo>
                      <a:pt x="306" y="248"/>
                    </a:lnTo>
                    <a:lnTo>
                      <a:pt x="320" y="240"/>
                    </a:lnTo>
                    <a:lnTo>
                      <a:pt x="338" y="228"/>
                    </a:lnTo>
                    <a:lnTo>
                      <a:pt x="352" y="220"/>
                    </a:lnTo>
                    <a:lnTo>
                      <a:pt x="366" y="211"/>
                    </a:lnTo>
                    <a:lnTo>
                      <a:pt x="384" y="205"/>
                    </a:lnTo>
                    <a:lnTo>
                      <a:pt x="398" y="194"/>
                    </a:lnTo>
                    <a:lnTo>
                      <a:pt x="416" y="185"/>
                    </a:lnTo>
                    <a:lnTo>
                      <a:pt x="430" y="174"/>
                    </a:lnTo>
                    <a:lnTo>
                      <a:pt x="448" y="166"/>
                    </a:lnTo>
                    <a:lnTo>
                      <a:pt x="462" y="154"/>
                    </a:lnTo>
                    <a:lnTo>
                      <a:pt x="480" y="146"/>
                    </a:lnTo>
                    <a:lnTo>
                      <a:pt x="489" y="137"/>
                    </a:lnTo>
                    <a:lnTo>
                      <a:pt x="507" y="129"/>
                    </a:lnTo>
                    <a:lnTo>
                      <a:pt x="516" y="117"/>
                    </a:lnTo>
                    <a:lnTo>
                      <a:pt x="535" y="109"/>
                    </a:lnTo>
                    <a:lnTo>
                      <a:pt x="548" y="100"/>
                    </a:lnTo>
                    <a:lnTo>
                      <a:pt x="567" y="94"/>
                    </a:lnTo>
                    <a:lnTo>
                      <a:pt x="576" y="83"/>
                    </a:lnTo>
                    <a:lnTo>
                      <a:pt x="589" y="77"/>
                    </a:lnTo>
                    <a:lnTo>
                      <a:pt x="603" y="69"/>
                    </a:lnTo>
                    <a:lnTo>
                      <a:pt x="617" y="60"/>
                    </a:lnTo>
                    <a:lnTo>
                      <a:pt x="626" y="54"/>
                    </a:lnTo>
                    <a:lnTo>
                      <a:pt x="640" y="46"/>
                    </a:lnTo>
                    <a:lnTo>
                      <a:pt x="653" y="40"/>
                    </a:lnTo>
                    <a:lnTo>
                      <a:pt x="663" y="35"/>
                    </a:lnTo>
                    <a:lnTo>
                      <a:pt x="676" y="26"/>
                    </a:lnTo>
                    <a:lnTo>
                      <a:pt x="685" y="20"/>
                    </a:lnTo>
                    <a:lnTo>
                      <a:pt x="695" y="12"/>
                    </a:lnTo>
                    <a:lnTo>
                      <a:pt x="704" y="9"/>
                    </a:lnTo>
                    <a:lnTo>
                      <a:pt x="722" y="0"/>
                    </a:lnTo>
                    <a:lnTo>
                      <a:pt x="603" y="2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2" name="Freeform 156"/>
              <p:cNvSpPr>
                <a:spLocks/>
              </p:cNvSpPr>
              <p:nvPr>
                <p:custDataLst>
                  <p:tags r:id="rId66"/>
                </p:custDataLst>
              </p:nvPr>
            </p:nvSpPr>
            <p:spPr bwMode="gray">
              <a:xfrm>
                <a:off x="2900" y="679"/>
                <a:ext cx="1128" cy="487"/>
              </a:xfrm>
              <a:custGeom>
                <a:avLst/>
                <a:gdLst>
                  <a:gd name="T0" fmla="*/ 225 w 1101"/>
                  <a:gd name="T1" fmla="*/ 18 h 533"/>
                  <a:gd name="T2" fmla="*/ 318 w 1101"/>
                  <a:gd name="T3" fmla="*/ 28 h 533"/>
                  <a:gd name="T4" fmla="*/ 416 w 1101"/>
                  <a:gd name="T5" fmla="*/ 38 h 533"/>
                  <a:gd name="T6" fmla="*/ 507 w 1101"/>
                  <a:gd name="T7" fmla="*/ 48 h 533"/>
                  <a:gd name="T8" fmla="*/ 604 w 1101"/>
                  <a:gd name="T9" fmla="*/ 60 h 533"/>
                  <a:gd name="T10" fmla="*/ 703 w 1101"/>
                  <a:gd name="T11" fmla="*/ 72 h 533"/>
                  <a:gd name="T12" fmla="*/ 795 w 1101"/>
                  <a:gd name="T13" fmla="*/ 84 h 533"/>
                  <a:gd name="T14" fmla="*/ 881 w 1101"/>
                  <a:gd name="T15" fmla="*/ 94 h 533"/>
                  <a:gd name="T16" fmla="*/ 958 w 1101"/>
                  <a:gd name="T17" fmla="*/ 105 h 533"/>
                  <a:gd name="T18" fmla="*/ 1045 w 1101"/>
                  <a:gd name="T19" fmla="*/ 117 h 533"/>
                  <a:gd name="T20" fmla="*/ 1125 w 1101"/>
                  <a:gd name="T21" fmla="*/ 127 h 533"/>
                  <a:gd name="T22" fmla="*/ 1192 w 1101"/>
                  <a:gd name="T23" fmla="*/ 137 h 533"/>
                  <a:gd name="T24" fmla="*/ 1254 w 1101"/>
                  <a:gd name="T25" fmla="*/ 145 h 533"/>
                  <a:gd name="T26" fmla="*/ 1314 w 1101"/>
                  <a:gd name="T27" fmla="*/ 154 h 533"/>
                  <a:gd name="T28" fmla="*/ 1369 w 1101"/>
                  <a:gd name="T29" fmla="*/ 162 h 533"/>
                  <a:gd name="T30" fmla="*/ 1406 w 1101"/>
                  <a:gd name="T31" fmla="*/ 169 h 533"/>
                  <a:gd name="T32" fmla="*/ 1455 w 1101"/>
                  <a:gd name="T33" fmla="*/ 176 h 533"/>
                  <a:gd name="T34" fmla="*/ 1472 w 1101"/>
                  <a:gd name="T35" fmla="*/ 181 h 533"/>
                  <a:gd name="T36" fmla="*/ 1442 w 1101"/>
                  <a:gd name="T37" fmla="*/ 177 h 533"/>
                  <a:gd name="T38" fmla="*/ 1413 w 1101"/>
                  <a:gd name="T39" fmla="*/ 172 h 533"/>
                  <a:gd name="T40" fmla="*/ 1364 w 1101"/>
                  <a:gd name="T41" fmla="*/ 166 h 533"/>
                  <a:gd name="T42" fmla="*/ 1301 w 1101"/>
                  <a:gd name="T43" fmla="*/ 160 h 533"/>
                  <a:gd name="T44" fmla="*/ 1241 w 1101"/>
                  <a:gd name="T45" fmla="*/ 152 h 533"/>
                  <a:gd name="T46" fmla="*/ 1167 w 1101"/>
                  <a:gd name="T47" fmla="*/ 143 h 533"/>
                  <a:gd name="T48" fmla="*/ 1086 w 1101"/>
                  <a:gd name="T49" fmla="*/ 132 h 533"/>
                  <a:gd name="T50" fmla="*/ 1001 w 1101"/>
                  <a:gd name="T51" fmla="*/ 123 h 533"/>
                  <a:gd name="T52" fmla="*/ 911 w 1101"/>
                  <a:gd name="T53" fmla="*/ 112 h 533"/>
                  <a:gd name="T54" fmla="*/ 813 w 1101"/>
                  <a:gd name="T55" fmla="*/ 101 h 533"/>
                  <a:gd name="T56" fmla="*/ 721 w 1101"/>
                  <a:gd name="T57" fmla="*/ 92 h 533"/>
                  <a:gd name="T58" fmla="*/ 624 w 1101"/>
                  <a:gd name="T59" fmla="*/ 80 h 533"/>
                  <a:gd name="T60" fmla="*/ 538 w 1101"/>
                  <a:gd name="T61" fmla="*/ 69 h 533"/>
                  <a:gd name="T62" fmla="*/ 446 w 1101"/>
                  <a:gd name="T63" fmla="*/ 58 h 533"/>
                  <a:gd name="T64" fmla="*/ 361 w 1101"/>
                  <a:gd name="T65" fmla="*/ 48 h 533"/>
                  <a:gd name="T66" fmla="*/ 281 w 1101"/>
                  <a:gd name="T67" fmla="*/ 37 h 533"/>
                  <a:gd name="T68" fmla="*/ 207 w 1101"/>
                  <a:gd name="T69" fmla="*/ 31 h 533"/>
                  <a:gd name="T70" fmla="*/ 141 w 1101"/>
                  <a:gd name="T71" fmla="*/ 22 h 533"/>
                  <a:gd name="T72" fmla="*/ 92 w 1101"/>
                  <a:gd name="T73" fmla="*/ 15 h 533"/>
                  <a:gd name="T74" fmla="*/ 44 w 1101"/>
                  <a:gd name="T75" fmla="*/ 8 h 533"/>
                  <a:gd name="T76" fmla="*/ 9 w 1101"/>
                  <a:gd name="T77" fmla="*/ 5 h 533"/>
                  <a:gd name="T78" fmla="*/ 0 w 1101"/>
                  <a:gd name="T79" fmla="*/ 0 h 533"/>
                  <a:gd name="T80" fmla="*/ 39 w 1101"/>
                  <a:gd name="T81" fmla="*/ 3 h 533"/>
                  <a:gd name="T82" fmla="*/ 92 w 1101"/>
                  <a:gd name="T83" fmla="*/ 5 h 533"/>
                  <a:gd name="T84" fmla="*/ 135 w 1101"/>
                  <a:gd name="T85" fmla="*/ 10 h 533"/>
                  <a:gd name="T86" fmla="*/ 164 w 1101"/>
                  <a:gd name="T87" fmla="*/ 13 h 5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01"/>
                  <a:gd name="T133" fmla="*/ 0 h 533"/>
                  <a:gd name="T134" fmla="*/ 1101 w 1101"/>
                  <a:gd name="T135" fmla="*/ 533 h 5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01" h="533">
                    <a:moveTo>
                      <a:pt x="128" y="37"/>
                    </a:moveTo>
                    <a:lnTo>
                      <a:pt x="151" y="46"/>
                    </a:lnTo>
                    <a:lnTo>
                      <a:pt x="169" y="54"/>
                    </a:lnTo>
                    <a:lnTo>
                      <a:pt x="192" y="63"/>
                    </a:lnTo>
                    <a:lnTo>
                      <a:pt x="215" y="74"/>
                    </a:lnTo>
                    <a:lnTo>
                      <a:pt x="238" y="83"/>
                    </a:lnTo>
                    <a:lnTo>
                      <a:pt x="265" y="91"/>
                    </a:lnTo>
                    <a:lnTo>
                      <a:pt x="283" y="103"/>
                    </a:lnTo>
                    <a:lnTo>
                      <a:pt x="311" y="114"/>
                    </a:lnTo>
                    <a:lnTo>
                      <a:pt x="334" y="126"/>
                    </a:lnTo>
                    <a:lnTo>
                      <a:pt x="352" y="137"/>
                    </a:lnTo>
                    <a:lnTo>
                      <a:pt x="379" y="146"/>
                    </a:lnTo>
                    <a:lnTo>
                      <a:pt x="407" y="157"/>
                    </a:lnTo>
                    <a:lnTo>
                      <a:pt x="425" y="165"/>
                    </a:lnTo>
                    <a:lnTo>
                      <a:pt x="452" y="180"/>
                    </a:lnTo>
                    <a:lnTo>
                      <a:pt x="475" y="191"/>
                    </a:lnTo>
                    <a:lnTo>
                      <a:pt x="503" y="202"/>
                    </a:lnTo>
                    <a:lnTo>
                      <a:pt x="525" y="214"/>
                    </a:lnTo>
                    <a:lnTo>
                      <a:pt x="548" y="222"/>
                    </a:lnTo>
                    <a:lnTo>
                      <a:pt x="571" y="237"/>
                    </a:lnTo>
                    <a:lnTo>
                      <a:pt x="594" y="245"/>
                    </a:lnTo>
                    <a:lnTo>
                      <a:pt x="612" y="257"/>
                    </a:lnTo>
                    <a:lnTo>
                      <a:pt x="635" y="268"/>
                    </a:lnTo>
                    <a:lnTo>
                      <a:pt x="658" y="279"/>
                    </a:lnTo>
                    <a:lnTo>
                      <a:pt x="681" y="291"/>
                    </a:lnTo>
                    <a:lnTo>
                      <a:pt x="699" y="299"/>
                    </a:lnTo>
                    <a:lnTo>
                      <a:pt x="717" y="311"/>
                    </a:lnTo>
                    <a:lnTo>
                      <a:pt x="740" y="322"/>
                    </a:lnTo>
                    <a:lnTo>
                      <a:pt x="763" y="333"/>
                    </a:lnTo>
                    <a:lnTo>
                      <a:pt x="781" y="345"/>
                    </a:lnTo>
                    <a:lnTo>
                      <a:pt x="800" y="353"/>
                    </a:lnTo>
                    <a:lnTo>
                      <a:pt x="823" y="365"/>
                    </a:lnTo>
                    <a:lnTo>
                      <a:pt x="841" y="376"/>
                    </a:lnTo>
                    <a:lnTo>
                      <a:pt x="859" y="385"/>
                    </a:lnTo>
                    <a:lnTo>
                      <a:pt x="877" y="393"/>
                    </a:lnTo>
                    <a:lnTo>
                      <a:pt x="891" y="405"/>
                    </a:lnTo>
                    <a:lnTo>
                      <a:pt x="909" y="413"/>
                    </a:lnTo>
                    <a:lnTo>
                      <a:pt x="923" y="422"/>
                    </a:lnTo>
                    <a:lnTo>
                      <a:pt x="937" y="430"/>
                    </a:lnTo>
                    <a:lnTo>
                      <a:pt x="955" y="439"/>
                    </a:lnTo>
                    <a:lnTo>
                      <a:pt x="969" y="450"/>
                    </a:lnTo>
                    <a:lnTo>
                      <a:pt x="982" y="456"/>
                    </a:lnTo>
                    <a:lnTo>
                      <a:pt x="996" y="464"/>
                    </a:lnTo>
                    <a:lnTo>
                      <a:pt x="1010" y="473"/>
                    </a:lnTo>
                    <a:lnTo>
                      <a:pt x="1024" y="479"/>
                    </a:lnTo>
                    <a:lnTo>
                      <a:pt x="1028" y="484"/>
                    </a:lnTo>
                    <a:lnTo>
                      <a:pt x="1042" y="493"/>
                    </a:lnTo>
                    <a:lnTo>
                      <a:pt x="1051" y="499"/>
                    </a:lnTo>
                    <a:lnTo>
                      <a:pt x="1060" y="504"/>
                    </a:lnTo>
                    <a:lnTo>
                      <a:pt x="1078" y="516"/>
                    </a:lnTo>
                    <a:lnTo>
                      <a:pt x="1088" y="521"/>
                    </a:lnTo>
                    <a:lnTo>
                      <a:pt x="1097" y="527"/>
                    </a:lnTo>
                    <a:lnTo>
                      <a:pt x="1101" y="530"/>
                    </a:lnTo>
                    <a:lnTo>
                      <a:pt x="1101" y="533"/>
                    </a:lnTo>
                    <a:lnTo>
                      <a:pt x="1097" y="533"/>
                    </a:lnTo>
                    <a:lnTo>
                      <a:pt x="1092" y="527"/>
                    </a:lnTo>
                    <a:lnTo>
                      <a:pt x="1078" y="524"/>
                    </a:lnTo>
                    <a:lnTo>
                      <a:pt x="1074" y="521"/>
                    </a:lnTo>
                    <a:lnTo>
                      <a:pt x="1065" y="516"/>
                    </a:lnTo>
                    <a:lnTo>
                      <a:pt x="1056" y="510"/>
                    </a:lnTo>
                    <a:lnTo>
                      <a:pt x="1042" y="504"/>
                    </a:lnTo>
                    <a:lnTo>
                      <a:pt x="1033" y="501"/>
                    </a:lnTo>
                    <a:lnTo>
                      <a:pt x="1019" y="493"/>
                    </a:lnTo>
                    <a:lnTo>
                      <a:pt x="1005" y="487"/>
                    </a:lnTo>
                    <a:lnTo>
                      <a:pt x="992" y="482"/>
                    </a:lnTo>
                    <a:lnTo>
                      <a:pt x="973" y="473"/>
                    </a:lnTo>
                    <a:lnTo>
                      <a:pt x="960" y="467"/>
                    </a:lnTo>
                    <a:lnTo>
                      <a:pt x="941" y="459"/>
                    </a:lnTo>
                    <a:lnTo>
                      <a:pt x="928" y="450"/>
                    </a:lnTo>
                    <a:lnTo>
                      <a:pt x="909" y="442"/>
                    </a:lnTo>
                    <a:lnTo>
                      <a:pt x="891" y="433"/>
                    </a:lnTo>
                    <a:lnTo>
                      <a:pt x="873" y="425"/>
                    </a:lnTo>
                    <a:lnTo>
                      <a:pt x="855" y="416"/>
                    </a:lnTo>
                    <a:lnTo>
                      <a:pt x="832" y="405"/>
                    </a:lnTo>
                    <a:lnTo>
                      <a:pt x="813" y="393"/>
                    </a:lnTo>
                    <a:lnTo>
                      <a:pt x="791" y="385"/>
                    </a:lnTo>
                    <a:lnTo>
                      <a:pt x="768" y="376"/>
                    </a:lnTo>
                    <a:lnTo>
                      <a:pt x="749" y="365"/>
                    </a:lnTo>
                    <a:lnTo>
                      <a:pt x="722" y="353"/>
                    </a:lnTo>
                    <a:lnTo>
                      <a:pt x="699" y="342"/>
                    </a:lnTo>
                    <a:lnTo>
                      <a:pt x="681" y="333"/>
                    </a:lnTo>
                    <a:lnTo>
                      <a:pt x="658" y="322"/>
                    </a:lnTo>
                    <a:lnTo>
                      <a:pt x="631" y="311"/>
                    </a:lnTo>
                    <a:lnTo>
                      <a:pt x="608" y="299"/>
                    </a:lnTo>
                    <a:lnTo>
                      <a:pt x="589" y="291"/>
                    </a:lnTo>
                    <a:lnTo>
                      <a:pt x="562" y="279"/>
                    </a:lnTo>
                    <a:lnTo>
                      <a:pt x="539" y="268"/>
                    </a:lnTo>
                    <a:lnTo>
                      <a:pt x="516" y="257"/>
                    </a:lnTo>
                    <a:lnTo>
                      <a:pt x="493" y="248"/>
                    </a:lnTo>
                    <a:lnTo>
                      <a:pt x="466" y="237"/>
                    </a:lnTo>
                    <a:lnTo>
                      <a:pt x="443" y="225"/>
                    </a:lnTo>
                    <a:lnTo>
                      <a:pt x="425" y="214"/>
                    </a:lnTo>
                    <a:lnTo>
                      <a:pt x="402" y="202"/>
                    </a:lnTo>
                    <a:lnTo>
                      <a:pt x="375" y="194"/>
                    </a:lnTo>
                    <a:lnTo>
                      <a:pt x="352" y="183"/>
                    </a:lnTo>
                    <a:lnTo>
                      <a:pt x="334" y="171"/>
                    </a:lnTo>
                    <a:lnTo>
                      <a:pt x="315" y="160"/>
                    </a:lnTo>
                    <a:lnTo>
                      <a:pt x="292" y="151"/>
                    </a:lnTo>
                    <a:lnTo>
                      <a:pt x="270" y="140"/>
                    </a:lnTo>
                    <a:lnTo>
                      <a:pt x="247" y="128"/>
                    </a:lnTo>
                    <a:lnTo>
                      <a:pt x="228" y="123"/>
                    </a:lnTo>
                    <a:lnTo>
                      <a:pt x="210" y="111"/>
                    </a:lnTo>
                    <a:lnTo>
                      <a:pt x="187" y="103"/>
                    </a:lnTo>
                    <a:lnTo>
                      <a:pt x="174" y="94"/>
                    </a:lnTo>
                    <a:lnTo>
                      <a:pt x="155" y="89"/>
                    </a:lnTo>
                    <a:lnTo>
                      <a:pt x="142" y="77"/>
                    </a:lnTo>
                    <a:lnTo>
                      <a:pt x="123" y="69"/>
                    </a:lnTo>
                    <a:lnTo>
                      <a:pt x="105" y="63"/>
                    </a:lnTo>
                    <a:lnTo>
                      <a:pt x="96" y="54"/>
                    </a:lnTo>
                    <a:lnTo>
                      <a:pt x="78" y="49"/>
                    </a:lnTo>
                    <a:lnTo>
                      <a:pt x="68" y="43"/>
                    </a:lnTo>
                    <a:lnTo>
                      <a:pt x="59" y="34"/>
                    </a:lnTo>
                    <a:lnTo>
                      <a:pt x="46" y="32"/>
                    </a:lnTo>
                    <a:lnTo>
                      <a:pt x="32" y="23"/>
                    </a:lnTo>
                    <a:lnTo>
                      <a:pt x="27" y="20"/>
                    </a:lnTo>
                    <a:lnTo>
                      <a:pt x="18" y="17"/>
                    </a:lnTo>
                    <a:lnTo>
                      <a:pt x="9" y="12"/>
                    </a:lnTo>
                    <a:lnTo>
                      <a:pt x="4" y="9"/>
                    </a:lnTo>
                    <a:lnTo>
                      <a:pt x="0" y="3"/>
                    </a:lnTo>
                    <a:lnTo>
                      <a:pt x="0" y="0"/>
                    </a:lnTo>
                    <a:lnTo>
                      <a:pt x="9" y="0"/>
                    </a:lnTo>
                    <a:lnTo>
                      <a:pt x="18" y="0"/>
                    </a:lnTo>
                    <a:lnTo>
                      <a:pt x="27" y="3"/>
                    </a:lnTo>
                    <a:lnTo>
                      <a:pt x="46" y="6"/>
                    </a:lnTo>
                    <a:lnTo>
                      <a:pt x="59" y="12"/>
                    </a:lnTo>
                    <a:lnTo>
                      <a:pt x="68" y="15"/>
                    </a:lnTo>
                    <a:lnTo>
                      <a:pt x="78" y="20"/>
                    </a:lnTo>
                    <a:lnTo>
                      <a:pt x="91" y="23"/>
                    </a:lnTo>
                    <a:lnTo>
                      <a:pt x="100" y="29"/>
                    </a:lnTo>
                    <a:lnTo>
                      <a:pt x="114" y="32"/>
                    </a:lnTo>
                    <a:lnTo>
                      <a:pt x="119" y="34"/>
                    </a:lnTo>
                    <a:lnTo>
                      <a:pt x="123" y="37"/>
                    </a:lnTo>
                    <a:lnTo>
                      <a:pt x="128"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3" name="Freeform 157"/>
              <p:cNvSpPr>
                <a:spLocks/>
              </p:cNvSpPr>
              <p:nvPr>
                <p:custDataLst>
                  <p:tags r:id="rId67"/>
                </p:custDataLst>
              </p:nvPr>
            </p:nvSpPr>
            <p:spPr bwMode="gray">
              <a:xfrm>
                <a:off x="1476" y="993"/>
                <a:ext cx="2230" cy="143"/>
              </a:xfrm>
              <a:custGeom>
                <a:avLst/>
                <a:gdLst>
                  <a:gd name="T0" fmla="*/ 338 w 2175"/>
                  <a:gd name="T1" fmla="*/ 19 h 156"/>
                  <a:gd name="T2" fmla="*/ 559 w 2175"/>
                  <a:gd name="T3" fmla="*/ 28 h 156"/>
                  <a:gd name="T4" fmla="*/ 776 w 2175"/>
                  <a:gd name="T5" fmla="*/ 37 h 156"/>
                  <a:gd name="T6" fmla="*/ 994 w 2175"/>
                  <a:gd name="T7" fmla="*/ 42 h 156"/>
                  <a:gd name="T8" fmla="*/ 1195 w 2175"/>
                  <a:gd name="T9" fmla="*/ 47 h 156"/>
                  <a:gd name="T10" fmla="*/ 1400 w 2175"/>
                  <a:gd name="T11" fmla="*/ 51 h 156"/>
                  <a:gd name="T12" fmla="*/ 1591 w 2175"/>
                  <a:gd name="T13" fmla="*/ 53 h 156"/>
                  <a:gd name="T14" fmla="*/ 1762 w 2175"/>
                  <a:gd name="T15" fmla="*/ 56 h 156"/>
                  <a:gd name="T16" fmla="*/ 1935 w 2175"/>
                  <a:gd name="T17" fmla="*/ 56 h 156"/>
                  <a:gd name="T18" fmla="*/ 2094 w 2175"/>
                  <a:gd name="T19" fmla="*/ 56 h 156"/>
                  <a:gd name="T20" fmla="*/ 2249 w 2175"/>
                  <a:gd name="T21" fmla="*/ 56 h 156"/>
                  <a:gd name="T22" fmla="*/ 2386 w 2175"/>
                  <a:gd name="T23" fmla="*/ 52 h 156"/>
                  <a:gd name="T24" fmla="*/ 2503 w 2175"/>
                  <a:gd name="T25" fmla="*/ 51 h 156"/>
                  <a:gd name="T26" fmla="*/ 2612 w 2175"/>
                  <a:gd name="T27" fmla="*/ 48 h 156"/>
                  <a:gd name="T28" fmla="*/ 2713 w 2175"/>
                  <a:gd name="T29" fmla="*/ 47 h 156"/>
                  <a:gd name="T30" fmla="*/ 2793 w 2175"/>
                  <a:gd name="T31" fmla="*/ 44 h 156"/>
                  <a:gd name="T32" fmla="*/ 2849 w 2175"/>
                  <a:gd name="T33" fmla="*/ 41 h 156"/>
                  <a:gd name="T34" fmla="*/ 2900 w 2175"/>
                  <a:gd name="T35" fmla="*/ 39 h 156"/>
                  <a:gd name="T36" fmla="*/ 2928 w 2175"/>
                  <a:gd name="T37" fmla="*/ 39 h 156"/>
                  <a:gd name="T38" fmla="*/ 2911 w 2175"/>
                  <a:gd name="T39" fmla="*/ 39 h 156"/>
                  <a:gd name="T40" fmla="*/ 2867 w 2175"/>
                  <a:gd name="T41" fmla="*/ 39 h 156"/>
                  <a:gd name="T42" fmla="*/ 2817 w 2175"/>
                  <a:gd name="T43" fmla="*/ 39 h 156"/>
                  <a:gd name="T44" fmla="*/ 2769 w 2175"/>
                  <a:gd name="T45" fmla="*/ 39 h 156"/>
                  <a:gd name="T46" fmla="*/ 2706 w 2175"/>
                  <a:gd name="T47" fmla="*/ 39 h 156"/>
                  <a:gd name="T48" fmla="*/ 2638 w 2175"/>
                  <a:gd name="T49" fmla="*/ 39 h 156"/>
                  <a:gd name="T50" fmla="*/ 2565 w 2175"/>
                  <a:gd name="T51" fmla="*/ 41 h 156"/>
                  <a:gd name="T52" fmla="*/ 2484 w 2175"/>
                  <a:gd name="T53" fmla="*/ 41 h 156"/>
                  <a:gd name="T54" fmla="*/ 2398 w 2175"/>
                  <a:gd name="T55" fmla="*/ 42 h 156"/>
                  <a:gd name="T56" fmla="*/ 2312 w 2175"/>
                  <a:gd name="T57" fmla="*/ 42 h 156"/>
                  <a:gd name="T58" fmla="*/ 2226 w 2175"/>
                  <a:gd name="T59" fmla="*/ 42 h 156"/>
                  <a:gd name="T60" fmla="*/ 2133 w 2175"/>
                  <a:gd name="T61" fmla="*/ 42 h 156"/>
                  <a:gd name="T62" fmla="*/ 2038 w 2175"/>
                  <a:gd name="T63" fmla="*/ 42 h 156"/>
                  <a:gd name="T64" fmla="*/ 1935 w 2175"/>
                  <a:gd name="T65" fmla="*/ 42 h 156"/>
                  <a:gd name="T66" fmla="*/ 1841 w 2175"/>
                  <a:gd name="T67" fmla="*/ 42 h 156"/>
                  <a:gd name="T68" fmla="*/ 1745 w 2175"/>
                  <a:gd name="T69" fmla="*/ 41 h 156"/>
                  <a:gd name="T70" fmla="*/ 1653 w 2175"/>
                  <a:gd name="T71" fmla="*/ 41 h 156"/>
                  <a:gd name="T72" fmla="*/ 1553 w 2175"/>
                  <a:gd name="T73" fmla="*/ 39 h 156"/>
                  <a:gd name="T74" fmla="*/ 1454 w 2175"/>
                  <a:gd name="T75" fmla="*/ 39 h 156"/>
                  <a:gd name="T76" fmla="*/ 1369 w 2175"/>
                  <a:gd name="T77" fmla="*/ 37 h 156"/>
                  <a:gd name="T78" fmla="*/ 1276 w 2175"/>
                  <a:gd name="T79" fmla="*/ 36 h 156"/>
                  <a:gd name="T80" fmla="*/ 1195 w 2175"/>
                  <a:gd name="T81" fmla="*/ 35 h 156"/>
                  <a:gd name="T82" fmla="*/ 1117 w 2175"/>
                  <a:gd name="T83" fmla="*/ 32 h 156"/>
                  <a:gd name="T84" fmla="*/ 1029 w 2175"/>
                  <a:gd name="T85" fmla="*/ 29 h 156"/>
                  <a:gd name="T86" fmla="*/ 949 w 2175"/>
                  <a:gd name="T87" fmla="*/ 28 h 156"/>
                  <a:gd name="T88" fmla="*/ 868 w 2175"/>
                  <a:gd name="T89" fmla="*/ 24 h 156"/>
                  <a:gd name="T90" fmla="*/ 790 w 2175"/>
                  <a:gd name="T91" fmla="*/ 23 h 156"/>
                  <a:gd name="T92" fmla="*/ 708 w 2175"/>
                  <a:gd name="T93" fmla="*/ 20 h 156"/>
                  <a:gd name="T94" fmla="*/ 633 w 2175"/>
                  <a:gd name="T95" fmla="*/ 17 h 156"/>
                  <a:gd name="T96" fmla="*/ 559 w 2175"/>
                  <a:gd name="T97" fmla="*/ 15 h 156"/>
                  <a:gd name="T98" fmla="*/ 492 w 2175"/>
                  <a:gd name="T99" fmla="*/ 15 h 156"/>
                  <a:gd name="T100" fmla="*/ 424 w 2175"/>
                  <a:gd name="T101" fmla="*/ 13 h 156"/>
                  <a:gd name="T102" fmla="*/ 364 w 2175"/>
                  <a:gd name="T103" fmla="*/ 12 h 156"/>
                  <a:gd name="T104" fmla="*/ 302 w 2175"/>
                  <a:gd name="T105" fmla="*/ 8 h 156"/>
                  <a:gd name="T106" fmla="*/ 246 w 2175"/>
                  <a:gd name="T107" fmla="*/ 7 h 156"/>
                  <a:gd name="T108" fmla="*/ 191 w 2175"/>
                  <a:gd name="T109" fmla="*/ 6 h 156"/>
                  <a:gd name="T110" fmla="*/ 147 w 2175"/>
                  <a:gd name="T111" fmla="*/ 5 h 156"/>
                  <a:gd name="T112" fmla="*/ 102 w 2175"/>
                  <a:gd name="T113" fmla="*/ 5 h 156"/>
                  <a:gd name="T114" fmla="*/ 53 w 2175"/>
                  <a:gd name="T115" fmla="*/ 5 h 156"/>
                  <a:gd name="T116" fmla="*/ 4 w 2175"/>
                  <a:gd name="T117" fmla="*/ 0 h 156"/>
                  <a:gd name="T118" fmla="*/ 191 w 2175"/>
                  <a:gd name="T119" fmla="*/ 13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75"/>
                  <a:gd name="T181" fmla="*/ 0 h 156"/>
                  <a:gd name="T182" fmla="*/ 2175 w 2175"/>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75" h="156">
                    <a:moveTo>
                      <a:pt x="141" y="34"/>
                    </a:moveTo>
                    <a:lnTo>
                      <a:pt x="196" y="43"/>
                    </a:lnTo>
                    <a:lnTo>
                      <a:pt x="251" y="54"/>
                    </a:lnTo>
                    <a:lnTo>
                      <a:pt x="306" y="63"/>
                    </a:lnTo>
                    <a:lnTo>
                      <a:pt x="361" y="74"/>
                    </a:lnTo>
                    <a:lnTo>
                      <a:pt x="415" y="80"/>
                    </a:lnTo>
                    <a:lnTo>
                      <a:pt x="470" y="88"/>
                    </a:lnTo>
                    <a:lnTo>
                      <a:pt x="521" y="97"/>
                    </a:lnTo>
                    <a:lnTo>
                      <a:pt x="575" y="105"/>
                    </a:lnTo>
                    <a:lnTo>
                      <a:pt x="630" y="111"/>
                    </a:lnTo>
                    <a:lnTo>
                      <a:pt x="685" y="117"/>
                    </a:lnTo>
                    <a:lnTo>
                      <a:pt x="735" y="119"/>
                    </a:lnTo>
                    <a:lnTo>
                      <a:pt x="786" y="128"/>
                    </a:lnTo>
                    <a:lnTo>
                      <a:pt x="836" y="128"/>
                    </a:lnTo>
                    <a:lnTo>
                      <a:pt x="886" y="134"/>
                    </a:lnTo>
                    <a:lnTo>
                      <a:pt x="936" y="137"/>
                    </a:lnTo>
                    <a:lnTo>
                      <a:pt x="991" y="142"/>
                    </a:lnTo>
                    <a:lnTo>
                      <a:pt x="1037" y="145"/>
                    </a:lnTo>
                    <a:lnTo>
                      <a:pt x="1083" y="148"/>
                    </a:lnTo>
                    <a:lnTo>
                      <a:pt x="1128" y="148"/>
                    </a:lnTo>
                    <a:lnTo>
                      <a:pt x="1179" y="151"/>
                    </a:lnTo>
                    <a:lnTo>
                      <a:pt x="1220" y="154"/>
                    </a:lnTo>
                    <a:lnTo>
                      <a:pt x="1266" y="156"/>
                    </a:lnTo>
                    <a:lnTo>
                      <a:pt x="1307" y="156"/>
                    </a:lnTo>
                    <a:lnTo>
                      <a:pt x="1352" y="156"/>
                    </a:lnTo>
                    <a:lnTo>
                      <a:pt x="1398" y="156"/>
                    </a:lnTo>
                    <a:lnTo>
                      <a:pt x="1435" y="156"/>
                    </a:lnTo>
                    <a:lnTo>
                      <a:pt x="1476" y="156"/>
                    </a:lnTo>
                    <a:lnTo>
                      <a:pt x="1517" y="156"/>
                    </a:lnTo>
                    <a:lnTo>
                      <a:pt x="1553" y="156"/>
                    </a:lnTo>
                    <a:lnTo>
                      <a:pt x="1590" y="156"/>
                    </a:lnTo>
                    <a:lnTo>
                      <a:pt x="1631" y="156"/>
                    </a:lnTo>
                    <a:lnTo>
                      <a:pt x="1668" y="156"/>
                    </a:lnTo>
                    <a:lnTo>
                      <a:pt x="1704" y="151"/>
                    </a:lnTo>
                    <a:lnTo>
                      <a:pt x="1732" y="148"/>
                    </a:lnTo>
                    <a:lnTo>
                      <a:pt x="1768" y="148"/>
                    </a:lnTo>
                    <a:lnTo>
                      <a:pt x="1796" y="148"/>
                    </a:lnTo>
                    <a:lnTo>
                      <a:pt x="1828" y="145"/>
                    </a:lnTo>
                    <a:lnTo>
                      <a:pt x="1855" y="145"/>
                    </a:lnTo>
                    <a:lnTo>
                      <a:pt x="1887" y="139"/>
                    </a:lnTo>
                    <a:lnTo>
                      <a:pt x="1914" y="139"/>
                    </a:lnTo>
                    <a:lnTo>
                      <a:pt x="1937" y="137"/>
                    </a:lnTo>
                    <a:lnTo>
                      <a:pt x="1965" y="137"/>
                    </a:lnTo>
                    <a:lnTo>
                      <a:pt x="1988" y="134"/>
                    </a:lnTo>
                    <a:lnTo>
                      <a:pt x="2010" y="131"/>
                    </a:lnTo>
                    <a:lnTo>
                      <a:pt x="2029" y="128"/>
                    </a:lnTo>
                    <a:lnTo>
                      <a:pt x="2052" y="128"/>
                    </a:lnTo>
                    <a:lnTo>
                      <a:pt x="2070" y="125"/>
                    </a:lnTo>
                    <a:lnTo>
                      <a:pt x="2088" y="122"/>
                    </a:lnTo>
                    <a:lnTo>
                      <a:pt x="2102" y="119"/>
                    </a:lnTo>
                    <a:lnTo>
                      <a:pt x="2111" y="117"/>
                    </a:lnTo>
                    <a:lnTo>
                      <a:pt x="2125" y="117"/>
                    </a:lnTo>
                    <a:lnTo>
                      <a:pt x="2138" y="114"/>
                    </a:lnTo>
                    <a:lnTo>
                      <a:pt x="2148" y="114"/>
                    </a:lnTo>
                    <a:lnTo>
                      <a:pt x="2157" y="111"/>
                    </a:lnTo>
                    <a:lnTo>
                      <a:pt x="2161" y="111"/>
                    </a:lnTo>
                    <a:lnTo>
                      <a:pt x="2170" y="111"/>
                    </a:lnTo>
                    <a:lnTo>
                      <a:pt x="2175" y="105"/>
                    </a:lnTo>
                    <a:lnTo>
                      <a:pt x="2170" y="105"/>
                    </a:lnTo>
                    <a:lnTo>
                      <a:pt x="2157" y="108"/>
                    </a:lnTo>
                    <a:lnTo>
                      <a:pt x="2148" y="108"/>
                    </a:lnTo>
                    <a:lnTo>
                      <a:pt x="2138" y="108"/>
                    </a:lnTo>
                    <a:lnTo>
                      <a:pt x="2125" y="108"/>
                    </a:lnTo>
                    <a:lnTo>
                      <a:pt x="2116" y="108"/>
                    </a:lnTo>
                    <a:lnTo>
                      <a:pt x="2102" y="108"/>
                    </a:lnTo>
                    <a:lnTo>
                      <a:pt x="2088" y="111"/>
                    </a:lnTo>
                    <a:lnTo>
                      <a:pt x="2079" y="111"/>
                    </a:lnTo>
                    <a:lnTo>
                      <a:pt x="2070" y="111"/>
                    </a:lnTo>
                    <a:lnTo>
                      <a:pt x="2052" y="111"/>
                    </a:lnTo>
                    <a:lnTo>
                      <a:pt x="2033" y="111"/>
                    </a:lnTo>
                    <a:lnTo>
                      <a:pt x="2020" y="114"/>
                    </a:lnTo>
                    <a:lnTo>
                      <a:pt x="2006" y="114"/>
                    </a:lnTo>
                    <a:lnTo>
                      <a:pt x="1988" y="114"/>
                    </a:lnTo>
                    <a:lnTo>
                      <a:pt x="1969" y="114"/>
                    </a:lnTo>
                    <a:lnTo>
                      <a:pt x="1956" y="114"/>
                    </a:lnTo>
                    <a:lnTo>
                      <a:pt x="1942" y="117"/>
                    </a:lnTo>
                    <a:lnTo>
                      <a:pt x="1919" y="117"/>
                    </a:lnTo>
                    <a:lnTo>
                      <a:pt x="1901" y="117"/>
                    </a:lnTo>
                    <a:lnTo>
                      <a:pt x="1882" y="117"/>
                    </a:lnTo>
                    <a:lnTo>
                      <a:pt x="1864" y="117"/>
                    </a:lnTo>
                    <a:lnTo>
                      <a:pt x="1841" y="117"/>
                    </a:lnTo>
                    <a:lnTo>
                      <a:pt x="1823" y="117"/>
                    </a:lnTo>
                    <a:lnTo>
                      <a:pt x="1800" y="117"/>
                    </a:lnTo>
                    <a:lnTo>
                      <a:pt x="1777" y="119"/>
                    </a:lnTo>
                    <a:lnTo>
                      <a:pt x="1759" y="119"/>
                    </a:lnTo>
                    <a:lnTo>
                      <a:pt x="1741" y="119"/>
                    </a:lnTo>
                    <a:lnTo>
                      <a:pt x="1713" y="119"/>
                    </a:lnTo>
                    <a:lnTo>
                      <a:pt x="1695" y="119"/>
                    </a:lnTo>
                    <a:lnTo>
                      <a:pt x="1672" y="119"/>
                    </a:lnTo>
                    <a:lnTo>
                      <a:pt x="1649" y="119"/>
                    </a:lnTo>
                    <a:lnTo>
                      <a:pt x="1627" y="119"/>
                    </a:lnTo>
                    <a:lnTo>
                      <a:pt x="1604" y="122"/>
                    </a:lnTo>
                    <a:lnTo>
                      <a:pt x="1581" y="119"/>
                    </a:lnTo>
                    <a:lnTo>
                      <a:pt x="1558" y="119"/>
                    </a:lnTo>
                    <a:lnTo>
                      <a:pt x="1535" y="119"/>
                    </a:lnTo>
                    <a:lnTo>
                      <a:pt x="1512" y="119"/>
                    </a:lnTo>
                    <a:lnTo>
                      <a:pt x="1485" y="119"/>
                    </a:lnTo>
                    <a:lnTo>
                      <a:pt x="1462" y="119"/>
                    </a:lnTo>
                    <a:lnTo>
                      <a:pt x="1435" y="119"/>
                    </a:lnTo>
                    <a:lnTo>
                      <a:pt x="1416" y="119"/>
                    </a:lnTo>
                    <a:lnTo>
                      <a:pt x="1389" y="119"/>
                    </a:lnTo>
                    <a:lnTo>
                      <a:pt x="1366" y="119"/>
                    </a:lnTo>
                    <a:lnTo>
                      <a:pt x="1343" y="117"/>
                    </a:lnTo>
                    <a:lnTo>
                      <a:pt x="1316" y="117"/>
                    </a:lnTo>
                    <a:lnTo>
                      <a:pt x="1293" y="117"/>
                    </a:lnTo>
                    <a:lnTo>
                      <a:pt x="1270" y="117"/>
                    </a:lnTo>
                    <a:lnTo>
                      <a:pt x="1247" y="117"/>
                    </a:lnTo>
                    <a:lnTo>
                      <a:pt x="1224" y="117"/>
                    </a:lnTo>
                    <a:lnTo>
                      <a:pt x="1197" y="114"/>
                    </a:lnTo>
                    <a:lnTo>
                      <a:pt x="1174" y="114"/>
                    </a:lnTo>
                    <a:lnTo>
                      <a:pt x="1151" y="114"/>
                    </a:lnTo>
                    <a:lnTo>
                      <a:pt x="1124" y="114"/>
                    </a:lnTo>
                    <a:lnTo>
                      <a:pt x="1101" y="111"/>
                    </a:lnTo>
                    <a:lnTo>
                      <a:pt x="1078" y="111"/>
                    </a:lnTo>
                    <a:lnTo>
                      <a:pt x="1055" y="108"/>
                    </a:lnTo>
                    <a:lnTo>
                      <a:pt x="1037" y="108"/>
                    </a:lnTo>
                    <a:lnTo>
                      <a:pt x="1014" y="105"/>
                    </a:lnTo>
                    <a:lnTo>
                      <a:pt x="991" y="105"/>
                    </a:lnTo>
                    <a:lnTo>
                      <a:pt x="968" y="102"/>
                    </a:lnTo>
                    <a:lnTo>
                      <a:pt x="946" y="100"/>
                    </a:lnTo>
                    <a:lnTo>
                      <a:pt x="923" y="100"/>
                    </a:lnTo>
                    <a:lnTo>
                      <a:pt x="904" y="97"/>
                    </a:lnTo>
                    <a:lnTo>
                      <a:pt x="886" y="97"/>
                    </a:lnTo>
                    <a:lnTo>
                      <a:pt x="868" y="94"/>
                    </a:lnTo>
                    <a:lnTo>
                      <a:pt x="845" y="91"/>
                    </a:lnTo>
                    <a:lnTo>
                      <a:pt x="827" y="91"/>
                    </a:lnTo>
                    <a:lnTo>
                      <a:pt x="804" y="85"/>
                    </a:lnTo>
                    <a:lnTo>
                      <a:pt x="786" y="85"/>
                    </a:lnTo>
                    <a:lnTo>
                      <a:pt x="763" y="82"/>
                    </a:lnTo>
                    <a:lnTo>
                      <a:pt x="745" y="80"/>
                    </a:lnTo>
                    <a:lnTo>
                      <a:pt x="726" y="77"/>
                    </a:lnTo>
                    <a:lnTo>
                      <a:pt x="703" y="77"/>
                    </a:lnTo>
                    <a:lnTo>
                      <a:pt x="681" y="74"/>
                    </a:lnTo>
                    <a:lnTo>
                      <a:pt x="662" y="71"/>
                    </a:lnTo>
                    <a:lnTo>
                      <a:pt x="644" y="68"/>
                    </a:lnTo>
                    <a:lnTo>
                      <a:pt x="626" y="68"/>
                    </a:lnTo>
                    <a:lnTo>
                      <a:pt x="603" y="65"/>
                    </a:lnTo>
                    <a:lnTo>
                      <a:pt x="585" y="63"/>
                    </a:lnTo>
                    <a:lnTo>
                      <a:pt x="566" y="60"/>
                    </a:lnTo>
                    <a:lnTo>
                      <a:pt x="548" y="60"/>
                    </a:lnTo>
                    <a:lnTo>
                      <a:pt x="525" y="57"/>
                    </a:lnTo>
                    <a:lnTo>
                      <a:pt x="507" y="54"/>
                    </a:lnTo>
                    <a:lnTo>
                      <a:pt x="489" y="51"/>
                    </a:lnTo>
                    <a:lnTo>
                      <a:pt x="470" y="51"/>
                    </a:lnTo>
                    <a:lnTo>
                      <a:pt x="452" y="48"/>
                    </a:lnTo>
                    <a:lnTo>
                      <a:pt x="434" y="45"/>
                    </a:lnTo>
                    <a:lnTo>
                      <a:pt x="415" y="43"/>
                    </a:lnTo>
                    <a:lnTo>
                      <a:pt x="402" y="43"/>
                    </a:lnTo>
                    <a:lnTo>
                      <a:pt x="383" y="40"/>
                    </a:lnTo>
                    <a:lnTo>
                      <a:pt x="365" y="40"/>
                    </a:lnTo>
                    <a:lnTo>
                      <a:pt x="351" y="37"/>
                    </a:lnTo>
                    <a:lnTo>
                      <a:pt x="333" y="34"/>
                    </a:lnTo>
                    <a:lnTo>
                      <a:pt x="315" y="34"/>
                    </a:lnTo>
                    <a:lnTo>
                      <a:pt x="301" y="31"/>
                    </a:lnTo>
                    <a:lnTo>
                      <a:pt x="283" y="31"/>
                    </a:lnTo>
                    <a:lnTo>
                      <a:pt x="269" y="31"/>
                    </a:lnTo>
                    <a:lnTo>
                      <a:pt x="256" y="28"/>
                    </a:lnTo>
                    <a:lnTo>
                      <a:pt x="237" y="28"/>
                    </a:lnTo>
                    <a:lnTo>
                      <a:pt x="224" y="23"/>
                    </a:lnTo>
                    <a:lnTo>
                      <a:pt x="210" y="23"/>
                    </a:lnTo>
                    <a:lnTo>
                      <a:pt x="196" y="20"/>
                    </a:lnTo>
                    <a:lnTo>
                      <a:pt x="182" y="20"/>
                    </a:lnTo>
                    <a:lnTo>
                      <a:pt x="169" y="17"/>
                    </a:lnTo>
                    <a:lnTo>
                      <a:pt x="160" y="17"/>
                    </a:lnTo>
                    <a:lnTo>
                      <a:pt x="141" y="17"/>
                    </a:lnTo>
                    <a:lnTo>
                      <a:pt x="132" y="14"/>
                    </a:lnTo>
                    <a:lnTo>
                      <a:pt x="123" y="11"/>
                    </a:lnTo>
                    <a:lnTo>
                      <a:pt x="109" y="11"/>
                    </a:lnTo>
                    <a:lnTo>
                      <a:pt x="100" y="11"/>
                    </a:lnTo>
                    <a:lnTo>
                      <a:pt x="86" y="8"/>
                    </a:lnTo>
                    <a:lnTo>
                      <a:pt x="77" y="8"/>
                    </a:lnTo>
                    <a:lnTo>
                      <a:pt x="73" y="8"/>
                    </a:lnTo>
                    <a:lnTo>
                      <a:pt x="54" y="8"/>
                    </a:lnTo>
                    <a:lnTo>
                      <a:pt x="41" y="8"/>
                    </a:lnTo>
                    <a:lnTo>
                      <a:pt x="27" y="3"/>
                    </a:lnTo>
                    <a:lnTo>
                      <a:pt x="18" y="3"/>
                    </a:lnTo>
                    <a:lnTo>
                      <a:pt x="4" y="0"/>
                    </a:lnTo>
                    <a:lnTo>
                      <a:pt x="0" y="0"/>
                    </a:lnTo>
                    <a:lnTo>
                      <a:pt x="141" y="3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4" name="Freeform 158"/>
              <p:cNvSpPr>
                <a:spLocks/>
              </p:cNvSpPr>
              <p:nvPr>
                <p:custDataLst>
                  <p:tags r:id="rId68"/>
                </p:custDataLst>
              </p:nvPr>
            </p:nvSpPr>
            <p:spPr bwMode="gray">
              <a:xfrm>
                <a:off x="1775" y="917"/>
                <a:ext cx="1172" cy="102"/>
              </a:xfrm>
              <a:custGeom>
                <a:avLst/>
                <a:gdLst>
                  <a:gd name="T0" fmla="*/ 148 w 1143"/>
                  <a:gd name="T1" fmla="*/ 6 h 111"/>
                  <a:gd name="T2" fmla="*/ 221 w 1143"/>
                  <a:gd name="T3" fmla="*/ 6 h 111"/>
                  <a:gd name="T4" fmla="*/ 309 w 1143"/>
                  <a:gd name="T5" fmla="*/ 10 h 111"/>
                  <a:gd name="T6" fmla="*/ 388 w 1143"/>
                  <a:gd name="T7" fmla="*/ 13 h 111"/>
                  <a:gd name="T8" fmla="*/ 483 w 1143"/>
                  <a:gd name="T9" fmla="*/ 15 h 111"/>
                  <a:gd name="T10" fmla="*/ 575 w 1143"/>
                  <a:gd name="T11" fmla="*/ 17 h 111"/>
                  <a:gd name="T12" fmla="*/ 669 w 1143"/>
                  <a:gd name="T13" fmla="*/ 18 h 111"/>
                  <a:gd name="T14" fmla="*/ 759 w 1143"/>
                  <a:gd name="T15" fmla="*/ 20 h 111"/>
                  <a:gd name="T16" fmla="*/ 853 w 1143"/>
                  <a:gd name="T17" fmla="*/ 22 h 111"/>
                  <a:gd name="T18" fmla="*/ 945 w 1143"/>
                  <a:gd name="T19" fmla="*/ 23 h 111"/>
                  <a:gd name="T20" fmla="*/ 1029 w 1143"/>
                  <a:gd name="T21" fmla="*/ 25 h 111"/>
                  <a:gd name="T22" fmla="*/ 1118 w 1143"/>
                  <a:gd name="T23" fmla="*/ 25 h 111"/>
                  <a:gd name="T24" fmla="*/ 1200 w 1143"/>
                  <a:gd name="T25" fmla="*/ 26 h 111"/>
                  <a:gd name="T26" fmla="*/ 1272 w 1143"/>
                  <a:gd name="T27" fmla="*/ 26 h 111"/>
                  <a:gd name="T28" fmla="*/ 1333 w 1143"/>
                  <a:gd name="T29" fmla="*/ 26 h 111"/>
                  <a:gd name="T30" fmla="*/ 1396 w 1143"/>
                  <a:gd name="T31" fmla="*/ 26 h 111"/>
                  <a:gd name="T32" fmla="*/ 1450 w 1143"/>
                  <a:gd name="T33" fmla="*/ 26 h 111"/>
                  <a:gd name="T34" fmla="*/ 1494 w 1143"/>
                  <a:gd name="T35" fmla="*/ 28 h 111"/>
                  <a:gd name="T36" fmla="*/ 1543 w 1143"/>
                  <a:gd name="T37" fmla="*/ 28 h 111"/>
                  <a:gd name="T38" fmla="*/ 1520 w 1143"/>
                  <a:gd name="T39" fmla="*/ 32 h 111"/>
                  <a:gd name="T40" fmla="*/ 1470 w 1143"/>
                  <a:gd name="T41" fmla="*/ 34 h 111"/>
                  <a:gd name="T42" fmla="*/ 1414 w 1143"/>
                  <a:gd name="T43" fmla="*/ 37 h 111"/>
                  <a:gd name="T44" fmla="*/ 1352 w 1143"/>
                  <a:gd name="T45" fmla="*/ 37 h 111"/>
                  <a:gd name="T46" fmla="*/ 1279 w 1143"/>
                  <a:gd name="T47" fmla="*/ 38 h 111"/>
                  <a:gd name="T48" fmla="*/ 1230 w 1143"/>
                  <a:gd name="T49" fmla="*/ 40 h 111"/>
                  <a:gd name="T50" fmla="*/ 1186 w 1143"/>
                  <a:gd name="T51" fmla="*/ 40 h 111"/>
                  <a:gd name="T52" fmla="*/ 1143 w 1143"/>
                  <a:gd name="T53" fmla="*/ 40 h 111"/>
                  <a:gd name="T54" fmla="*/ 1100 w 1143"/>
                  <a:gd name="T55" fmla="*/ 40 h 111"/>
                  <a:gd name="T56" fmla="*/ 1049 w 1143"/>
                  <a:gd name="T57" fmla="*/ 40 h 111"/>
                  <a:gd name="T58" fmla="*/ 1006 w 1143"/>
                  <a:gd name="T59" fmla="*/ 40 h 111"/>
                  <a:gd name="T60" fmla="*/ 951 w 1143"/>
                  <a:gd name="T61" fmla="*/ 38 h 111"/>
                  <a:gd name="T62" fmla="*/ 897 w 1143"/>
                  <a:gd name="T63" fmla="*/ 38 h 111"/>
                  <a:gd name="T64" fmla="*/ 845 w 1143"/>
                  <a:gd name="T65" fmla="*/ 37 h 111"/>
                  <a:gd name="T66" fmla="*/ 791 w 1143"/>
                  <a:gd name="T67" fmla="*/ 37 h 111"/>
                  <a:gd name="T68" fmla="*/ 729 w 1143"/>
                  <a:gd name="T69" fmla="*/ 37 h 111"/>
                  <a:gd name="T70" fmla="*/ 673 w 1143"/>
                  <a:gd name="T71" fmla="*/ 34 h 111"/>
                  <a:gd name="T72" fmla="*/ 611 w 1143"/>
                  <a:gd name="T73" fmla="*/ 32 h 111"/>
                  <a:gd name="T74" fmla="*/ 555 w 1143"/>
                  <a:gd name="T75" fmla="*/ 28 h 111"/>
                  <a:gd name="T76" fmla="*/ 499 w 1143"/>
                  <a:gd name="T77" fmla="*/ 28 h 111"/>
                  <a:gd name="T78" fmla="*/ 439 w 1143"/>
                  <a:gd name="T79" fmla="*/ 26 h 111"/>
                  <a:gd name="T80" fmla="*/ 382 w 1143"/>
                  <a:gd name="T81" fmla="*/ 23 h 111"/>
                  <a:gd name="T82" fmla="*/ 333 w 1143"/>
                  <a:gd name="T83" fmla="*/ 20 h 111"/>
                  <a:gd name="T84" fmla="*/ 278 w 1143"/>
                  <a:gd name="T85" fmla="*/ 17 h 111"/>
                  <a:gd name="T86" fmla="*/ 221 w 1143"/>
                  <a:gd name="T87" fmla="*/ 15 h 111"/>
                  <a:gd name="T88" fmla="*/ 179 w 1143"/>
                  <a:gd name="T89" fmla="*/ 13 h 111"/>
                  <a:gd name="T90" fmla="*/ 137 w 1143"/>
                  <a:gd name="T91" fmla="*/ 11 h 111"/>
                  <a:gd name="T92" fmla="*/ 93 w 1143"/>
                  <a:gd name="T93" fmla="*/ 7 h 111"/>
                  <a:gd name="T94" fmla="*/ 14 w 1143"/>
                  <a:gd name="T95" fmla="*/ 6 h 111"/>
                  <a:gd name="T96" fmla="*/ 14 w 1143"/>
                  <a:gd name="T97" fmla="*/ 0 h 111"/>
                  <a:gd name="T98" fmla="*/ 58 w 1143"/>
                  <a:gd name="T99" fmla="*/ 0 h 111"/>
                  <a:gd name="T100" fmla="*/ 97 w 1143"/>
                  <a:gd name="T101" fmla="*/ 0 h 1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3"/>
                  <a:gd name="T154" fmla="*/ 0 h 111"/>
                  <a:gd name="T155" fmla="*/ 1143 w 1143"/>
                  <a:gd name="T156" fmla="*/ 111 h 1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3" h="111">
                    <a:moveTo>
                      <a:pt x="78" y="0"/>
                    </a:moveTo>
                    <a:lnTo>
                      <a:pt x="96" y="3"/>
                    </a:lnTo>
                    <a:lnTo>
                      <a:pt x="110" y="6"/>
                    </a:lnTo>
                    <a:lnTo>
                      <a:pt x="133" y="12"/>
                    </a:lnTo>
                    <a:lnTo>
                      <a:pt x="151" y="15"/>
                    </a:lnTo>
                    <a:lnTo>
                      <a:pt x="165" y="17"/>
                    </a:lnTo>
                    <a:lnTo>
                      <a:pt x="187" y="20"/>
                    </a:lnTo>
                    <a:lnTo>
                      <a:pt x="206" y="23"/>
                    </a:lnTo>
                    <a:lnTo>
                      <a:pt x="229" y="26"/>
                    </a:lnTo>
                    <a:lnTo>
                      <a:pt x="247" y="29"/>
                    </a:lnTo>
                    <a:lnTo>
                      <a:pt x="265" y="29"/>
                    </a:lnTo>
                    <a:lnTo>
                      <a:pt x="288" y="34"/>
                    </a:lnTo>
                    <a:lnTo>
                      <a:pt x="311" y="34"/>
                    </a:lnTo>
                    <a:lnTo>
                      <a:pt x="334" y="37"/>
                    </a:lnTo>
                    <a:lnTo>
                      <a:pt x="357" y="40"/>
                    </a:lnTo>
                    <a:lnTo>
                      <a:pt x="379" y="43"/>
                    </a:lnTo>
                    <a:lnTo>
                      <a:pt x="402" y="46"/>
                    </a:lnTo>
                    <a:lnTo>
                      <a:pt x="425" y="46"/>
                    </a:lnTo>
                    <a:lnTo>
                      <a:pt x="448" y="49"/>
                    </a:lnTo>
                    <a:lnTo>
                      <a:pt x="471" y="49"/>
                    </a:lnTo>
                    <a:lnTo>
                      <a:pt x="494" y="52"/>
                    </a:lnTo>
                    <a:lnTo>
                      <a:pt x="517" y="52"/>
                    </a:lnTo>
                    <a:lnTo>
                      <a:pt x="539" y="54"/>
                    </a:lnTo>
                    <a:lnTo>
                      <a:pt x="562" y="54"/>
                    </a:lnTo>
                    <a:lnTo>
                      <a:pt x="590" y="57"/>
                    </a:lnTo>
                    <a:lnTo>
                      <a:pt x="608" y="57"/>
                    </a:lnTo>
                    <a:lnTo>
                      <a:pt x="631" y="60"/>
                    </a:lnTo>
                    <a:lnTo>
                      <a:pt x="654" y="60"/>
                    </a:lnTo>
                    <a:lnTo>
                      <a:pt x="676" y="63"/>
                    </a:lnTo>
                    <a:lnTo>
                      <a:pt x="699" y="63"/>
                    </a:lnTo>
                    <a:lnTo>
                      <a:pt x="722" y="63"/>
                    </a:lnTo>
                    <a:lnTo>
                      <a:pt x="745" y="63"/>
                    </a:lnTo>
                    <a:lnTo>
                      <a:pt x="763" y="69"/>
                    </a:lnTo>
                    <a:lnTo>
                      <a:pt x="786" y="69"/>
                    </a:lnTo>
                    <a:lnTo>
                      <a:pt x="809" y="69"/>
                    </a:lnTo>
                    <a:lnTo>
                      <a:pt x="827" y="69"/>
                    </a:lnTo>
                    <a:lnTo>
                      <a:pt x="850" y="69"/>
                    </a:lnTo>
                    <a:lnTo>
                      <a:pt x="864" y="69"/>
                    </a:lnTo>
                    <a:lnTo>
                      <a:pt x="887" y="71"/>
                    </a:lnTo>
                    <a:lnTo>
                      <a:pt x="905" y="71"/>
                    </a:lnTo>
                    <a:lnTo>
                      <a:pt x="923" y="71"/>
                    </a:lnTo>
                    <a:lnTo>
                      <a:pt x="942" y="71"/>
                    </a:lnTo>
                    <a:lnTo>
                      <a:pt x="955" y="71"/>
                    </a:lnTo>
                    <a:lnTo>
                      <a:pt x="974" y="71"/>
                    </a:lnTo>
                    <a:lnTo>
                      <a:pt x="987" y="71"/>
                    </a:lnTo>
                    <a:lnTo>
                      <a:pt x="1006" y="71"/>
                    </a:lnTo>
                    <a:lnTo>
                      <a:pt x="1019" y="74"/>
                    </a:lnTo>
                    <a:lnTo>
                      <a:pt x="1033" y="74"/>
                    </a:lnTo>
                    <a:lnTo>
                      <a:pt x="1051" y="74"/>
                    </a:lnTo>
                    <a:lnTo>
                      <a:pt x="1060" y="74"/>
                    </a:lnTo>
                    <a:lnTo>
                      <a:pt x="1074" y="74"/>
                    </a:lnTo>
                    <a:lnTo>
                      <a:pt x="1083" y="74"/>
                    </a:lnTo>
                    <a:lnTo>
                      <a:pt x="1092" y="77"/>
                    </a:lnTo>
                    <a:lnTo>
                      <a:pt x="1106" y="77"/>
                    </a:lnTo>
                    <a:lnTo>
                      <a:pt x="1124" y="80"/>
                    </a:lnTo>
                    <a:lnTo>
                      <a:pt x="1133" y="80"/>
                    </a:lnTo>
                    <a:lnTo>
                      <a:pt x="1143" y="80"/>
                    </a:lnTo>
                    <a:lnTo>
                      <a:pt x="1143" y="83"/>
                    </a:lnTo>
                    <a:lnTo>
                      <a:pt x="1124" y="89"/>
                    </a:lnTo>
                    <a:lnTo>
                      <a:pt x="1106" y="91"/>
                    </a:lnTo>
                    <a:lnTo>
                      <a:pt x="1097" y="91"/>
                    </a:lnTo>
                    <a:lnTo>
                      <a:pt x="1088" y="94"/>
                    </a:lnTo>
                    <a:lnTo>
                      <a:pt x="1074" y="94"/>
                    </a:lnTo>
                    <a:lnTo>
                      <a:pt x="1060" y="100"/>
                    </a:lnTo>
                    <a:lnTo>
                      <a:pt x="1047" y="100"/>
                    </a:lnTo>
                    <a:lnTo>
                      <a:pt x="1033" y="100"/>
                    </a:lnTo>
                    <a:lnTo>
                      <a:pt x="1015" y="103"/>
                    </a:lnTo>
                    <a:lnTo>
                      <a:pt x="1001" y="103"/>
                    </a:lnTo>
                    <a:lnTo>
                      <a:pt x="983" y="103"/>
                    </a:lnTo>
                    <a:lnTo>
                      <a:pt x="964" y="106"/>
                    </a:lnTo>
                    <a:lnTo>
                      <a:pt x="946" y="106"/>
                    </a:lnTo>
                    <a:lnTo>
                      <a:pt x="932" y="109"/>
                    </a:lnTo>
                    <a:lnTo>
                      <a:pt x="919" y="109"/>
                    </a:lnTo>
                    <a:lnTo>
                      <a:pt x="910" y="109"/>
                    </a:lnTo>
                    <a:lnTo>
                      <a:pt x="900" y="109"/>
                    </a:lnTo>
                    <a:lnTo>
                      <a:pt x="887" y="109"/>
                    </a:lnTo>
                    <a:lnTo>
                      <a:pt x="878" y="109"/>
                    </a:lnTo>
                    <a:lnTo>
                      <a:pt x="864" y="109"/>
                    </a:lnTo>
                    <a:lnTo>
                      <a:pt x="855" y="109"/>
                    </a:lnTo>
                    <a:lnTo>
                      <a:pt x="846" y="111"/>
                    </a:lnTo>
                    <a:lnTo>
                      <a:pt x="832" y="111"/>
                    </a:lnTo>
                    <a:lnTo>
                      <a:pt x="823" y="111"/>
                    </a:lnTo>
                    <a:lnTo>
                      <a:pt x="814" y="111"/>
                    </a:lnTo>
                    <a:lnTo>
                      <a:pt x="800" y="111"/>
                    </a:lnTo>
                    <a:lnTo>
                      <a:pt x="786" y="111"/>
                    </a:lnTo>
                    <a:lnTo>
                      <a:pt x="777" y="111"/>
                    </a:lnTo>
                    <a:lnTo>
                      <a:pt x="763" y="111"/>
                    </a:lnTo>
                    <a:lnTo>
                      <a:pt x="754" y="111"/>
                    </a:lnTo>
                    <a:lnTo>
                      <a:pt x="745" y="109"/>
                    </a:lnTo>
                    <a:lnTo>
                      <a:pt x="727" y="106"/>
                    </a:lnTo>
                    <a:lnTo>
                      <a:pt x="718" y="106"/>
                    </a:lnTo>
                    <a:lnTo>
                      <a:pt x="704" y="106"/>
                    </a:lnTo>
                    <a:lnTo>
                      <a:pt x="686" y="106"/>
                    </a:lnTo>
                    <a:lnTo>
                      <a:pt x="676" y="106"/>
                    </a:lnTo>
                    <a:lnTo>
                      <a:pt x="663" y="106"/>
                    </a:lnTo>
                    <a:lnTo>
                      <a:pt x="654" y="106"/>
                    </a:lnTo>
                    <a:lnTo>
                      <a:pt x="635" y="103"/>
                    </a:lnTo>
                    <a:lnTo>
                      <a:pt x="626" y="103"/>
                    </a:lnTo>
                    <a:lnTo>
                      <a:pt x="608" y="103"/>
                    </a:lnTo>
                    <a:lnTo>
                      <a:pt x="599" y="103"/>
                    </a:lnTo>
                    <a:lnTo>
                      <a:pt x="585" y="100"/>
                    </a:lnTo>
                    <a:lnTo>
                      <a:pt x="571" y="100"/>
                    </a:lnTo>
                    <a:lnTo>
                      <a:pt x="558" y="100"/>
                    </a:lnTo>
                    <a:lnTo>
                      <a:pt x="539" y="100"/>
                    </a:lnTo>
                    <a:lnTo>
                      <a:pt x="526" y="94"/>
                    </a:lnTo>
                    <a:lnTo>
                      <a:pt x="512" y="94"/>
                    </a:lnTo>
                    <a:lnTo>
                      <a:pt x="498" y="91"/>
                    </a:lnTo>
                    <a:lnTo>
                      <a:pt x="485" y="91"/>
                    </a:lnTo>
                    <a:lnTo>
                      <a:pt x="471" y="91"/>
                    </a:lnTo>
                    <a:lnTo>
                      <a:pt x="453" y="89"/>
                    </a:lnTo>
                    <a:lnTo>
                      <a:pt x="443" y="83"/>
                    </a:lnTo>
                    <a:lnTo>
                      <a:pt x="430" y="83"/>
                    </a:lnTo>
                    <a:lnTo>
                      <a:pt x="411" y="80"/>
                    </a:lnTo>
                    <a:lnTo>
                      <a:pt x="398" y="80"/>
                    </a:lnTo>
                    <a:lnTo>
                      <a:pt x="384" y="77"/>
                    </a:lnTo>
                    <a:lnTo>
                      <a:pt x="370" y="77"/>
                    </a:lnTo>
                    <a:lnTo>
                      <a:pt x="352" y="74"/>
                    </a:lnTo>
                    <a:lnTo>
                      <a:pt x="343" y="71"/>
                    </a:lnTo>
                    <a:lnTo>
                      <a:pt x="325" y="71"/>
                    </a:lnTo>
                    <a:lnTo>
                      <a:pt x="315" y="69"/>
                    </a:lnTo>
                    <a:lnTo>
                      <a:pt x="297" y="63"/>
                    </a:lnTo>
                    <a:lnTo>
                      <a:pt x="283" y="63"/>
                    </a:lnTo>
                    <a:lnTo>
                      <a:pt x="270" y="60"/>
                    </a:lnTo>
                    <a:lnTo>
                      <a:pt x="256" y="57"/>
                    </a:lnTo>
                    <a:lnTo>
                      <a:pt x="247" y="54"/>
                    </a:lnTo>
                    <a:lnTo>
                      <a:pt x="229" y="52"/>
                    </a:lnTo>
                    <a:lnTo>
                      <a:pt x="215" y="49"/>
                    </a:lnTo>
                    <a:lnTo>
                      <a:pt x="206" y="49"/>
                    </a:lnTo>
                    <a:lnTo>
                      <a:pt x="192" y="46"/>
                    </a:lnTo>
                    <a:lnTo>
                      <a:pt x="178" y="43"/>
                    </a:lnTo>
                    <a:lnTo>
                      <a:pt x="165" y="40"/>
                    </a:lnTo>
                    <a:lnTo>
                      <a:pt x="155" y="37"/>
                    </a:lnTo>
                    <a:lnTo>
                      <a:pt x="142" y="34"/>
                    </a:lnTo>
                    <a:lnTo>
                      <a:pt x="133" y="34"/>
                    </a:lnTo>
                    <a:lnTo>
                      <a:pt x="123" y="32"/>
                    </a:lnTo>
                    <a:lnTo>
                      <a:pt x="110" y="29"/>
                    </a:lnTo>
                    <a:lnTo>
                      <a:pt x="101" y="29"/>
                    </a:lnTo>
                    <a:lnTo>
                      <a:pt x="87" y="23"/>
                    </a:lnTo>
                    <a:lnTo>
                      <a:pt x="78" y="23"/>
                    </a:lnTo>
                    <a:lnTo>
                      <a:pt x="69" y="20"/>
                    </a:lnTo>
                    <a:lnTo>
                      <a:pt x="50" y="17"/>
                    </a:lnTo>
                    <a:lnTo>
                      <a:pt x="32" y="15"/>
                    </a:lnTo>
                    <a:lnTo>
                      <a:pt x="14" y="6"/>
                    </a:lnTo>
                    <a:lnTo>
                      <a:pt x="0" y="6"/>
                    </a:lnTo>
                    <a:lnTo>
                      <a:pt x="5" y="0"/>
                    </a:lnTo>
                    <a:lnTo>
                      <a:pt x="14" y="0"/>
                    </a:lnTo>
                    <a:lnTo>
                      <a:pt x="23" y="0"/>
                    </a:lnTo>
                    <a:lnTo>
                      <a:pt x="37" y="0"/>
                    </a:lnTo>
                    <a:lnTo>
                      <a:pt x="46" y="0"/>
                    </a:lnTo>
                    <a:lnTo>
                      <a:pt x="55" y="0"/>
                    </a:lnTo>
                    <a:lnTo>
                      <a:pt x="64" y="0"/>
                    </a:lnTo>
                    <a:lnTo>
                      <a:pt x="73" y="0"/>
                    </a:lnTo>
                    <a:lnTo>
                      <a:pt x="7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5" name="Freeform 159"/>
              <p:cNvSpPr>
                <a:spLocks/>
              </p:cNvSpPr>
              <p:nvPr>
                <p:custDataLst>
                  <p:tags r:id="rId69"/>
                </p:custDataLst>
              </p:nvPr>
            </p:nvSpPr>
            <p:spPr bwMode="gray">
              <a:xfrm>
                <a:off x="632" y="1094"/>
                <a:ext cx="750" cy="290"/>
              </a:xfrm>
              <a:custGeom>
                <a:avLst/>
                <a:gdLst>
                  <a:gd name="T0" fmla="*/ 548 w 731"/>
                  <a:gd name="T1" fmla="*/ 6 h 316"/>
                  <a:gd name="T2" fmla="*/ 472 w 731"/>
                  <a:gd name="T3" fmla="*/ 16 h 316"/>
                  <a:gd name="T4" fmla="*/ 391 w 731"/>
                  <a:gd name="T5" fmla="*/ 28 h 316"/>
                  <a:gd name="T6" fmla="*/ 310 w 731"/>
                  <a:gd name="T7" fmla="*/ 39 h 316"/>
                  <a:gd name="T8" fmla="*/ 243 w 731"/>
                  <a:gd name="T9" fmla="*/ 50 h 316"/>
                  <a:gd name="T10" fmla="*/ 173 w 731"/>
                  <a:gd name="T11" fmla="*/ 60 h 316"/>
                  <a:gd name="T12" fmla="*/ 118 w 731"/>
                  <a:gd name="T13" fmla="*/ 70 h 316"/>
                  <a:gd name="T14" fmla="*/ 66 w 731"/>
                  <a:gd name="T15" fmla="*/ 77 h 316"/>
                  <a:gd name="T16" fmla="*/ 14 w 731"/>
                  <a:gd name="T17" fmla="*/ 87 h 316"/>
                  <a:gd name="T18" fmla="*/ 5 w 731"/>
                  <a:gd name="T19" fmla="*/ 90 h 316"/>
                  <a:gd name="T20" fmla="*/ 49 w 731"/>
                  <a:gd name="T21" fmla="*/ 90 h 316"/>
                  <a:gd name="T22" fmla="*/ 93 w 731"/>
                  <a:gd name="T23" fmla="*/ 92 h 316"/>
                  <a:gd name="T24" fmla="*/ 143 w 731"/>
                  <a:gd name="T25" fmla="*/ 95 h 316"/>
                  <a:gd name="T26" fmla="*/ 194 w 731"/>
                  <a:gd name="T27" fmla="*/ 96 h 316"/>
                  <a:gd name="T28" fmla="*/ 249 w 731"/>
                  <a:gd name="T29" fmla="*/ 98 h 316"/>
                  <a:gd name="T30" fmla="*/ 305 w 731"/>
                  <a:gd name="T31" fmla="*/ 98 h 316"/>
                  <a:gd name="T32" fmla="*/ 353 w 731"/>
                  <a:gd name="T33" fmla="*/ 100 h 316"/>
                  <a:gd name="T34" fmla="*/ 404 w 731"/>
                  <a:gd name="T35" fmla="*/ 103 h 316"/>
                  <a:gd name="T36" fmla="*/ 448 w 731"/>
                  <a:gd name="T37" fmla="*/ 104 h 316"/>
                  <a:gd name="T38" fmla="*/ 499 w 731"/>
                  <a:gd name="T39" fmla="*/ 106 h 316"/>
                  <a:gd name="T40" fmla="*/ 559 w 731"/>
                  <a:gd name="T41" fmla="*/ 106 h 316"/>
                  <a:gd name="T42" fmla="*/ 629 w 731"/>
                  <a:gd name="T43" fmla="*/ 107 h 316"/>
                  <a:gd name="T44" fmla="*/ 710 w 731"/>
                  <a:gd name="T45" fmla="*/ 108 h 316"/>
                  <a:gd name="T46" fmla="*/ 789 w 731"/>
                  <a:gd name="T47" fmla="*/ 110 h 316"/>
                  <a:gd name="T48" fmla="*/ 864 w 731"/>
                  <a:gd name="T49" fmla="*/ 110 h 316"/>
                  <a:gd name="T50" fmla="*/ 927 w 731"/>
                  <a:gd name="T51" fmla="*/ 111 h 316"/>
                  <a:gd name="T52" fmla="*/ 982 w 731"/>
                  <a:gd name="T53" fmla="*/ 113 h 316"/>
                  <a:gd name="T54" fmla="*/ 972 w 731"/>
                  <a:gd name="T55" fmla="*/ 110 h 316"/>
                  <a:gd name="T56" fmla="*/ 921 w 731"/>
                  <a:gd name="T57" fmla="*/ 107 h 316"/>
                  <a:gd name="T58" fmla="*/ 878 w 731"/>
                  <a:gd name="T59" fmla="*/ 107 h 316"/>
                  <a:gd name="T60" fmla="*/ 827 w 731"/>
                  <a:gd name="T61" fmla="*/ 104 h 316"/>
                  <a:gd name="T62" fmla="*/ 773 w 731"/>
                  <a:gd name="T63" fmla="*/ 101 h 316"/>
                  <a:gd name="T64" fmla="*/ 716 w 731"/>
                  <a:gd name="T65" fmla="*/ 98 h 316"/>
                  <a:gd name="T66" fmla="*/ 659 w 731"/>
                  <a:gd name="T67" fmla="*/ 97 h 316"/>
                  <a:gd name="T68" fmla="*/ 603 w 731"/>
                  <a:gd name="T69" fmla="*/ 95 h 316"/>
                  <a:gd name="T70" fmla="*/ 541 w 731"/>
                  <a:gd name="T71" fmla="*/ 90 h 316"/>
                  <a:gd name="T72" fmla="*/ 484 w 731"/>
                  <a:gd name="T73" fmla="*/ 89 h 316"/>
                  <a:gd name="T74" fmla="*/ 422 w 731"/>
                  <a:gd name="T75" fmla="*/ 84 h 316"/>
                  <a:gd name="T76" fmla="*/ 379 w 731"/>
                  <a:gd name="T77" fmla="*/ 83 h 316"/>
                  <a:gd name="T78" fmla="*/ 329 w 731"/>
                  <a:gd name="T79" fmla="*/ 82 h 316"/>
                  <a:gd name="T80" fmla="*/ 286 w 731"/>
                  <a:gd name="T81" fmla="*/ 80 h 316"/>
                  <a:gd name="T82" fmla="*/ 243 w 731"/>
                  <a:gd name="T83" fmla="*/ 76 h 316"/>
                  <a:gd name="T84" fmla="*/ 199 w 731"/>
                  <a:gd name="T85" fmla="*/ 76 h 316"/>
                  <a:gd name="T86" fmla="*/ 603 w 731"/>
                  <a:gd name="T87" fmla="*/ 0 h 3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1"/>
                  <a:gd name="T133" fmla="*/ 0 h 316"/>
                  <a:gd name="T134" fmla="*/ 731 w 731"/>
                  <a:gd name="T135" fmla="*/ 316 h 3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1" h="316">
                    <a:moveTo>
                      <a:pt x="443" y="0"/>
                    </a:moveTo>
                    <a:lnTo>
                      <a:pt x="425" y="6"/>
                    </a:lnTo>
                    <a:lnTo>
                      <a:pt x="402" y="17"/>
                    </a:lnTo>
                    <a:lnTo>
                      <a:pt x="384" y="26"/>
                    </a:lnTo>
                    <a:lnTo>
                      <a:pt x="366" y="37"/>
                    </a:lnTo>
                    <a:lnTo>
                      <a:pt x="347" y="45"/>
                    </a:lnTo>
                    <a:lnTo>
                      <a:pt x="329" y="57"/>
                    </a:lnTo>
                    <a:lnTo>
                      <a:pt x="306" y="65"/>
                    </a:lnTo>
                    <a:lnTo>
                      <a:pt x="288" y="77"/>
                    </a:lnTo>
                    <a:lnTo>
                      <a:pt x="265" y="88"/>
                    </a:lnTo>
                    <a:lnTo>
                      <a:pt x="247" y="100"/>
                    </a:lnTo>
                    <a:lnTo>
                      <a:pt x="228" y="108"/>
                    </a:lnTo>
                    <a:lnTo>
                      <a:pt x="210" y="120"/>
                    </a:lnTo>
                    <a:lnTo>
                      <a:pt x="192" y="128"/>
                    </a:lnTo>
                    <a:lnTo>
                      <a:pt x="178" y="139"/>
                    </a:lnTo>
                    <a:lnTo>
                      <a:pt x="160" y="148"/>
                    </a:lnTo>
                    <a:lnTo>
                      <a:pt x="142" y="159"/>
                    </a:lnTo>
                    <a:lnTo>
                      <a:pt x="128" y="168"/>
                    </a:lnTo>
                    <a:lnTo>
                      <a:pt x="114" y="176"/>
                    </a:lnTo>
                    <a:lnTo>
                      <a:pt x="96" y="188"/>
                    </a:lnTo>
                    <a:lnTo>
                      <a:pt x="87" y="196"/>
                    </a:lnTo>
                    <a:lnTo>
                      <a:pt x="73" y="202"/>
                    </a:lnTo>
                    <a:lnTo>
                      <a:pt x="59" y="211"/>
                    </a:lnTo>
                    <a:lnTo>
                      <a:pt x="50" y="219"/>
                    </a:lnTo>
                    <a:lnTo>
                      <a:pt x="41" y="225"/>
                    </a:lnTo>
                    <a:lnTo>
                      <a:pt x="23" y="233"/>
                    </a:lnTo>
                    <a:lnTo>
                      <a:pt x="14" y="242"/>
                    </a:lnTo>
                    <a:lnTo>
                      <a:pt x="5" y="248"/>
                    </a:lnTo>
                    <a:lnTo>
                      <a:pt x="0" y="251"/>
                    </a:lnTo>
                    <a:lnTo>
                      <a:pt x="5" y="251"/>
                    </a:lnTo>
                    <a:lnTo>
                      <a:pt x="14" y="251"/>
                    </a:lnTo>
                    <a:lnTo>
                      <a:pt x="23" y="253"/>
                    </a:lnTo>
                    <a:lnTo>
                      <a:pt x="37" y="253"/>
                    </a:lnTo>
                    <a:lnTo>
                      <a:pt x="46" y="253"/>
                    </a:lnTo>
                    <a:lnTo>
                      <a:pt x="55" y="256"/>
                    </a:lnTo>
                    <a:lnTo>
                      <a:pt x="69" y="259"/>
                    </a:lnTo>
                    <a:lnTo>
                      <a:pt x="82" y="262"/>
                    </a:lnTo>
                    <a:lnTo>
                      <a:pt x="91" y="262"/>
                    </a:lnTo>
                    <a:lnTo>
                      <a:pt x="105" y="265"/>
                    </a:lnTo>
                    <a:lnTo>
                      <a:pt x="114" y="265"/>
                    </a:lnTo>
                    <a:lnTo>
                      <a:pt x="128" y="268"/>
                    </a:lnTo>
                    <a:lnTo>
                      <a:pt x="142" y="268"/>
                    </a:lnTo>
                    <a:lnTo>
                      <a:pt x="155" y="270"/>
                    </a:lnTo>
                    <a:lnTo>
                      <a:pt x="169" y="270"/>
                    </a:lnTo>
                    <a:lnTo>
                      <a:pt x="183" y="273"/>
                    </a:lnTo>
                    <a:lnTo>
                      <a:pt x="192" y="273"/>
                    </a:lnTo>
                    <a:lnTo>
                      <a:pt x="210" y="276"/>
                    </a:lnTo>
                    <a:lnTo>
                      <a:pt x="224" y="279"/>
                    </a:lnTo>
                    <a:lnTo>
                      <a:pt x="238" y="282"/>
                    </a:lnTo>
                    <a:lnTo>
                      <a:pt x="247" y="282"/>
                    </a:lnTo>
                    <a:lnTo>
                      <a:pt x="260" y="282"/>
                    </a:lnTo>
                    <a:lnTo>
                      <a:pt x="274" y="282"/>
                    </a:lnTo>
                    <a:lnTo>
                      <a:pt x="288" y="285"/>
                    </a:lnTo>
                    <a:lnTo>
                      <a:pt x="297" y="288"/>
                    </a:lnTo>
                    <a:lnTo>
                      <a:pt x="311" y="288"/>
                    </a:lnTo>
                    <a:lnTo>
                      <a:pt x="320" y="288"/>
                    </a:lnTo>
                    <a:lnTo>
                      <a:pt x="329" y="290"/>
                    </a:lnTo>
                    <a:lnTo>
                      <a:pt x="338" y="290"/>
                    </a:lnTo>
                    <a:lnTo>
                      <a:pt x="352" y="290"/>
                    </a:lnTo>
                    <a:lnTo>
                      <a:pt x="366" y="293"/>
                    </a:lnTo>
                    <a:lnTo>
                      <a:pt x="379" y="293"/>
                    </a:lnTo>
                    <a:lnTo>
                      <a:pt x="393" y="293"/>
                    </a:lnTo>
                    <a:lnTo>
                      <a:pt x="411" y="293"/>
                    </a:lnTo>
                    <a:lnTo>
                      <a:pt x="425" y="296"/>
                    </a:lnTo>
                    <a:lnTo>
                      <a:pt x="448" y="299"/>
                    </a:lnTo>
                    <a:lnTo>
                      <a:pt x="462" y="299"/>
                    </a:lnTo>
                    <a:lnTo>
                      <a:pt x="480" y="302"/>
                    </a:lnTo>
                    <a:lnTo>
                      <a:pt x="503" y="302"/>
                    </a:lnTo>
                    <a:lnTo>
                      <a:pt x="521" y="305"/>
                    </a:lnTo>
                    <a:lnTo>
                      <a:pt x="539" y="305"/>
                    </a:lnTo>
                    <a:lnTo>
                      <a:pt x="558" y="307"/>
                    </a:lnTo>
                    <a:lnTo>
                      <a:pt x="580" y="310"/>
                    </a:lnTo>
                    <a:lnTo>
                      <a:pt x="599" y="310"/>
                    </a:lnTo>
                    <a:lnTo>
                      <a:pt x="617" y="310"/>
                    </a:lnTo>
                    <a:lnTo>
                      <a:pt x="635" y="310"/>
                    </a:lnTo>
                    <a:lnTo>
                      <a:pt x="649" y="313"/>
                    </a:lnTo>
                    <a:lnTo>
                      <a:pt x="672" y="313"/>
                    </a:lnTo>
                    <a:lnTo>
                      <a:pt x="681" y="313"/>
                    </a:lnTo>
                    <a:lnTo>
                      <a:pt x="699" y="316"/>
                    </a:lnTo>
                    <a:lnTo>
                      <a:pt x="708" y="316"/>
                    </a:lnTo>
                    <a:lnTo>
                      <a:pt x="722" y="316"/>
                    </a:lnTo>
                    <a:lnTo>
                      <a:pt x="731" y="316"/>
                    </a:lnTo>
                    <a:lnTo>
                      <a:pt x="731" y="313"/>
                    </a:lnTo>
                    <a:lnTo>
                      <a:pt x="713" y="310"/>
                    </a:lnTo>
                    <a:lnTo>
                      <a:pt x="695" y="307"/>
                    </a:lnTo>
                    <a:lnTo>
                      <a:pt x="690" y="305"/>
                    </a:lnTo>
                    <a:lnTo>
                      <a:pt x="676" y="302"/>
                    </a:lnTo>
                    <a:lnTo>
                      <a:pt x="667" y="302"/>
                    </a:lnTo>
                    <a:lnTo>
                      <a:pt x="658" y="302"/>
                    </a:lnTo>
                    <a:lnTo>
                      <a:pt x="644" y="299"/>
                    </a:lnTo>
                    <a:lnTo>
                      <a:pt x="635" y="296"/>
                    </a:lnTo>
                    <a:lnTo>
                      <a:pt x="617" y="293"/>
                    </a:lnTo>
                    <a:lnTo>
                      <a:pt x="608" y="290"/>
                    </a:lnTo>
                    <a:lnTo>
                      <a:pt x="590" y="290"/>
                    </a:lnTo>
                    <a:lnTo>
                      <a:pt x="580" y="288"/>
                    </a:lnTo>
                    <a:lnTo>
                      <a:pt x="567" y="285"/>
                    </a:lnTo>
                    <a:lnTo>
                      <a:pt x="558" y="285"/>
                    </a:lnTo>
                    <a:lnTo>
                      <a:pt x="539" y="282"/>
                    </a:lnTo>
                    <a:lnTo>
                      <a:pt x="526" y="279"/>
                    </a:lnTo>
                    <a:lnTo>
                      <a:pt x="512" y="276"/>
                    </a:lnTo>
                    <a:lnTo>
                      <a:pt x="503" y="273"/>
                    </a:lnTo>
                    <a:lnTo>
                      <a:pt x="484" y="270"/>
                    </a:lnTo>
                    <a:lnTo>
                      <a:pt x="471" y="268"/>
                    </a:lnTo>
                    <a:lnTo>
                      <a:pt x="457" y="265"/>
                    </a:lnTo>
                    <a:lnTo>
                      <a:pt x="443" y="265"/>
                    </a:lnTo>
                    <a:lnTo>
                      <a:pt x="425" y="262"/>
                    </a:lnTo>
                    <a:lnTo>
                      <a:pt x="411" y="259"/>
                    </a:lnTo>
                    <a:lnTo>
                      <a:pt x="398" y="253"/>
                    </a:lnTo>
                    <a:lnTo>
                      <a:pt x="384" y="253"/>
                    </a:lnTo>
                    <a:lnTo>
                      <a:pt x="370" y="251"/>
                    </a:lnTo>
                    <a:lnTo>
                      <a:pt x="356" y="248"/>
                    </a:lnTo>
                    <a:lnTo>
                      <a:pt x="343" y="245"/>
                    </a:lnTo>
                    <a:lnTo>
                      <a:pt x="329" y="242"/>
                    </a:lnTo>
                    <a:lnTo>
                      <a:pt x="311" y="239"/>
                    </a:lnTo>
                    <a:lnTo>
                      <a:pt x="302" y="239"/>
                    </a:lnTo>
                    <a:lnTo>
                      <a:pt x="292" y="233"/>
                    </a:lnTo>
                    <a:lnTo>
                      <a:pt x="279" y="233"/>
                    </a:lnTo>
                    <a:lnTo>
                      <a:pt x="265" y="231"/>
                    </a:lnTo>
                    <a:lnTo>
                      <a:pt x="256" y="231"/>
                    </a:lnTo>
                    <a:lnTo>
                      <a:pt x="242" y="228"/>
                    </a:lnTo>
                    <a:lnTo>
                      <a:pt x="238" y="225"/>
                    </a:lnTo>
                    <a:lnTo>
                      <a:pt x="224" y="225"/>
                    </a:lnTo>
                    <a:lnTo>
                      <a:pt x="210" y="222"/>
                    </a:lnTo>
                    <a:lnTo>
                      <a:pt x="201" y="219"/>
                    </a:lnTo>
                    <a:lnTo>
                      <a:pt x="192" y="219"/>
                    </a:lnTo>
                    <a:lnTo>
                      <a:pt x="178" y="216"/>
                    </a:lnTo>
                    <a:lnTo>
                      <a:pt x="169" y="214"/>
                    </a:lnTo>
                    <a:lnTo>
                      <a:pt x="155" y="211"/>
                    </a:lnTo>
                    <a:lnTo>
                      <a:pt x="146" y="211"/>
                    </a:lnTo>
                    <a:lnTo>
                      <a:pt x="142" y="211"/>
                    </a:lnTo>
                    <a:lnTo>
                      <a:pt x="44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6" name="Freeform 160"/>
              <p:cNvSpPr>
                <a:spLocks/>
              </p:cNvSpPr>
              <p:nvPr>
                <p:custDataLst>
                  <p:tags r:id="rId70"/>
                </p:custDataLst>
              </p:nvPr>
            </p:nvSpPr>
            <p:spPr bwMode="gray">
              <a:xfrm>
                <a:off x="2047" y="511"/>
                <a:ext cx="988" cy="211"/>
              </a:xfrm>
              <a:custGeom>
                <a:avLst/>
                <a:gdLst>
                  <a:gd name="T0" fmla="*/ 44 w 964"/>
                  <a:gd name="T1" fmla="*/ 72 h 231"/>
                  <a:gd name="T2" fmla="*/ 116 w 964"/>
                  <a:gd name="T3" fmla="*/ 63 h 231"/>
                  <a:gd name="T4" fmla="*/ 171 w 964"/>
                  <a:gd name="T5" fmla="*/ 58 h 231"/>
                  <a:gd name="T6" fmla="*/ 214 w 964"/>
                  <a:gd name="T7" fmla="*/ 53 h 231"/>
                  <a:gd name="T8" fmla="*/ 264 w 964"/>
                  <a:gd name="T9" fmla="*/ 46 h 231"/>
                  <a:gd name="T10" fmla="*/ 307 w 964"/>
                  <a:gd name="T11" fmla="*/ 43 h 231"/>
                  <a:gd name="T12" fmla="*/ 356 w 964"/>
                  <a:gd name="T13" fmla="*/ 37 h 231"/>
                  <a:gd name="T14" fmla="*/ 399 w 964"/>
                  <a:gd name="T15" fmla="*/ 33 h 231"/>
                  <a:gd name="T16" fmla="*/ 449 w 964"/>
                  <a:gd name="T17" fmla="*/ 29 h 231"/>
                  <a:gd name="T18" fmla="*/ 492 w 964"/>
                  <a:gd name="T19" fmla="*/ 24 h 231"/>
                  <a:gd name="T20" fmla="*/ 540 w 964"/>
                  <a:gd name="T21" fmla="*/ 20 h 231"/>
                  <a:gd name="T22" fmla="*/ 583 w 964"/>
                  <a:gd name="T23" fmla="*/ 16 h 231"/>
                  <a:gd name="T24" fmla="*/ 625 w 964"/>
                  <a:gd name="T25" fmla="*/ 14 h 231"/>
                  <a:gd name="T26" fmla="*/ 668 w 964"/>
                  <a:gd name="T27" fmla="*/ 11 h 231"/>
                  <a:gd name="T28" fmla="*/ 737 w 964"/>
                  <a:gd name="T29" fmla="*/ 5 h 231"/>
                  <a:gd name="T30" fmla="*/ 805 w 964"/>
                  <a:gd name="T31" fmla="*/ 5 h 231"/>
                  <a:gd name="T32" fmla="*/ 867 w 964"/>
                  <a:gd name="T33" fmla="*/ 0 h 231"/>
                  <a:gd name="T34" fmla="*/ 915 w 964"/>
                  <a:gd name="T35" fmla="*/ 0 h 231"/>
                  <a:gd name="T36" fmla="*/ 969 w 964"/>
                  <a:gd name="T37" fmla="*/ 0 h 231"/>
                  <a:gd name="T38" fmla="*/ 1019 w 964"/>
                  <a:gd name="T39" fmla="*/ 5 h 231"/>
                  <a:gd name="T40" fmla="*/ 1081 w 964"/>
                  <a:gd name="T41" fmla="*/ 5 h 231"/>
                  <a:gd name="T42" fmla="*/ 1129 w 964"/>
                  <a:gd name="T43" fmla="*/ 8 h 231"/>
                  <a:gd name="T44" fmla="*/ 1180 w 964"/>
                  <a:gd name="T45" fmla="*/ 12 h 231"/>
                  <a:gd name="T46" fmla="*/ 1227 w 964"/>
                  <a:gd name="T47" fmla="*/ 15 h 231"/>
                  <a:gd name="T48" fmla="*/ 1283 w 964"/>
                  <a:gd name="T49" fmla="*/ 19 h 231"/>
                  <a:gd name="T50" fmla="*/ 1295 w 964"/>
                  <a:gd name="T51" fmla="*/ 20 h 231"/>
                  <a:gd name="T52" fmla="*/ 1246 w 964"/>
                  <a:gd name="T53" fmla="*/ 18 h 231"/>
                  <a:gd name="T54" fmla="*/ 1180 w 964"/>
                  <a:gd name="T55" fmla="*/ 15 h 231"/>
                  <a:gd name="T56" fmla="*/ 1137 w 964"/>
                  <a:gd name="T57" fmla="*/ 15 h 231"/>
                  <a:gd name="T58" fmla="*/ 1081 w 964"/>
                  <a:gd name="T59" fmla="*/ 13 h 231"/>
                  <a:gd name="T60" fmla="*/ 1019 w 964"/>
                  <a:gd name="T61" fmla="*/ 12 h 231"/>
                  <a:gd name="T62" fmla="*/ 959 w 964"/>
                  <a:gd name="T63" fmla="*/ 11 h 231"/>
                  <a:gd name="T64" fmla="*/ 896 w 964"/>
                  <a:gd name="T65" fmla="*/ 12 h 231"/>
                  <a:gd name="T66" fmla="*/ 835 w 964"/>
                  <a:gd name="T67" fmla="*/ 13 h 231"/>
                  <a:gd name="T68" fmla="*/ 767 w 964"/>
                  <a:gd name="T69" fmla="*/ 15 h 231"/>
                  <a:gd name="T70" fmla="*/ 700 w 964"/>
                  <a:gd name="T71" fmla="*/ 19 h 231"/>
                  <a:gd name="T72" fmla="*/ 656 w 964"/>
                  <a:gd name="T73" fmla="*/ 22 h 231"/>
                  <a:gd name="T74" fmla="*/ 615 w 964"/>
                  <a:gd name="T75" fmla="*/ 26 h 231"/>
                  <a:gd name="T76" fmla="*/ 559 w 964"/>
                  <a:gd name="T77" fmla="*/ 30 h 231"/>
                  <a:gd name="T78" fmla="*/ 508 w 964"/>
                  <a:gd name="T79" fmla="*/ 33 h 231"/>
                  <a:gd name="T80" fmla="*/ 461 w 964"/>
                  <a:gd name="T81" fmla="*/ 37 h 231"/>
                  <a:gd name="T82" fmla="*/ 407 w 964"/>
                  <a:gd name="T83" fmla="*/ 41 h 231"/>
                  <a:gd name="T84" fmla="*/ 356 w 964"/>
                  <a:gd name="T85" fmla="*/ 44 h 231"/>
                  <a:gd name="T86" fmla="*/ 307 w 964"/>
                  <a:gd name="T87" fmla="*/ 49 h 231"/>
                  <a:gd name="T88" fmla="*/ 253 w 964"/>
                  <a:gd name="T89" fmla="*/ 53 h 231"/>
                  <a:gd name="T90" fmla="*/ 209 w 964"/>
                  <a:gd name="T91" fmla="*/ 58 h 231"/>
                  <a:gd name="T92" fmla="*/ 166 w 964"/>
                  <a:gd name="T93" fmla="*/ 63 h 231"/>
                  <a:gd name="T94" fmla="*/ 116 w 964"/>
                  <a:gd name="T95" fmla="*/ 66 h 231"/>
                  <a:gd name="T96" fmla="*/ 49 w 964"/>
                  <a:gd name="T97" fmla="*/ 73 h 231"/>
                  <a:gd name="T98" fmla="*/ 0 w 964"/>
                  <a:gd name="T99" fmla="*/ 77 h 2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231"/>
                  <a:gd name="T152" fmla="*/ 964 w 964"/>
                  <a:gd name="T153" fmla="*/ 231 h 2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231">
                    <a:moveTo>
                      <a:pt x="0" y="231"/>
                    </a:moveTo>
                    <a:lnTo>
                      <a:pt x="14" y="222"/>
                    </a:lnTo>
                    <a:lnTo>
                      <a:pt x="32" y="214"/>
                    </a:lnTo>
                    <a:lnTo>
                      <a:pt x="46" y="202"/>
                    </a:lnTo>
                    <a:lnTo>
                      <a:pt x="69" y="197"/>
                    </a:lnTo>
                    <a:lnTo>
                      <a:pt x="87" y="185"/>
                    </a:lnTo>
                    <a:lnTo>
                      <a:pt x="105" y="177"/>
                    </a:lnTo>
                    <a:lnTo>
                      <a:pt x="119" y="171"/>
                    </a:lnTo>
                    <a:lnTo>
                      <a:pt x="128" y="168"/>
                    </a:lnTo>
                    <a:lnTo>
                      <a:pt x="142" y="163"/>
                    </a:lnTo>
                    <a:lnTo>
                      <a:pt x="151" y="157"/>
                    </a:lnTo>
                    <a:lnTo>
                      <a:pt x="160" y="154"/>
                    </a:lnTo>
                    <a:lnTo>
                      <a:pt x="169" y="148"/>
                    </a:lnTo>
                    <a:lnTo>
                      <a:pt x="183" y="143"/>
                    </a:lnTo>
                    <a:lnTo>
                      <a:pt x="197" y="137"/>
                    </a:lnTo>
                    <a:lnTo>
                      <a:pt x="206" y="134"/>
                    </a:lnTo>
                    <a:lnTo>
                      <a:pt x="220" y="128"/>
                    </a:lnTo>
                    <a:lnTo>
                      <a:pt x="229" y="126"/>
                    </a:lnTo>
                    <a:lnTo>
                      <a:pt x="238" y="120"/>
                    </a:lnTo>
                    <a:lnTo>
                      <a:pt x="256" y="114"/>
                    </a:lnTo>
                    <a:lnTo>
                      <a:pt x="265" y="111"/>
                    </a:lnTo>
                    <a:lnTo>
                      <a:pt x="274" y="106"/>
                    </a:lnTo>
                    <a:lnTo>
                      <a:pt x="288" y="103"/>
                    </a:lnTo>
                    <a:lnTo>
                      <a:pt x="297" y="97"/>
                    </a:lnTo>
                    <a:lnTo>
                      <a:pt x="311" y="91"/>
                    </a:lnTo>
                    <a:lnTo>
                      <a:pt x="325" y="91"/>
                    </a:lnTo>
                    <a:lnTo>
                      <a:pt x="334" y="86"/>
                    </a:lnTo>
                    <a:lnTo>
                      <a:pt x="343" y="80"/>
                    </a:lnTo>
                    <a:lnTo>
                      <a:pt x="357" y="77"/>
                    </a:lnTo>
                    <a:lnTo>
                      <a:pt x="366" y="71"/>
                    </a:lnTo>
                    <a:lnTo>
                      <a:pt x="379" y="69"/>
                    </a:lnTo>
                    <a:lnTo>
                      <a:pt x="389" y="66"/>
                    </a:lnTo>
                    <a:lnTo>
                      <a:pt x="402" y="60"/>
                    </a:lnTo>
                    <a:lnTo>
                      <a:pt x="411" y="57"/>
                    </a:lnTo>
                    <a:lnTo>
                      <a:pt x="425" y="54"/>
                    </a:lnTo>
                    <a:lnTo>
                      <a:pt x="434" y="49"/>
                    </a:lnTo>
                    <a:lnTo>
                      <a:pt x="448" y="49"/>
                    </a:lnTo>
                    <a:lnTo>
                      <a:pt x="457" y="43"/>
                    </a:lnTo>
                    <a:lnTo>
                      <a:pt x="466" y="40"/>
                    </a:lnTo>
                    <a:lnTo>
                      <a:pt x="480" y="37"/>
                    </a:lnTo>
                    <a:lnTo>
                      <a:pt x="489" y="34"/>
                    </a:lnTo>
                    <a:lnTo>
                      <a:pt x="498" y="32"/>
                    </a:lnTo>
                    <a:lnTo>
                      <a:pt x="512" y="29"/>
                    </a:lnTo>
                    <a:lnTo>
                      <a:pt x="530" y="23"/>
                    </a:lnTo>
                    <a:lnTo>
                      <a:pt x="549" y="17"/>
                    </a:lnTo>
                    <a:lnTo>
                      <a:pt x="567" y="15"/>
                    </a:lnTo>
                    <a:lnTo>
                      <a:pt x="585" y="9"/>
                    </a:lnTo>
                    <a:lnTo>
                      <a:pt x="599" y="6"/>
                    </a:lnTo>
                    <a:lnTo>
                      <a:pt x="617" y="6"/>
                    </a:lnTo>
                    <a:lnTo>
                      <a:pt x="631" y="0"/>
                    </a:lnTo>
                    <a:lnTo>
                      <a:pt x="645" y="0"/>
                    </a:lnTo>
                    <a:lnTo>
                      <a:pt x="654" y="0"/>
                    </a:lnTo>
                    <a:lnTo>
                      <a:pt x="667" y="0"/>
                    </a:lnTo>
                    <a:lnTo>
                      <a:pt x="681" y="0"/>
                    </a:lnTo>
                    <a:lnTo>
                      <a:pt x="695" y="0"/>
                    </a:lnTo>
                    <a:lnTo>
                      <a:pt x="704" y="0"/>
                    </a:lnTo>
                    <a:lnTo>
                      <a:pt x="722" y="0"/>
                    </a:lnTo>
                    <a:lnTo>
                      <a:pt x="736" y="3"/>
                    </a:lnTo>
                    <a:lnTo>
                      <a:pt x="750" y="6"/>
                    </a:lnTo>
                    <a:lnTo>
                      <a:pt x="759" y="6"/>
                    </a:lnTo>
                    <a:lnTo>
                      <a:pt x="777" y="9"/>
                    </a:lnTo>
                    <a:lnTo>
                      <a:pt x="786" y="12"/>
                    </a:lnTo>
                    <a:lnTo>
                      <a:pt x="804" y="17"/>
                    </a:lnTo>
                    <a:lnTo>
                      <a:pt x="814" y="17"/>
                    </a:lnTo>
                    <a:lnTo>
                      <a:pt x="827" y="20"/>
                    </a:lnTo>
                    <a:lnTo>
                      <a:pt x="841" y="23"/>
                    </a:lnTo>
                    <a:lnTo>
                      <a:pt x="855" y="29"/>
                    </a:lnTo>
                    <a:lnTo>
                      <a:pt x="864" y="29"/>
                    </a:lnTo>
                    <a:lnTo>
                      <a:pt x="878" y="34"/>
                    </a:lnTo>
                    <a:lnTo>
                      <a:pt x="887" y="37"/>
                    </a:lnTo>
                    <a:lnTo>
                      <a:pt x="896" y="40"/>
                    </a:lnTo>
                    <a:lnTo>
                      <a:pt x="914" y="43"/>
                    </a:lnTo>
                    <a:lnTo>
                      <a:pt x="932" y="49"/>
                    </a:lnTo>
                    <a:lnTo>
                      <a:pt x="946" y="54"/>
                    </a:lnTo>
                    <a:lnTo>
                      <a:pt x="955" y="57"/>
                    </a:lnTo>
                    <a:lnTo>
                      <a:pt x="964" y="60"/>
                    </a:lnTo>
                    <a:lnTo>
                      <a:pt x="955" y="60"/>
                    </a:lnTo>
                    <a:lnTo>
                      <a:pt x="946" y="57"/>
                    </a:lnTo>
                    <a:lnTo>
                      <a:pt x="928" y="54"/>
                    </a:lnTo>
                    <a:lnTo>
                      <a:pt x="910" y="49"/>
                    </a:lnTo>
                    <a:lnTo>
                      <a:pt x="891" y="49"/>
                    </a:lnTo>
                    <a:lnTo>
                      <a:pt x="878" y="46"/>
                    </a:lnTo>
                    <a:lnTo>
                      <a:pt x="868" y="43"/>
                    </a:lnTo>
                    <a:lnTo>
                      <a:pt x="859" y="43"/>
                    </a:lnTo>
                    <a:lnTo>
                      <a:pt x="846" y="43"/>
                    </a:lnTo>
                    <a:lnTo>
                      <a:pt x="832" y="40"/>
                    </a:lnTo>
                    <a:lnTo>
                      <a:pt x="823" y="37"/>
                    </a:lnTo>
                    <a:lnTo>
                      <a:pt x="804" y="37"/>
                    </a:lnTo>
                    <a:lnTo>
                      <a:pt x="791" y="37"/>
                    </a:lnTo>
                    <a:lnTo>
                      <a:pt x="772" y="34"/>
                    </a:lnTo>
                    <a:lnTo>
                      <a:pt x="759" y="34"/>
                    </a:lnTo>
                    <a:lnTo>
                      <a:pt x="745" y="34"/>
                    </a:lnTo>
                    <a:lnTo>
                      <a:pt x="731" y="34"/>
                    </a:lnTo>
                    <a:lnTo>
                      <a:pt x="713" y="32"/>
                    </a:lnTo>
                    <a:lnTo>
                      <a:pt x="699" y="32"/>
                    </a:lnTo>
                    <a:lnTo>
                      <a:pt x="681" y="32"/>
                    </a:lnTo>
                    <a:lnTo>
                      <a:pt x="667" y="34"/>
                    </a:lnTo>
                    <a:lnTo>
                      <a:pt x="654" y="34"/>
                    </a:lnTo>
                    <a:lnTo>
                      <a:pt x="635" y="37"/>
                    </a:lnTo>
                    <a:lnTo>
                      <a:pt x="622" y="37"/>
                    </a:lnTo>
                    <a:lnTo>
                      <a:pt x="608" y="43"/>
                    </a:lnTo>
                    <a:lnTo>
                      <a:pt x="585" y="43"/>
                    </a:lnTo>
                    <a:lnTo>
                      <a:pt x="571" y="46"/>
                    </a:lnTo>
                    <a:lnTo>
                      <a:pt x="549" y="49"/>
                    </a:lnTo>
                    <a:lnTo>
                      <a:pt x="530" y="57"/>
                    </a:lnTo>
                    <a:lnTo>
                      <a:pt x="521" y="57"/>
                    </a:lnTo>
                    <a:lnTo>
                      <a:pt x="512" y="60"/>
                    </a:lnTo>
                    <a:lnTo>
                      <a:pt x="498" y="63"/>
                    </a:lnTo>
                    <a:lnTo>
                      <a:pt x="489" y="66"/>
                    </a:lnTo>
                    <a:lnTo>
                      <a:pt x="480" y="71"/>
                    </a:lnTo>
                    <a:lnTo>
                      <a:pt x="466" y="71"/>
                    </a:lnTo>
                    <a:lnTo>
                      <a:pt x="457" y="77"/>
                    </a:lnTo>
                    <a:lnTo>
                      <a:pt x="443" y="80"/>
                    </a:lnTo>
                    <a:lnTo>
                      <a:pt x="430" y="83"/>
                    </a:lnTo>
                    <a:lnTo>
                      <a:pt x="416" y="89"/>
                    </a:lnTo>
                    <a:lnTo>
                      <a:pt x="402" y="91"/>
                    </a:lnTo>
                    <a:lnTo>
                      <a:pt x="393" y="94"/>
                    </a:lnTo>
                    <a:lnTo>
                      <a:pt x="379" y="97"/>
                    </a:lnTo>
                    <a:lnTo>
                      <a:pt x="366" y="103"/>
                    </a:lnTo>
                    <a:lnTo>
                      <a:pt x="357" y="106"/>
                    </a:lnTo>
                    <a:lnTo>
                      <a:pt x="343" y="111"/>
                    </a:lnTo>
                    <a:lnTo>
                      <a:pt x="325" y="114"/>
                    </a:lnTo>
                    <a:lnTo>
                      <a:pt x="311" y="117"/>
                    </a:lnTo>
                    <a:lnTo>
                      <a:pt x="302" y="123"/>
                    </a:lnTo>
                    <a:lnTo>
                      <a:pt x="288" y="128"/>
                    </a:lnTo>
                    <a:lnTo>
                      <a:pt x="274" y="131"/>
                    </a:lnTo>
                    <a:lnTo>
                      <a:pt x="265" y="134"/>
                    </a:lnTo>
                    <a:lnTo>
                      <a:pt x="256" y="140"/>
                    </a:lnTo>
                    <a:lnTo>
                      <a:pt x="238" y="145"/>
                    </a:lnTo>
                    <a:lnTo>
                      <a:pt x="229" y="148"/>
                    </a:lnTo>
                    <a:lnTo>
                      <a:pt x="215" y="151"/>
                    </a:lnTo>
                    <a:lnTo>
                      <a:pt x="201" y="157"/>
                    </a:lnTo>
                    <a:lnTo>
                      <a:pt x="188" y="160"/>
                    </a:lnTo>
                    <a:lnTo>
                      <a:pt x="178" y="163"/>
                    </a:lnTo>
                    <a:lnTo>
                      <a:pt x="169" y="168"/>
                    </a:lnTo>
                    <a:lnTo>
                      <a:pt x="156" y="171"/>
                    </a:lnTo>
                    <a:lnTo>
                      <a:pt x="146" y="177"/>
                    </a:lnTo>
                    <a:lnTo>
                      <a:pt x="133" y="180"/>
                    </a:lnTo>
                    <a:lnTo>
                      <a:pt x="124" y="183"/>
                    </a:lnTo>
                    <a:lnTo>
                      <a:pt x="114" y="185"/>
                    </a:lnTo>
                    <a:lnTo>
                      <a:pt x="105" y="191"/>
                    </a:lnTo>
                    <a:lnTo>
                      <a:pt x="87" y="197"/>
                    </a:lnTo>
                    <a:lnTo>
                      <a:pt x="69" y="205"/>
                    </a:lnTo>
                    <a:lnTo>
                      <a:pt x="55" y="211"/>
                    </a:lnTo>
                    <a:lnTo>
                      <a:pt x="37" y="217"/>
                    </a:lnTo>
                    <a:lnTo>
                      <a:pt x="28" y="220"/>
                    </a:lnTo>
                    <a:lnTo>
                      <a:pt x="18" y="225"/>
                    </a:lnTo>
                    <a:lnTo>
                      <a:pt x="0" y="23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7" name="Freeform 161"/>
              <p:cNvSpPr>
                <a:spLocks/>
              </p:cNvSpPr>
              <p:nvPr>
                <p:custDataLst>
                  <p:tags r:id="rId71"/>
                </p:custDataLst>
              </p:nvPr>
            </p:nvSpPr>
            <p:spPr bwMode="gray">
              <a:xfrm>
                <a:off x="4230" y="923"/>
                <a:ext cx="797" cy="336"/>
              </a:xfrm>
              <a:custGeom>
                <a:avLst/>
                <a:gdLst>
                  <a:gd name="T0" fmla="*/ 35 w 777"/>
                  <a:gd name="T1" fmla="*/ 5 h 367"/>
                  <a:gd name="T2" fmla="*/ 88 w 777"/>
                  <a:gd name="T3" fmla="*/ 8 h 367"/>
                  <a:gd name="T4" fmla="*/ 136 w 777"/>
                  <a:gd name="T5" fmla="*/ 13 h 367"/>
                  <a:gd name="T6" fmla="*/ 187 w 777"/>
                  <a:gd name="T7" fmla="*/ 17 h 367"/>
                  <a:gd name="T8" fmla="*/ 248 w 777"/>
                  <a:gd name="T9" fmla="*/ 24 h 367"/>
                  <a:gd name="T10" fmla="*/ 309 w 777"/>
                  <a:gd name="T11" fmla="*/ 31 h 367"/>
                  <a:gd name="T12" fmla="*/ 378 w 777"/>
                  <a:gd name="T13" fmla="*/ 38 h 367"/>
                  <a:gd name="T14" fmla="*/ 446 w 777"/>
                  <a:gd name="T15" fmla="*/ 45 h 367"/>
                  <a:gd name="T16" fmla="*/ 521 w 777"/>
                  <a:gd name="T17" fmla="*/ 54 h 367"/>
                  <a:gd name="T18" fmla="*/ 588 w 777"/>
                  <a:gd name="T19" fmla="*/ 61 h 367"/>
                  <a:gd name="T20" fmla="*/ 664 w 777"/>
                  <a:gd name="T21" fmla="*/ 69 h 367"/>
                  <a:gd name="T22" fmla="*/ 731 w 777"/>
                  <a:gd name="T23" fmla="*/ 76 h 367"/>
                  <a:gd name="T24" fmla="*/ 793 w 777"/>
                  <a:gd name="T25" fmla="*/ 83 h 367"/>
                  <a:gd name="T26" fmla="*/ 854 w 777"/>
                  <a:gd name="T27" fmla="*/ 90 h 367"/>
                  <a:gd name="T28" fmla="*/ 912 w 777"/>
                  <a:gd name="T29" fmla="*/ 95 h 367"/>
                  <a:gd name="T30" fmla="*/ 961 w 777"/>
                  <a:gd name="T31" fmla="*/ 102 h 367"/>
                  <a:gd name="T32" fmla="*/ 1015 w 777"/>
                  <a:gd name="T33" fmla="*/ 110 h 367"/>
                  <a:gd name="T34" fmla="*/ 1055 w 777"/>
                  <a:gd name="T35" fmla="*/ 114 h 367"/>
                  <a:gd name="T36" fmla="*/ 1015 w 777"/>
                  <a:gd name="T37" fmla="*/ 114 h 367"/>
                  <a:gd name="T38" fmla="*/ 966 w 777"/>
                  <a:gd name="T39" fmla="*/ 118 h 367"/>
                  <a:gd name="T40" fmla="*/ 907 w 777"/>
                  <a:gd name="T41" fmla="*/ 119 h 367"/>
                  <a:gd name="T42" fmla="*/ 830 w 777"/>
                  <a:gd name="T43" fmla="*/ 121 h 367"/>
                  <a:gd name="T44" fmla="*/ 755 w 777"/>
                  <a:gd name="T45" fmla="*/ 123 h 367"/>
                  <a:gd name="T46" fmla="*/ 669 w 777"/>
                  <a:gd name="T47" fmla="*/ 125 h 367"/>
                  <a:gd name="T48" fmla="*/ 601 w 777"/>
                  <a:gd name="T49" fmla="*/ 125 h 367"/>
                  <a:gd name="T50" fmla="*/ 539 w 777"/>
                  <a:gd name="T51" fmla="*/ 127 h 367"/>
                  <a:gd name="T52" fmla="*/ 793 w 777"/>
                  <a:gd name="T53" fmla="*/ 101 h 367"/>
                  <a:gd name="T54" fmla="*/ 743 w 777"/>
                  <a:gd name="T55" fmla="*/ 94 h 367"/>
                  <a:gd name="T56" fmla="*/ 695 w 777"/>
                  <a:gd name="T57" fmla="*/ 87 h 367"/>
                  <a:gd name="T58" fmla="*/ 645 w 777"/>
                  <a:gd name="T59" fmla="*/ 81 h 367"/>
                  <a:gd name="T60" fmla="*/ 597 w 777"/>
                  <a:gd name="T61" fmla="*/ 74 h 367"/>
                  <a:gd name="T62" fmla="*/ 539 w 777"/>
                  <a:gd name="T63" fmla="*/ 69 h 367"/>
                  <a:gd name="T64" fmla="*/ 490 w 777"/>
                  <a:gd name="T65" fmla="*/ 61 h 367"/>
                  <a:gd name="T66" fmla="*/ 422 w 777"/>
                  <a:gd name="T67" fmla="*/ 55 h 367"/>
                  <a:gd name="T68" fmla="*/ 371 w 777"/>
                  <a:gd name="T69" fmla="*/ 47 h 367"/>
                  <a:gd name="T70" fmla="*/ 309 w 777"/>
                  <a:gd name="T71" fmla="*/ 41 h 367"/>
                  <a:gd name="T72" fmla="*/ 253 w 777"/>
                  <a:gd name="T73" fmla="*/ 34 h 367"/>
                  <a:gd name="T74" fmla="*/ 198 w 777"/>
                  <a:gd name="T75" fmla="*/ 26 h 367"/>
                  <a:gd name="T76" fmla="*/ 154 w 777"/>
                  <a:gd name="T77" fmla="*/ 20 h 367"/>
                  <a:gd name="T78" fmla="*/ 110 w 777"/>
                  <a:gd name="T79" fmla="*/ 14 h 367"/>
                  <a:gd name="T80" fmla="*/ 48 w 777"/>
                  <a:gd name="T81" fmla="*/ 5 h 367"/>
                  <a:gd name="T82" fmla="*/ 0 w 777"/>
                  <a:gd name="T83" fmla="*/ 0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7"/>
                  <a:gd name="T127" fmla="*/ 0 h 367"/>
                  <a:gd name="T128" fmla="*/ 777 w 777"/>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7" h="367">
                    <a:moveTo>
                      <a:pt x="4" y="0"/>
                    </a:moveTo>
                    <a:lnTo>
                      <a:pt x="9" y="0"/>
                    </a:lnTo>
                    <a:lnTo>
                      <a:pt x="23" y="6"/>
                    </a:lnTo>
                    <a:lnTo>
                      <a:pt x="36" y="11"/>
                    </a:lnTo>
                    <a:lnTo>
                      <a:pt x="55" y="17"/>
                    </a:lnTo>
                    <a:lnTo>
                      <a:pt x="64" y="23"/>
                    </a:lnTo>
                    <a:lnTo>
                      <a:pt x="73" y="26"/>
                    </a:lnTo>
                    <a:lnTo>
                      <a:pt x="87" y="28"/>
                    </a:lnTo>
                    <a:lnTo>
                      <a:pt x="100" y="37"/>
                    </a:lnTo>
                    <a:lnTo>
                      <a:pt x="110" y="40"/>
                    </a:lnTo>
                    <a:lnTo>
                      <a:pt x="123" y="46"/>
                    </a:lnTo>
                    <a:lnTo>
                      <a:pt x="137" y="51"/>
                    </a:lnTo>
                    <a:lnTo>
                      <a:pt x="155" y="57"/>
                    </a:lnTo>
                    <a:lnTo>
                      <a:pt x="169" y="65"/>
                    </a:lnTo>
                    <a:lnTo>
                      <a:pt x="183" y="68"/>
                    </a:lnTo>
                    <a:lnTo>
                      <a:pt x="196" y="74"/>
                    </a:lnTo>
                    <a:lnTo>
                      <a:pt x="215" y="85"/>
                    </a:lnTo>
                    <a:lnTo>
                      <a:pt x="228" y="88"/>
                    </a:lnTo>
                    <a:lnTo>
                      <a:pt x="247" y="97"/>
                    </a:lnTo>
                    <a:lnTo>
                      <a:pt x="260" y="105"/>
                    </a:lnTo>
                    <a:lnTo>
                      <a:pt x="279" y="111"/>
                    </a:lnTo>
                    <a:lnTo>
                      <a:pt x="297" y="117"/>
                    </a:lnTo>
                    <a:lnTo>
                      <a:pt x="311" y="125"/>
                    </a:lnTo>
                    <a:lnTo>
                      <a:pt x="329" y="131"/>
                    </a:lnTo>
                    <a:lnTo>
                      <a:pt x="347" y="140"/>
                    </a:lnTo>
                    <a:lnTo>
                      <a:pt x="365" y="148"/>
                    </a:lnTo>
                    <a:lnTo>
                      <a:pt x="384" y="154"/>
                    </a:lnTo>
                    <a:lnTo>
                      <a:pt x="402" y="162"/>
                    </a:lnTo>
                    <a:lnTo>
                      <a:pt x="420" y="171"/>
                    </a:lnTo>
                    <a:lnTo>
                      <a:pt x="434" y="177"/>
                    </a:lnTo>
                    <a:lnTo>
                      <a:pt x="457" y="185"/>
                    </a:lnTo>
                    <a:lnTo>
                      <a:pt x="471" y="191"/>
                    </a:lnTo>
                    <a:lnTo>
                      <a:pt x="489" y="199"/>
                    </a:lnTo>
                    <a:lnTo>
                      <a:pt x="507" y="205"/>
                    </a:lnTo>
                    <a:lnTo>
                      <a:pt x="525" y="214"/>
                    </a:lnTo>
                    <a:lnTo>
                      <a:pt x="539" y="219"/>
                    </a:lnTo>
                    <a:lnTo>
                      <a:pt x="557" y="225"/>
                    </a:lnTo>
                    <a:lnTo>
                      <a:pt x="571" y="233"/>
                    </a:lnTo>
                    <a:lnTo>
                      <a:pt x="585" y="239"/>
                    </a:lnTo>
                    <a:lnTo>
                      <a:pt x="603" y="248"/>
                    </a:lnTo>
                    <a:lnTo>
                      <a:pt x="617" y="253"/>
                    </a:lnTo>
                    <a:lnTo>
                      <a:pt x="630" y="259"/>
                    </a:lnTo>
                    <a:lnTo>
                      <a:pt x="644" y="268"/>
                    </a:lnTo>
                    <a:lnTo>
                      <a:pt x="658" y="273"/>
                    </a:lnTo>
                    <a:lnTo>
                      <a:pt x="672" y="279"/>
                    </a:lnTo>
                    <a:lnTo>
                      <a:pt x="681" y="282"/>
                    </a:lnTo>
                    <a:lnTo>
                      <a:pt x="690" y="288"/>
                    </a:lnTo>
                    <a:lnTo>
                      <a:pt x="708" y="293"/>
                    </a:lnTo>
                    <a:lnTo>
                      <a:pt x="717" y="299"/>
                    </a:lnTo>
                    <a:lnTo>
                      <a:pt x="736" y="308"/>
                    </a:lnTo>
                    <a:lnTo>
                      <a:pt x="749" y="316"/>
                    </a:lnTo>
                    <a:lnTo>
                      <a:pt x="763" y="322"/>
                    </a:lnTo>
                    <a:lnTo>
                      <a:pt x="772" y="325"/>
                    </a:lnTo>
                    <a:lnTo>
                      <a:pt x="777" y="330"/>
                    </a:lnTo>
                    <a:lnTo>
                      <a:pt x="763" y="330"/>
                    </a:lnTo>
                    <a:lnTo>
                      <a:pt x="749" y="333"/>
                    </a:lnTo>
                    <a:lnTo>
                      <a:pt x="740" y="336"/>
                    </a:lnTo>
                    <a:lnTo>
                      <a:pt x="726" y="336"/>
                    </a:lnTo>
                    <a:lnTo>
                      <a:pt x="713" y="339"/>
                    </a:lnTo>
                    <a:lnTo>
                      <a:pt x="699" y="342"/>
                    </a:lnTo>
                    <a:lnTo>
                      <a:pt x="681" y="342"/>
                    </a:lnTo>
                    <a:lnTo>
                      <a:pt x="667" y="342"/>
                    </a:lnTo>
                    <a:lnTo>
                      <a:pt x="649" y="342"/>
                    </a:lnTo>
                    <a:lnTo>
                      <a:pt x="630" y="347"/>
                    </a:lnTo>
                    <a:lnTo>
                      <a:pt x="612" y="347"/>
                    </a:lnTo>
                    <a:lnTo>
                      <a:pt x="594" y="350"/>
                    </a:lnTo>
                    <a:lnTo>
                      <a:pt x="571" y="353"/>
                    </a:lnTo>
                    <a:lnTo>
                      <a:pt x="557" y="353"/>
                    </a:lnTo>
                    <a:lnTo>
                      <a:pt x="535" y="356"/>
                    </a:lnTo>
                    <a:lnTo>
                      <a:pt x="516" y="359"/>
                    </a:lnTo>
                    <a:lnTo>
                      <a:pt x="493" y="359"/>
                    </a:lnTo>
                    <a:lnTo>
                      <a:pt x="480" y="362"/>
                    </a:lnTo>
                    <a:lnTo>
                      <a:pt x="461" y="362"/>
                    </a:lnTo>
                    <a:lnTo>
                      <a:pt x="443" y="364"/>
                    </a:lnTo>
                    <a:lnTo>
                      <a:pt x="425" y="364"/>
                    </a:lnTo>
                    <a:lnTo>
                      <a:pt x="416" y="367"/>
                    </a:lnTo>
                    <a:lnTo>
                      <a:pt x="397" y="367"/>
                    </a:lnTo>
                    <a:lnTo>
                      <a:pt x="589" y="293"/>
                    </a:lnTo>
                    <a:lnTo>
                      <a:pt x="585" y="290"/>
                    </a:lnTo>
                    <a:lnTo>
                      <a:pt x="585" y="288"/>
                    </a:lnTo>
                    <a:lnTo>
                      <a:pt x="571" y="282"/>
                    </a:lnTo>
                    <a:lnTo>
                      <a:pt x="562" y="279"/>
                    </a:lnTo>
                    <a:lnTo>
                      <a:pt x="548" y="271"/>
                    </a:lnTo>
                    <a:lnTo>
                      <a:pt x="525" y="262"/>
                    </a:lnTo>
                    <a:lnTo>
                      <a:pt x="516" y="256"/>
                    </a:lnTo>
                    <a:lnTo>
                      <a:pt x="512" y="253"/>
                    </a:lnTo>
                    <a:lnTo>
                      <a:pt x="498" y="248"/>
                    </a:lnTo>
                    <a:lnTo>
                      <a:pt x="489" y="242"/>
                    </a:lnTo>
                    <a:lnTo>
                      <a:pt x="475" y="236"/>
                    </a:lnTo>
                    <a:lnTo>
                      <a:pt x="466" y="231"/>
                    </a:lnTo>
                    <a:lnTo>
                      <a:pt x="452" y="225"/>
                    </a:lnTo>
                    <a:lnTo>
                      <a:pt x="439" y="216"/>
                    </a:lnTo>
                    <a:lnTo>
                      <a:pt x="425" y="211"/>
                    </a:lnTo>
                    <a:lnTo>
                      <a:pt x="416" y="205"/>
                    </a:lnTo>
                    <a:lnTo>
                      <a:pt x="397" y="199"/>
                    </a:lnTo>
                    <a:lnTo>
                      <a:pt x="384" y="194"/>
                    </a:lnTo>
                    <a:lnTo>
                      <a:pt x="370" y="185"/>
                    </a:lnTo>
                    <a:lnTo>
                      <a:pt x="361" y="179"/>
                    </a:lnTo>
                    <a:lnTo>
                      <a:pt x="347" y="171"/>
                    </a:lnTo>
                    <a:lnTo>
                      <a:pt x="329" y="165"/>
                    </a:lnTo>
                    <a:lnTo>
                      <a:pt x="311" y="157"/>
                    </a:lnTo>
                    <a:lnTo>
                      <a:pt x="301" y="151"/>
                    </a:lnTo>
                    <a:lnTo>
                      <a:pt x="288" y="145"/>
                    </a:lnTo>
                    <a:lnTo>
                      <a:pt x="274" y="137"/>
                    </a:lnTo>
                    <a:lnTo>
                      <a:pt x="256" y="131"/>
                    </a:lnTo>
                    <a:lnTo>
                      <a:pt x="242" y="122"/>
                    </a:lnTo>
                    <a:lnTo>
                      <a:pt x="228" y="117"/>
                    </a:lnTo>
                    <a:lnTo>
                      <a:pt x="215" y="108"/>
                    </a:lnTo>
                    <a:lnTo>
                      <a:pt x="201" y="103"/>
                    </a:lnTo>
                    <a:lnTo>
                      <a:pt x="187" y="97"/>
                    </a:lnTo>
                    <a:lnTo>
                      <a:pt x="173" y="88"/>
                    </a:lnTo>
                    <a:lnTo>
                      <a:pt x="160" y="85"/>
                    </a:lnTo>
                    <a:lnTo>
                      <a:pt x="146" y="74"/>
                    </a:lnTo>
                    <a:lnTo>
                      <a:pt x="137" y="68"/>
                    </a:lnTo>
                    <a:lnTo>
                      <a:pt x="123" y="65"/>
                    </a:lnTo>
                    <a:lnTo>
                      <a:pt x="114" y="57"/>
                    </a:lnTo>
                    <a:lnTo>
                      <a:pt x="100" y="48"/>
                    </a:lnTo>
                    <a:lnTo>
                      <a:pt x="87" y="46"/>
                    </a:lnTo>
                    <a:lnTo>
                      <a:pt x="82" y="40"/>
                    </a:lnTo>
                    <a:lnTo>
                      <a:pt x="73" y="37"/>
                    </a:lnTo>
                    <a:lnTo>
                      <a:pt x="50" y="26"/>
                    </a:lnTo>
                    <a:lnTo>
                      <a:pt x="36" y="17"/>
                    </a:lnTo>
                    <a:lnTo>
                      <a:pt x="23" y="11"/>
                    </a:lnTo>
                    <a:lnTo>
                      <a:pt x="14" y="6"/>
                    </a:lnTo>
                    <a:lnTo>
                      <a:pt x="0" y="0"/>
                    </a:lnTo>
                    <a:lnTo>
                      <a:pt x="4"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8" name="Freeform 162"/>
              <p:cNvSpPr>
                <a:spLocks/>
              </p:cNvSpPr>
              <p:nvPr>
                <p:custDataLst>
                  <p:tags r:id="rId72"/>
                </p:custDataLst>
              </p:nvPr>
            </p:nvSpPr>
            <p:spPr bwMode="gray">
              <a:xfrm>
                <a:off x="2000" y="1341"/>
                <a:ext cx="1804" cy="70"/>
              </a:xfrm>
              <a:custGeom>
                <a:avLst/>
                <a:gdLst>
                  <a:gd name="T0" fmla="*/ 473 w 1760"/>
                  <a:gd name="T1" fmla="*/ 22 h 77"/>
                  <a:gd name="T2" fmla="*/ 629 w 1760"/>
                  <a:gd name="T3" fmla="*/ 25 h 77"/>
                  <a:gd name="T4" fmla="*/ 794 w 1760"/>
                  <a:gd name="T5" fmla="*/ 25 h 77"/>
                  <a:gd name="T6" fmla="*/ 959 w 1760"/>
                  <a:gd name="T7" fmla="*/ 25 h 77"/>
                  <a:gd name="T8" fmla="*/ 1132 w 1760"/>
                  <a:gd name="T9" fmla="*/ 25 h 77"/>
                  <a:gd name="T10" fmla="*/ 1310 w 1760"/>
                  <a:gd name="T11" fmla="*/ 23 h 77"/>
                  <a:gd name="T12" fmla="*/ 1475 w 1760"/>
                  <a:gd name="T13" fmla="*/ 20 h 77"/>
                  <a:gd name="T14" fmla="*/ 1642 w 1760"/>
                  <a:gd name="T15" fmla="*/ 17 h 77"/>
                  <a:gd name="T16" fmla="*/ 1797 w 1760"/>
                  <a:gd name="T17" fmla="*/ 15 h 77"/>
                  <a:gd name="T18" fmla="*/ 1938 w 1760"/>
                  <a:gd name="T19" fmla="*/ 12 h 77"/>
                  <a:gd name="T20" fmla="*/ 2063 w 1760"/>
                  <a:gd name="T21" fmla="*/ 10 h 77"/>
                  <a:gd name="T22" fmla="*/ 2169 w 1760"/>
                  <a:gd name="T23" fmla="*/ 6 h 77"/>
                  <a:gd name="T24" fmla="*/ 2256 w 1760"/>
                  <a:gd name="T25" fmla="*/ 5 h 77"/>
                  <a:gd name="T26" fmla="*/ 2317 w 1760"/>
                  <a:gd name="T27" fmla="*/ 5 h 77"/>
                  <a:gd name="T28" fmla="*/ 2367 w 1760"/>
                  <a:gd name="T29" fmla="*/ 0 h 77"/>
                  <a:gd name="T30" fmla="*/ 2300 w 1760"/>
                  <a:gd name="T31" fmla="*/ 0 h 77"/>
                  <a:gd name="T32" fmla="*/ 2217 w 1760"/>
                  <a:gd name="T33" fmla="*/ 3 h 77"/>
                  <a:gd name="T34" fmla="*/ 2145 w 1760"/>
                  <a:gd name="T35" fmla="*/ 5 h 77"/>
                  <a:gd name="T36" fmla="*/ 2052 w 1760"/>
                  <a:gd name="T37" fmla="*/ 5 h 77"/>
                  <a:gd name="T38" fmla="*/ 1958 w 1760"/>
                  <a:gd name="T39" fmla="*/ 5 h 77"/>
                  <a:gd name="T40" fmla="*/ 1856 w 1760"/>
                  <a:gd name="T41" fmla="*/ 5 h 77"/>
                  <a:gd name="T42" fmla="*/ 1754 w 1760"/>
                  <a:gd name="T43" fmla="*/ 5 h 77"/>
                  <a:gd name="T44" fmla="*/ 1635 w 1760"/>
                  <a:gd name="T45" fmla="*/ 6 h 77"/>
                  <a:gd name="T46" fmla="*/ 1525 w 1760"/>
                  <a:gd name="T47" fmla="*/ 7 h 77"/>
                  <a:gd name="T48" fmla="*/ 1416 w 1760"/>
                  <a:gd name="T49" fmla="*/ 10 h 77"/>
                  <a:gd name="T50" fmla="*/ 1310 w 1760"/>
                  <a:gd name="T51" fmla="*/ 11 h 77"/>
                  <a:gd name="T52" fmla="*/ 1212 w 1760"/>
                  <a:gd name="T53" fmla="*/ 12 h 77"/>
                  <a:gd name="T54" fmla="*/ 1119 w 1760"/>
                  <a:gd name="T55" fmla="*/ 13 h 77"/>
                  <a:gd name="T56" fmla="*/ 1043 w 1760"/>
                  <a:gd name="T57" fmla="*/ 13 h 77"/>
                  <a:gd name="T58" fmla="*/ 984 w 1760"/>
                  <a:gd name="T59" fmla="*/ 14 h 77"/>
                  <a:gd name="T60" fmla="*/ 921 w 1760"/>
                  <a:gd name="T61" fmla="*/ 14 h 77"/>
                  <a:gd name="T62" fmla="*/ 860 w 1760"/>
                  <a:gd name="T63" fmla="*/ 14 h 77"/>
                  <a:gd name="T64" fmla="*/ 787 w 1760"/>
                  <a:gd name="T65" fmla="*/ 15 h 77"/>
                  <a:gd name="T66" fmla="*/ 707 w 1760"/>
                  <a:gd name="T67" fmla="*/ 15 h 77"/>
                  <a:gd name="T68" fmla="*/ 629 w 1760"/>
                  <a:gd name="T69" fmla="*/ 15 h 77"/>
                  <a:gd name="T70" fmla="*/ 542 w 1760"/>
                  <a:gd name="T71" fmla="*/ 15 h 77"/>
                  <a:gd name="T72" fmla="*/ 456 w 1760"/>
                  <a:gd name="T73" fmla="*/ 15 h 77"/>
                  <a:gd name="T74" fmla="*/ 375 w 1760"/>
                  <a:gd name="T75" fmla="*/ 15 h 77"/>
                  <a:gd name="T76" fmla="*/ 297 w 1760"/>
                  <a:gd name="T77" fmla="*/ 15 h 77"/>
                  <a:gd name="T78" fmla="*/ 221 w 1760"/>
                  <a:gd name="T79" fmla="*/ 15 h 77"/>
                  <a:gd name="T80" fmla="*/ 160 w 1760"/>
                  <a:gd name="T81" fmla="*/ 14 h 77"/>
                  <a:gd name="T82" fmla="*/ 98 w 1760"/>
                  <a:gd name="T83" fmla="*/ 14 h 77"/>
                  <a:gd name="T84" fmla="*/ 35 w 1760"/>
                  <a:gd name="T85" fmla="*/ 14 h 77"/>
                  <a:gd name="T86" fmla="*/ 10 w 1760"/>
                  <a:gd name="T87" fmla="*/ 14 h 77"/>
                  <a:gd name="T88" fmla="*/ 93 w 1760"/>
                  <a:gd name="T89" fmla="*/ 15 h 77"/>
                  <a:gd name="T90" fmla="*/ 160 w 1760"/>
                  <a:gd name="T91" fmla="*/ 15 h 77"/>
                  <a:gd name="T92" fmla="*/ 221 w 1760"/>
                  <a:gd name="T93" fmla="*/ 17 h 77"/>
                  <a:gd name="T94" fmla="*/ 284 w 1760"/>
                  <a:gd name="T95" fmla="*/ 18 h 77"/>
                  <a:gd name="T96" fmla="*/ 338 w 1760"/>
                  <a:gd name="T97" fmla="*/ 19 h 77"/>
                  <a:gd name="T98" fmla="*/ 370 w 1760"/>
                  <a:gd name="T99" fmla="*/ 21 h 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0"/>
                  <a:gd name="T151" fmla="*/ 0 h 77"/>
                  <a:gd name="T152" fmla="*/ 1760 w 1760"/>
                  <a:gd name="T153" fmla="*/ 77 h 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0" h="77">
                    <a:moveTo>
                      <a:pt x="275" y="66"/>
                    </a:moveTo>
                    <a:lnTo>
                      <a:pt x="302" y="66"/>
                    </a:lnTo>
                    <a:lnTo>
                      <a:pt x="325" y="66"/>
                    </a:lnTo>
                    <a:lnTo>
                      <a:pt x="352" y="69"/>
                    </a:lnTo>
                    <a:lnTo>
                      <a:pt x="380" y="72"/>
                    </a:lnTo>
                    <a:lnTo>
                      <a:pt x="407" y="74"/>
                    </a:lnTo>
                    <a:lnTo>
                      <a:pt x="435" y="74"/>
                    </a:lnTo>
                    <a:lnTo>
                      <a:pt x="467" y="77"/>
                    </a:lnTo>
                    <a:lnTo>
                      <a:pt x="499" y="77"/>
                    </a:lnTo>
                    <a:lnTo>
                      <a:pt x="526" y="77"/>
                    </a:lnTo>
                    <a:lnTo>
                      <a:pt x="558" y="77"/>
                    </a:lnTo>
                    <a:lnTo>
                      <a:pt x="590" y="77"/>
                    </a:lnTo>
                    <a:lnTo>
                      <a:pt x="622" y="77"/>
                    </a:lnTo>
                    <a:lnTo>
                      <a:pt x="649" y="77"/>
                    </a:lnTo>
                    <a:lnTo>
                      <a:pt x="681" y="77"/>
                    </a:lnTo>
                    <a:lnTo>
                      <a:pt x="713" y="77"/>
                    </a:lnTo>
                    <a:lnTo>
                      <a:pt x="750" y="77"/>
                    </a:lnTo>
                    <a:lnTo>
                      <a:pt x="782" y="77"/>
                    </a:lnTo>
                    <a:lnTo>
                      <a:pt x="809" y="77"/>
                    </a:lnTo>
                    <a:lnTo>
                      <a:pt x="841" y="77"/>
                    </a:lnTo>
                    <a:lnTo>
                      <a:pt x="878" y="77"/>
                    </a:lnTo>
                    <a:lnTo>
                      <a:pt x="905" y="74"/>
                    </a:lnTo>
                    <a:lnTo>
                      <a:pt x="937" y="72"/>
                    </a:lnTo>
                    <a:lnTo>
                      <a:pt x="974" y="72"/>
                    </a:lnTo>
                    <a:lnTo>
                      <a:pt x="1006" y="69"/>
                    </a:lnTo>
                    <a:lnTo>
                      <a:pt x="1033" y="66"/>
                    </a:lnTo>
                    <a:lnTo>
                      <a:pt x="1065" y="66"/>
                    </a:lnTo>
                    <a:lnTo>
                      <a:pt x="1097" y="63"/>
                    </a:lnTo>
                    <a:lnTo>
                      <a:pt x="1129" y="60"/>
                    </a:lnTo>
                    <a:lnTo>
                      <a:pt x="1161" y="60"/>
                    </a:lnTo>
                    <a:lnTo>
                      <a:pt x="1193" y="57"/>
                    </a:lnTo>
                    <a:lnTo>
                      <a:pt x="1221" y="55"/>
                    </a:lnTo>
                    <a:lnTo>
                      <a:pt x="1248" y="55"/>
                    </a:lnTo>
                    <a:lnTo>
                      <a:pt x="1280" y="52"/>
                    </a:lnTo>
                    <a:lnTo>
                      <a:pt x="1303" y="49"/>
                    </a:lnTo>
                    <a:lnTo>
                      <a:pt x="1335" y="46"/>
                    </a:lnTo>
                    <a:lnTo>
                      <a:pt x="1362" y="46"/>
                    </a:lnTo>
                    <a:lnTo>
                      <a:pt x="1390" y="40"/>
                    </a:lnTo>
                    <a:lnTo>
                      <a:pt x="1413" y="40"/>
                    </a:lnTo>
                    <a:lnTo>
                      <a:pt x="1440" y="37"/>
                    </a:lnTo>
                    <a:lnTo>
                      <a:pt x="1467" y="35"/>
                    </a:lnTo>
                    <a:lnTo>
                      <a:pt x="1490" y="32"/>
                    </a:lnTo>
                    <a:lnTo>
                      <a:pt x="1513" y="32"/>
                    </a:lnTo>
                    <a:lnTo>
                      <a:pt x="1536" y="29"/>
                    </a:lnTo>
                    <a:lnTo>
                      <a:pt x="1559" y="23"/>
                    </a:lnTo>
                    <a:lnTo>
                      <a:pt x="1577" y="23"/>
                    </a:lnTo>
                    <a:lnTo>
                      <a:pt x="1595" y="20"/>
                    </a:lnTo>
                    <a:lnTo>
                      <a:pt x="1614" y="20"/>
                    </a:lnTo>
                    <a:lnTo>
                      <a:pt x="1637" y="18"/>
                    </a:lnTo>
                    <a:lnTo>
                      <a:pt x="1650" y="15"/>
                    </a:lnTo>
                    <a:lnTo>
                      <a:pt x="1664" y="15"/>
                    </a:lnTo>
                    <a:lnTo>
                      <a:pt x="1678" y="12"/>
                    </a:lnTo>
                    <a:lnTo>
                      <a:pt x="1691" y="12"/>
                    </a:lnTo>
                    <a:lnTo>
                      <a:pt x="1701" y="9"/>
                    </a:lnTo>
                    <a:lnTo>
                      <a:pt x="1719" y="6"/>
                    </a:lnTo>
                    <a:lnTo>
                      <a:pt x="1723" y="6"/>
                    </a:lnTo>
                    <a:lnTo>
                      <a:pt x="1737" y="6"/>
                    </a:lnTo>
                    <a:lnTo>
                      <a:pt x="1746" y="3"/>
                    </a:lnTo>
                    <a:lnTo>
                      <a:pt x="1755" y="0"/>
                    </a:lnTo>
                    <a:lnTo>
                      <a:pt x="1760" y="0"/>
                    </a:lnTo>
                    <a:lnTo>
                      <a:pt x="1755" y="0"/>
                    </a:lnTo>
                    <a:lnTo>
                      <a:pt x="1742" y="0"/>
                    </a:lnTo>
                    <a:lnTo>
                      <a:pt x="1723" y="0"/>
                    </a:lnTo>
                    <a:lnTo>
                      <a:pt x="1710" y="0"/>
                    </a:lnTo>
                    <a:lnTo>
                      <a:pt x="1691" y="3"/>
                    </a:lnTo>
                    <a:lnTo>
                      <a:pt x="1678" y="3"/>
                    </a:lnTo>
                    <a:lnTo>
                      <a:pt x="1664" y="3"/>
                    </a:lnTo>
                    <a:lnTo>
                      <a:pt x="1650" y="3"/>
                    </a:lnTo>
                    <a:lnTo>
                      <a:pt x="1637" y="3"/>
                    </a:lnTo>
                    <a:lnTo>
                      <a:pt x="1627" y="3"/>
                    </a:lnTo>
                    <a:lnTo>
                      <a:pt x="1609" y="3"/>
                    </a:lnTo>
                    <a:lnTo>
                      <a:pt x="1595" y="6"/>
                    </a:lnTo>
                    <a:lnTo>
                      <a:pt x="1577" y="6"/>
                    </a:lnTo>
                    <a:lnTo>
                      <a:pt x="1559" y="6"/>
                    </a:lnTo>
                    <a:lnTo>
                      <a:pt x="1545" y="6"/>
                    </a:lnTo>
                    <a:lnTo>
                      <a:pt x="1527" y="9"/>
                    </a:lnTo>
                    <a:lnTo>
                      <a:pt x="1513" y="9"/>
                    </a:lnTo>
                    <a:lnTo>
                      <a:pt x="1490" y="9"/>
                    </a:lnTo>
                    <a:lnTo>
                      <a:pt x="1477" y="12"/>
                    </a:lnTo>
                    <a:lnTo>
                      <a:pt x="1458" y="12"/>
                    </a:lnTo>
                    <a:lnTo>
                      <a:pt x="1440" y="12"/>
                    </a:lnTo>
                    <a:lnTo>
                      <a:pt x="1417" y="12"/>
                    </a:lnTo>
                    <a:lnTo>
                      <a:pt x="1399" y="15"/>
                    </a:lnTo>
                    <a:lnTo>
                      <a:pt x="1381" y="15"/>
                    </a:lnTo>
                    <a:lnTo>
                      <a:pt x="1358" y="18"/>
                    </a:lnTo>
                    <a:lnTo>
                      <a:pt x="1339" y="18"/>
                    </a:lnTo>
                    <a:lnTo>
                      <a:pt x="1321" y="18"/>
                    </a:lnTo>
                    <a:lnTo>
                      <a:pt x="1303" y="18"/>
                    </a:lnTo>
                    <a:lnTo>
                      <a:pt x="1280" y="20"/>
                    </a:lnTo>
                    <a:lnTo>
                      <a:pt x="1257" y="20"/>
                    </a:lnTo>
                    <a:lnTo>
                      <a:pt x="1239" y="20"/>
                    </a:lnTo>
                    <a:lnTo>
                      <a:pt x="1216" y="20"/>
                    </a:lnTo>
                    <a:lnTo>
                      <a:pt x="1198" y="23"/>
                    </a:lnTo>
                    <a:lnTo>
                      <a:pt x="1175" y="23"/>
                    </a:lnTo>
                    <a:lnTo>
                      <a:pt x="1157" y="23"/>
                    </a:lnTo>
                    <a:lnTo>
                      <a:pt x="1134" y="23"/>
                    </a:lnTo>
                    <a:lnTo>
                      <a:pt x="1116" y="26"/>
                    </a:lnTo>
                    <a:lnTo>
                      <a:pt x="1093" y="26"/>
                    </a:lnTo>
                    <a:lnTo>
                      <a:pt x="1070" y="29"/>
                    </a:lnTo>
                    <a:lnTo>
                      <a:pt x="1052" y="29"/>
                    </a:lnTo>
                    <a:lnTo>
                      <a:pt x="1033" y="32"/>
                    </a:lnTo>
                    <a:lnTo>
                      <a:pt x="1010" y="32"/>
                    </a:lnTo>
                    <a:lnTo>
                      <a:pt x="992" y="32"/>
                    </a:lnTo>
                    <a:lnTo>
                      <a:pt x="974" y="32"/>
                    </a:lnTo>
                    <a:lnTo>
                      <a:pt x="956" y="32"/>
                    </a:lnTo>
                    <a:lnTo>
                      <a:pt x="937" y="32"/>
                    </a:lnTo>
                    <a:lnTo>
                      <a:pt x="919" y="35"/>
                    </a:lnTo>
                    <a:lnTo>
                      <a:pt x="901" y="35"/>
                    </a:lnTo>
                    <a:lnTo>
                      <a:pt x="887" y="35"/>
                    </a:lnTo>
                    <a:lnTo>
                      <a:pt x="869" y="35"/>
                    </a:lnTo>
                    <a:lnTo>
                      <a:pt x="850" y="37"/>
                    </a:lnTo>
                    <a:lnTo>
                      <a:pt x="832" y="40"/>
                    </a:lnTo>
                    <a:lnTo>
                      <a:pt x="818" y="40"/>
                    </a:lnTo>
                    <a:lnTo>
                      <a:pt x="800" y="40"/>
                    </a:lnTo>
                    <a:lnTo>
                      <a:pt x="791" y="40"/>
                    </a:lnTo>
                    <a:lnTo>
                      <a:pt x="777" y="40"/>
                    </a:lnTo>
                    <a:lnTo>
                      <a:pt x="764" y="40"/>
                    </a:lnTo>
                    <a:lnTo>
                      <a:pt x="750" y="40"/>
                    </a:lnTo>
                    <a:lnTo>
                      <a:pt x="741" y="40"/>
                    </a:lnTo>
                    <a:lnTo>
                      <a:pt x="732" y="43"/>
                    </a:lnTo>
                    <a:lnTo>
                      <a:pt x="723" y="43"/>
                    </a:lnTo>
                    <a:lnTo>
                      <a:pt x="709" y="43"/>
                    </a:lnTo>
                    <a:lnTo>
                      <a:pt x="700" y="43"/>
                    </a:lnTo>
                    <a:lnTo>
                      <a:pt x="686" y="43"/>
                    </a:lnTo>
                    <a:lnTo>
                      <a:pt x="677" y="43"/>
                    </a:lnTo>
                    <a:lnTo>
                      <a:pt x="663" y="43"/>
                    </a:lnTo>
                    <a:lnTo>
                      <a:pt x="649" y="43"/>
                    </a:lnTo>
                    <a:lnTo>
                      <a:pt x="640" y="43"/>
                    </a:lnTo>
                    <a:lnTo>
                      <a:pt x="627" y="46"/>
                    </a:lnTo>
                    <a:lnTo>
                      <a:pt x="613" y="46"/>
                    </a:lnTo>
                    <a:lnTo>
                      <a:pt x="599" y="46"/>
                    </a:lnTo>
                    <a:lnTo>
                      <a:pt x="585" y="46"/>
                    </a:lnTo>
                    <a:lnTo>
                      <a:pt x="572" y="46"/>
                    </a:lnTo>
                    <a:lnTo>
                      <a:pt x="558" y="46"/>
                    </a:lnTo>
                    <a:lnTo>
                      <a:pt x="544" y="46"/>
                    </a:lnTo>
                    <a:lnTo>
                      <a:pt x="526" y="46"/>
                    </a:lnTo>
                    <a:lnTo>
                      <a:pt x="512" y="46"/>
                    </a:lnTo>
                    <a:lnTo>
                      <a:pt x="499" y="46"/>
                    </a:lnTo>
                    <a:lnTo>
                      <a:pt x="480" y="46"/>
                    </a:lnTo>
                    <a:lnTo>
                      <a:pt x="467" y="46"/>
                    </a:lnTo>
                    <a:lnTo>
                      <a:pt x="448" y="46"/>
                    </a:lnTo>
                    <a:lnTo>
                      <a:pt x="435" y="46"/>
                    </a:lnTo>
                    <a:lnTo>
                      <a:pt x="416" y="46"/>
                    </a:lnTo>
                    <a:lnTo>
                      <a:pt x="403" y="46"/>
                    </a:lnTo>
                    <a:lnTo>
                      <a:pt x="389" y="46"/>
                    </a:lnTo>
                    <a:lnTo>
                      <a:pt x="371" y="46"/>
                    </a:lnTo>
                    <a:lnTo>
                      <a:pt x="357" y="46"/>
                    </a:lnTo>
                    <a:lnTo>
                      <a:pt x="339" y="46"/>
                    </a:lnTo>
                    <a:lnTo>
                      <a:pt x="325" y="46"/>
                    </a:lnTo>
                    <a:lnTo>
                      <a:pt x="311" y="46"/>
                    </a:lnTo>
                    <a:lnTo>
                      <a:pt x="293" y="46"/>
                    </a:lnTo>
                    <a:lnTo>
                      <a:pt x="279" y="46"/>
                    </a:lnTo>
                    <a:lnTo>
                      <a:pt x="266" y="46"/>
                    </a:lnTo>
                    <a:lnTo>
                      <a:pt x="252" y="46"/>
                    </a:lnTo>
                    <a:lnTo>
                      <a:pt x="234" y="46"/>
                    </a:lnTo>
                    <a:lnTo>
                      <a:pt x="220" y="46"/>
                    </a:lnTo>
                    <a:lnTo>
                      <a:pt x="206" y="46"/>
                    </a:lnTo>
                    <a:lnTo>
                      <a:pt x="192" y="46"/>
                    </a:lnTo>
                    <a:lnTo>
                      <a:pt x="179" y="46"/>
                    </a:lnTo>
                    <a:lnTo>
                      <a:pt x="165" y="46"/>
                    </a:lnTo>
                    <a:lnTo>
                      <a:pt x="156" y="46"/>
                    </a:lnTo>
                    <a:lnTo>
                      <a:pt x="142" y="43"/>
                    </a:lnTo>
                    <a:lnTo>
                      <a:pt x="128" y="43"/>
                    </a:lnTo>
                    <a:lnTo>
                      <a:pt x="119" y="43"/>
                    </a:lnTo>
                    <a:lnTo>
                      <a:pt x="106" y="43"/>
                    </a:lnTo>
                    <a:lnTo>
                      <a:pt x="96" y="43"/>
                    </a:lnTo>
                    <a:lnTo>
                      <a:pt x="83" y="43"/>
                    </a:lnTo>
                    <a:lnTo>
                      <a:pt x="74" y="43"/>
                    </a:lnTo>
                    <a:lnTo>
                      <a:pt x="64" y="43"/>
                    </a:lnTo>
                    <a:lnTo>
                      <a:pt x="46" y="43"/>
                    </a:lnTo>
                    <a:lnTo>
                      <a:pt x="32" y="43"/>
                    </a:lnTo>
                    <a:lnTo>
                      <a:pt x="23" y="43"/>
                    </a:lnTo>
                    <a:lnTo>
                      <a:pt x="10" y="43"/>
                    </a:lnTo>
                    <a:lnTo>
                      <a:pt x="0" y="43"/>
                    </a:lnTo>
                    <a:lnTo>
                      <a:pt x="10" y="43"/>
                    </a:lnTo>
                    <a:lnTo>
                      <a:pt x="28" y="43"/>
                    </a:lnTo>
                    <a:lnTo>
                      <a:pt x="42" y="46"/>
                    </a:lnTo>
                    <a:lnTo>
                      <a:pt x="60" y="46"/>
                    </a:lnTo>
                    <a:lnTo>
                      <a:pt x="69" y="46"/>
                    </a:lnTo>
                    <a:lnTo>
                      <a:pt x="83" y="46"/>
                    </a:lnTo>
                    <a:lnTo>
                      <a:pt x="92" y="49"/>
                    </a:lnTo>
                    <a:lnTo>
                      <a:pt x="106" y="49"/>
                    </a:lnTo>
                    <a:lnTo>
                      <a:pt x="119" y="49"/>
                    </a:lnTo>
                    <a:lnTo>
                      <a:pt x="128" y="52"/>
                    </a:lnTo>
                    <a:lnTo>
                      <a:pt x="142" y="55"/>
                    </a:lnTo>
                    <a:lnTo>
                      <a:pt x="156" y="55"/>
                    </a:lnTo>
                    <a:lnTo>
                      <a:pt x="165" y="55"/>
                    </a:lnTo>
                    <a:lnTo>
                      <a:pt x="179" y="55"/>
                    </a:lnTo>
                    <a:lnTo>
                      <a:pt x="188" y="55"/>
                    </a:lnTo>
                    <a:lnTo>
                      <a:pt x="202" y="57"/>
                    </a:lnTo>
                    <a:lnTo>
                      <a:pt x="211" y="57"/>
                    </a:lnTo>
                    <a:lnTo>
                      <a:pt x="220" y="57"/>
                    </a:lnTo>
                    <a:lnTo>
                      <a:pt x="229" y="60"/>
                    </a:lnTo>
                    <a:lnTo>
                      <a:pt x="238" y="60"/>
                    </a:lnTo>
                    <a:lnTo>
                      <a:pt x="252" y="60"/>
                    </a:lnTo>
                    <a:lnTo>
                      <a:pt x="266" y="60"/>
                    </a:lnTo>
                    <a:lnTo>
                      <a:pt x="270" y="63"/>
                    </a:lnTo>
                    <a:lnTo>
                      <a:pt x="275" y="6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09" name="Freeform 163"/>
              <p:cNvSpPr>
                <a:spLocks/>
              </p:cNvSpPr>
              <p:nvPr>
                <p:custDataLst>
                  <p:tags r:id="rId73"/>
                </p:custDataLst>
              </p:nvPr>
            </p:nvSpPr>
            <p:spPr bwMode="gray">
              <a:xfrm>
                <a:off x="1227" y="2140"/>
                <a:ext cx="1139" cy="188"/>
              </a:xfrm>
              <a:custGeom>
                <a:avLst/>
                <a:gdLst>
                  <a:gd name="T0" fmla="*/ 35 w 1111"/>
                  <a:gd name="T1" fmla="*/ 3 h 205"/>
                  <a:gd name="T2" fmla="*/ 74 w 1111"/>
                  <a:gd name="T3" fmla="*/ 6 h 205"/>
                  <a:gd name="T4" fmla="*/ 137 w 1111"/>
                  <a:gd name="T5" fmla="*/ 6 h 205"/>
                  <a:gd name="T6" fmla="*/ 192 w 1111"/>
                  <a:gd name="T7" fmla="*/ 6 h 205"/>
                  <a:gd name="T8" fmla="*/ 243 w 1111"/>
                  <a:gd name="T9" fmla="*/ 6 h 205"/>
                  <a:gd name="T10" fmla="*/ 284 w 1111"/>
                  <a:gd name="T11" fmla="*/ 8 h 205"/>
                  <a:gd name="T12" fmla="*/ 327 w 1111"/>
                  <a:gd name="T13" fmla="*/ 8 h 205"/>
                  <a:gd name="T14" fmla="*/ 370 w 1111"/>
                  <a:gd name="T15" fmla="*/ 11 h 205"/>
                  <a:gd name="T16" fmla="*/ 419 w 1111"/>
                  <a:gd name="T17" fmla="*/ 12 h 205"/>
                  <a:gd name="T18" fmla="*/ 469 w 1111"/>
                  <a:gd name="T19" fmla="*/ 13 h 205"/>
                  <a:gd name="T20" fmla="*/ 518 w 1111"/>
                  <a:gd name="T21" fmla="*/ 14 h 205"/>
                  <a:gd name="T22" fmla="*/ 568 w 1111"/>
                  <a:gd name="T23" fmla="*/ 15 h 205"/>
                  <a:gd name="T24" fmla="*/ 611 w 1111"/>
                  <a:gd name="T25" fmla="*/ 17 h 205"/>
                  <a:gd name="T26" fmla="*/ 659 w 1111"/>
                  <a:gd name="T27" fmla="*/ 17 h 205"/>
                  <a:gd name="T28" fmla="*/ 709 w 1111"/>
                  <a:gd name="T29" fmla="*/ 17 h 205"/>
                  <a:gd name="T30" fmla="*/ 752 w 1111"/>
                  <a:gd name="T31" fmla="*/ 17 h 205"/>
                  <a:gd name="T32" fmla="*/ 801 w 1111"/>
                  <a:gd name="T33" fmla="*/ 18 h 205"/>
                  <a:gd name="T34" fmla="*/ 844 w 1111"/>
                  <a:gd name="T35" fmla="*/ 20 h 205"/>
                  <a:gd name="T36" fmla="*/ 911 w 1111"/>
                  <a:gd name="T37" fmla="*/ 20 h 205"/>
                  <a:gd name="T38" fmla="*/ 955 w 1111"/>
                  <a:gd name="T39" fmla="*/ 20 h 205"/>
                  <a:gd name="T40" fmla="*/ 1015 w 1111"/>
                  <a:gd name="T41" fmla="*/ 22 h 205"/>
                  <a:gd name="T42" fmla="*/ 1066 w 1111"/>
                  <a:gd name="T43" fmla="*/ 22 h 205"/>
                  <a:gd name="T44" fmla="*/ 1128 w 1111"/>
                  <a:gd name="T45" fmla="*/ 22 h 205"/>
                  <a:gd name="T46" fmla="*/ 1209 w 1111"/>
                  <a:gd name="T47" fmla="*/ 23 h 205"/>
                  <a:gd name="T48" fmla="*/ 1289 w 1111"/>
                  <a:gd name="T49" fmla="*/ 24 h 205"/>
                  <a:gd name="T50" fmla="*/ 1350 w 1111"/>
                  <a:gd name="T51" fmla="*/ 24 h 205"/>
                  <a:gd name="T52" fmla="*/ 1405 w 1111"/>
                  <a:gd name="T53" fmla="*/ 24 h 205"/>
                  <a:gd name="T54" fmla="*/ 1448 w 1111"/>
                  <a:gd name="T55" fmla="*/ 24 h 205"/>
                  <a:gd name="T56" fmla="*/ 1486 w 1111"/>
                  <a:gd name="T57" fmla="*/ 24 h 205"/>
                  <a:gd name="T58" fmla="*/ 1473 w 1111"/>
                  <a:gd name="T59" fmla="*/ 72 h 205"/>
                  <a:gd name="T60" fmla="*/ 1443 w 1111"/>
                  <a:gd name="T61" fmla="*/ 72 h 205"/>
                  <a:gd name="T62" fmla="*/ 1399 w 1111"/>
                  <a:gd name="T63" fmla="*/ 72 h 205"/>
                  <a:gd name="T64" fmla="*/ 1338 w 1111"/>
                  <a:gd name="T65" fmla="*/ 72 h 205"/>
                  <a:gd name="T66" fmla="*/ 1263 w 1111"/>
                  <a:gd name="T67" fmla="*/ 70 h 205"/>
                  <a:gd name="T68" fmla="*/ 1195 w 1111"/>
                  <a:gd name="T69" fmla="*/ 70 h 205"/>
                  <a:gd name="T70" fmla="*/ 1153 w 1111"/>
                  <a:gd name="T71" fmla="*/ 70 h 205"/>
                  <a:gd name="T72" fmla="*/ 1109 w 1111"/>
                  <a:gd name="T73" fmla="*/ 69 h 205"/>
                  <a:gd name="T74" fmla="*/ 1066 w 1111"/>
                  <a:gd name="T75" fmla="*/ 69 h 205"/>
                  <a:gd name="T76" fmla="*/ 1024 w 1111"/>
                  <a:gd name="T77" fmla="*/ 69 h 205"/>
                  <a:gd name="T78" fmla="*/ 979 w 1111"/>
                  <a:gd name="T79" fmla="*/ 69 h 205"/>
                  <a:gd name="T80" fmla="*/ 936 w 1111"/>
                  <a:gd name="T81" fmla="*/ 69 h 205"/>
                  <a:gd name="T82" fmla="*/ 893 w 1111"/>
                  <a:gd name="T83" fmla="*/ 69 h 205"/>
                  <a:gd name="T84" fmla="*/ 839 w 1111"/>
                  <a:gd name="T85" fmla="*/ 68 h 205"/>
                  <a:gd name="T86" fmla="*/ 764 w 1111"/>
                  <a:gd name="T87" fmla="*/ 66 h 205"/>
                  <a:gd name="T88" fmla="*/ 696 w 1111"/>
                  <a:gd name="T89" fmla="*/ 66 h 205"/>
                  <a:gd name="T90" fmla="*/ 659 w 1111"/>
                  <a:gd name="T91" fmla="*/ 64 h 205"/>
                  <a:gd name="T92" fmla="*/ 611 w 1111"/>
                  <a:gd name="T93" fmla="*/ 63 h 205"/>
                  <a:gd name="T94" fmla="*/ 568 w 1111"/>
                  <a:gd name="T95" fmla="*/ 62 h 205"/>
                  <a:gd name="T96" fmla="*/ 518 w 1111"/>
                  <a:gd name="T97" fmla="*/ 61 h 205"/>
                  <a:gd name="T98" fmla="*/ 469 w 1111"/>
                  <a:gd name="T99" fmla="*/ 59 h 205"/>
                  <a:gd name="T100" fmla="*/ 419 w 1111"/>
                  <a:gd name="T101" fmla="*/ 58 h 205"/>
                  <a:gd name="T102" fmla="*/ 370 w 1111"/>
                  <a:gd name="T103" fmla="*/ 58 h 205"/>
                  <a:gd name="T104" fmla="*/ 327 w 1111"/>
                  <a:gd name="T105" fmla="*/ 56 h 205"/>
                  <a:gd name="T106" fmla="*/ 284 w 1111"/>
                  <a:gd name="T107" fmla="*/ 56 h 205"/>
                  <a:gd name="T108" fmla="*/ 243 w 1111"/>
                  <a:gd name="T109" fmla="*/ 53 h 205"/>
                  <a:gd name="T110" fmla="*/ 172 w 1111"/>
                  <a:gd name="T111" fmla="*/ 51 h 205"/>
                  <a:gd name="T112" fmla="*/ 97 w 1111"/>
                  <a:gd name="T113" fmla="*/ 50 h 205"/>
                  <a:gd name="T114" fmla="*/ 44 w 1111"/>
                  <a:gd name="T115" fmla="*/ 49 h 205"/>
                  <a:gd name="T116" fmla="*/ 5 w 1111"/>
                  <a:gd name="T117" fmla="*/ 47 h 205"/>
                  <a:gd name="T118" fmla="*/ 10 w 1111"/>
                  <a:gd name="T119" fmla="*/ 0 h 2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11"/>
                  <a:gd name="T181" fmla="*/ 0 h 205"/>
                  <a:gd name="T182" fmla="*/ 1111 w 1111"/>
                  <a:gd name="T183" fmla="*/ 205 h 2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11" h="205">
                    <a:moveTo>
                      <a:pt x="10" y="0"/>
                    </a:moveTo>
                    <a:lnTo>
                      <a:pt x="14" y="0"/>
                    </a:lnTo>
                    <a:lnTo>
                      <a:pt x="23" y="3"/>
                    </a:lnTo>
                    <a:lnTo>
                      <a:pt x="32" y="3"/>
                    </a:lnTo>
                    <a:lnTo>
                      <a:pt x="42" y="3"/>
                    </a:lnTo>
                    <a:lnTo>
                      <a:pt x="55" y="6"/>
                    </a:lnTo>
                    <a:lnTo>
                      <a:pt x="69" y="9"/>
                    </a:lnTo>
                    <a:lnTo>
                      <a:pt x="83" y="11"/>
                    </a:lnTo>
                    <a:lnTo>
                      <a:pt x="101" y="11"/>
                    </a:lnTo>
                    <a:lnTo>
                      <a:pt x="119" y="11"/>
                    </a:lnTo>
                    <a:lnTo>
                      <a:pt x="133" y="14"/>
                    </a:lnTo>
                    <a:lnTo>
                      <a:pt x="142" y="14"/>
                    </a:lnTo>
                    <a:lnTo>
                      <a:pt x="151" y="17"/>
                    </a:lnTo>
                    <a:lnTo>
                      <a:pt x="165" y="17"/>
                    </a:lnTo>
                    <a:lnTo>
                      <a:pt x="179" y="17"/>
                    </a:lnTo>
                    <a:lnTo>
                      <a:pt x="183" y="17"/>
                    </a:lnTo>
                    <a:lnTo>
                      <a:pt x="197" y="20"/>
                    </a:lnTo>
                    <a:lnTo>
                      <a:pt x="211" y="23"/>
                    </a:lnTo>
                    <a:lnTo>
                      <a:pt x="220" y="23"/>
                    </a:lnTo>
                    <a:lnTo>
                      <a:pt x="229" y="23"/>
                    </a:lnTo>
                    <a:lnTo>
                      <a:pt x="243" y="23"/>
                    </a:lnTo>
                    <a:lnTo>
                      <a:pt x="252" y="26"/>
                    </a:lnTo>
                    <a:lnTo>
                      <a:pt x="265" y="29"/>
                    </a:lnTo>
                    <a:lnTo>
                      <a:pt x="275" y="29"/>
                    </a:lnTo>
                    <a:lnTo>
                      <a:pt x="288" y="29"/>
                    </a:lnTo>
                    <a:lnTo>
                      <a:pt x="302" y="31"/>
                    </a:lnTo>
                    <a:lnTo>
                      <a:pt x="311" y="31"/>
                    </a:lnTo>
                    <a:lnTo>
                      <a:pt x="320" y="31"/>
                    </a:lnTo>
                    <a:lnTo>
                      <a:pt x="334" y="34"/>
                    </a:lnTo>
                    <a:lnTo>
                      <a:pt x="348" y="34"/>
                    </a:lnTo>
                    <a:lnTo>
                      <a:pt x="357" y="34"/>
                    </a:lnTo>
                    <a:lnTo>
                      <a:pt x="371" y="34"/>
                    </a:lnTo>
                    <a:lnTo>
                      <a:pt x="384" y="37"/>
                    </a:lnTo>
                    <a:lnTo>
                      <a:pt x="393" y="37"/>
                    </a:lnTo>
                    <a:lnTo>
                      <a:pt x="407" y="37"/>
                    </a:lnTo>
                    <a:lnTo>
                      <a:pt x="421" y="40"/>
                    </a:lnTo>
                    <a:lnTo>
                      <a:pt x="435" y="40"/>
                    </a:lnTo>
                    <a:lnTo>
                      <a:pt x="444" y="43"/>
                    </a:lnTo>
                    <a:lnTo>
                      <a:pt x="453" y="46"/>
                    </a:lnTo>
                    <a:lnTo>
                      <a:pt x="471" y="46"/>
                    </a:lnTo>
                    <a:lnTo>
                      <a:pt x="480" y="46"/>
                    </a:lnTo>
                    <a:lnTo>
                      <a:pt x="489" y="46"/>
                    </a:lnTo>
                    <a:lnTo>
                      <a:pt x="508" y="46"/>
                    </a:lnTo>
                    <a:lnTo>
                      <a:pt x="517" y="46"/>
                    </a:lnTo>
                    <a:lnTo>
                      <a:pt x="526" y="46"/>
                    </a:lnTo>
                    <a:lnTo>
                      <a:pt x="540" y="48"/>
                    </a:lnTo>
                    <a:lnTo>
                      <a:pt x="553" y="48"/>
                    </a:lnTo>
                    <a:lnTo>
                      <a:pt x="558" y="48"/>
                    </a:lnTo>
                    <a:lnTo>
                      <a:pt x="572" y="51"/>
                    </a:lnTo>
                    <a:lnTo>
                      <a:pt x="585" y="51"/>
                    </a:lnTo>
                    <a:lnTo>
                      <a:pt x="594" y="51"/>
                    </a:lnTo>
                    <a:lnTo>
                      <a:pt x="604" y="51"/>
                    </a:lnTo>
                    <a:lnTo>
                      <a:pt x="613" y="51"/>
                    </a:lnTo>
                    <a:lnTo>
                      <a:pt x="626" y="54"/>
                    </a:lnTo>
                    <a:lnTo>
                      <a:pt x="640" y="54"/>
                    </a:lnTo>
                    <a:lnTo>
                      <a:pt x="658" y="54"/>
                    </a:lnTo>
                    <a:lnTo>
                      <a:pt x="677" y="57"/>
                    </a:lnTo>
                    <a:lnTo>
                      <a:pt x="686" y="57"/>
                    </a:lnTo>
                    <a:lnTo>
                      <a:pt x="695" y="57"/>
                    </a:lnTo>
                    <a:lnTo>
                      <a:pt x="709" y="57"/>
                    </a:lnTo>
                    <a:lnTo>
                      <a:pt x="718" y="57"/>
                    </a:lnTo>
                    <a:lnTo>
                      <a:pt x="736" y="57"/>
                    </a:lnTo>
                    <a:lnTo>
                      <a:pt x="754" y="60"/>
                    </a:lnTo>
                    <a:lnTo>
                      <a:pt x="764" y="60"/>
                    </a:lnTo>
                    <a:lnTo>
                      <a:pt x="782" y="60"/>
                    </a:lnTo>
                    <a:lnTo>
                      <a:pt x="791" y="60"/>
                    </a:lnTo>
                    <a:lnTo>
                      <a:pt x="800" y="60"/>
                    </a:lnTo>
                    <a:lnTo>
                      <a:pt x="818" y="60"/>
                    </a:lnTo>
                    <a:lnTo>
                      <a:pt x="837" y="60"/>
                    </a:lnTo>
                    <a:lnTo>
                      <a:pt x="855" y="60"/>
                    </a:lnTo>
                    <a:lnTo>
                      <a:pt x="878" y="63"/>
                    </a:lnTo>
                    <a:lnTo>
                      <a:pt x="896" y="63"/>
                    </a:lnTo>
                    <a:lnTo>
                      <a:pt x="914" y="63"/>
                    </a:lnTo>
                    <a:lnTo>
                      <a:pt x="933" y="63"/>
                    </a:lnTo>
                    <a:lnTo>
                      <a:pt x="956" y="66"/>
                    </a:lnTo>
                    <a:lnTo>
                      <a:pt x="969" y="66"/>
                    </a:lnTo>
                    <a:lnTo>
                      <a:pt x="983" y="66"/>
                    </a:lnTo>
                    <a:lnTo>
                      <a:pt x="1001" y="66"/>
                    </a:lnTo>
                    <a:lnTo>
                      <a:pt x="1020" y="66"/>
                    </a:lnTo>
                    <a:lnTo>
                      <a:pt x="1029" y="66"/>
                    </a:lnTo>
                    <a:lnTo>
                      <a:pt x="1042" y="66"/>
                    </a:lnTo>
                    <a:lnTo>
                      <a:pt x="1056" y="66"/>
                    </a:lnTo>
                    <a:lnTo>
                      <a:pt x="1065" y="66"/>
                    </a:lnTo>
                    <a:lnTo>
                      <a:pt x="1074" y="66"/>
                    </a:lnTo>
                    <a:lnTo>
                      <a:pt x="1088" y="66"/>
                    </a:lnTo>
                    <a:lnTo>
                      <a:pt x="1093" y="66"/>
                    </a:lnTo>
                    <a:lnTo>
                      <a:pt x="1102" y="66"/>
                    </a:lnTo>
                    <a:lnTo>
                      <a:pt x="1111" y="66"/>
                    </a:lnTo>
                    <a:lnTo>
                      <a:pt x="1093" y="205"/>
                    </a:lnTo>
                    <a:lnTo>
                      <a:pt x="1088" y="205"/>
                    </a:lnTo>
                    <a:lnTo>
                      <a:pt x="1074" y="205"/>
                    </a:lnTo>
                    <a:lnTo>
                      <a:pt x="1070" y="205"/>
                    </a:lnTo>
                    <a:lnTo>
                      <a:pt x="1056" y="205"/>
                    </a:lnTo>
                    <a:lnTo>
                      <a:pt x="1047" y="205"/>
                    </a:lnTo>
                    <a:lnTo>
                      <a:pt x="1038" y="205"/>
                    </a:lnTo>
                    <a:lnTo>
                      <a:pt x="1020" y="202"/>
                    </a:lnTo>
                    <a:lnTo>
                      <a:pt x="1010" y="202"/>
                    </a:lnTo>
                    <a:lnTo>
                      <a:pt x="992" y="202"/>
                    </a:lnTo>
                    <a:lnTo>
                      <a:pt x="978" y="202"/>
                    </a:lnTo>
                    <a:lnTo>
                      <a:pt x="956" y="199"/>
                    </a:lnTo>
                    <a:lnTo>
                      <a:pt x="937" y="199"/>
                    </a:lnTo>
                    <a:lnTo>
                      <a:pt x="919" y="199"/>
                    </a:lnTo>
                    <a:lnTo>
                      <a:pt x="901" y="199"/>
                    </a:lnTo>
                    <a:lnTo>
                      <a:pt x="887" y="199"/>
                    </a:lnTo>
                    <a:lnTo>
                      <a:pt x="878" y="199"/>
                    </a:lnTo>
                    <a:lnTo>
                      <a:pt x="869" y="199"/>
                    </a:lnTo>
                    <a:lnTo>
                      <a:pt x="855" y="199"/>
                    </a:lnTo>
                    <a:lnTo>
                      <a:pt x="846" y="197"/>
                    </a:lnTo>
                    <a:lnTo>
                      <a:pt x="837" y="197"/>
                    </a:lnTo>
                    <a:lnTo>
                      <a:pt x="823" y="197"/>
                    </a:lnTo>
                    <a:lnTo>
                      <a:pt x="814" y="197"/>
                    </a:lnTo>
                    <a:lnTo>
                      <a:pt x="800" y="197"/>
                    </a:lnTo>
                    <a:lnTo>
                      <a:pt x="791" y="197"/>
                    </a:lnTo>
                    <a:lnTo>
                      <a:pt x="782" y="197"/>
                    </a:lnTo>
                    <a:lnTo>
                      <a:pt x="768" y="197"/>
                    </a:lnTo>
                    <a:lnTo>
                      <a:pt x="759" y="194"/>
                    </a:lnTo>
                    <a:lnTo>
                      <a:pt x="745" y="194"/>
                    </a:lnTo>
                    <a:lnTo>
                      <a:pt x="736" y="194"/>
                    </a:lnTo>
                    <a:lnTo>
                      <a:pt x="727" y="194"/>
                    </a:lnTo>
                    <a:lnTo>
                      <a:pt x="713" y="194"/>
                    </a:lnTo>
                    <a:lnTo>
                      <a:pt x="704" y="194"/>
                    </a:lnTo>
                    <a:lnTo>
                      <a:pt x="695" y="194"/>
                    </a:lnTo>
                    <a:lnTo>
                      <a:pt x="681" y="194"/>
                    </a:lnTo>
                    <a:lnTo>
                      <a:pt x="672" y="194"/>
                    </a:lnTo>
                    <a:lnTo>
                      <a:pt x="663" y="194"/>
                    </a:lnTo>
                    <a:lnTo>
                      <a:pt x="649" y="194"/>
                    </a:lnTo>
                    <a:lnTo>
                      <a:pt x="640" y="194"/>
                    </a:lnTo>
                    <a:lnTo>
                      <a:pt x="622" y="191"/>
                    </a:lnTo>
                    <a:lnTo>
                      <a:pt x="604" y="188"/>
                    </a:lnTo>
                    <a:lnTo>
                      <a:pt x="585" y="188"/>
                    </a:lnTo>
                    <a:lnTo>
                      <a:pt x="567" y="188"/>
                    </a:lnTo>
                    <a:lnTo>
                      <a:pt x="544" y="185"/>
                    </a:lnTo>
                    <a:lnTo>
                      <a:pt x="526" y="185"/>
                    </a:lnTo>
                    <a:lnTo>
                      <a:pt x="517" y="185"/>
                    </a:lnTo>
                    <a:lnTo>
                      <a:pt x="508" y="182"/>
                    </a:lnTo>
                    <a:lnTo>
                      <a:pt x="494" y="182"/>
                    </a:lnTo>
                    <a:lnTo>
                      <a:pt x="489" y="182"/>
                    </a:lnTo>
                    <a:lnTo>
                      <a:pt x="471" y="177"/>
                    </a:lnTo>
                    <a:lnTo>
                      <a:pt x="462" y="177"/>
                    </a:lnTo>
                    <a:lnTo>
                      <a:pt x="453" y="177"/>
                    </a:lnTo>
                    <a:lnTo>
                      <a:pt x="439" y="177"/>
                    </a:lnTo>
                    <a:lnTo>
                      <a:pt x="430" y="174"/>
                    </a:lnTo>
                    <a:lnTo>
                      <a:pt x="421" y="174"/>
                    </a:lnTo>
                    <a:lnTo>
                      <a:pt x="407" y="174"/>
                    </a:lnTo>
                    <a:lnTo>
                      <a:pt x="398" y="174"/>
                    </a:lnTo>
                    <a:lnTo>
                      <a:pt x="384" y="171"/>
                    </a:lnTo>
                    <a:lnTo>
                      <a:pt x="371" y="171"/>
                    </a:lnTo>
                    <a:lnTo>
                      <a:pt x="357" y="168"/>
                    </a:lnTo>
                    <a:lnTo>
                      <a:pt x="348" y="168"/>
                    </a:lnTo>
                    <a:lnTo>
                      <a:pt x="334" y="165"/>
                    </a:lnTo>
                    <a:lnTo>
                      <a:pt x="320" y="162"/>
                    </a:lnTo>
                    <a:lnTo>
                      <a:pt x="311" y="162"/>
                    </a:lnTo>
                    <a:lnTo>
                      <a:pt x="302" y="162"/>
                    </a:lnTo>
                    <a:lnTo>
                      <a:pt x="288" y="162"/>
                    </a:lnTo>
                    <a:lnTo>
                      <a:pt x="275" y="162"/>
                    </a:lnTo>
                    <a:lnTo>
                      <a:pt x="265" y="160"/>
                    </a:lnTo>
                    <a:lnTo>
                      <a:pt x="256" y="160"/>
                    </a:lnTo>
                    <a:lnTo>
                      <a:pt x="243" y="157"/>
                    </a:lnTo>
                    <a:lnTo>
                      <a:pt x="233" y="157"/>
                    </a:lnTo>
                    <a:lnTo>
                      <a:pt x="220" y="157"/>
                    </a:lnTo>
                    <a:lnTo>
                      <a:pt x="211" y="157"/>
                    </a:lnTo>
                    <a:lnTo>
                      <a:pt x="197" y="151"/>
                    </a:lnTo>
                    <a:lnTo>
                      <a:pt x="188" y="151"/>
                    </a:lnTo>
                    <a:lnTo>
                      <a:pt x="179" y="151"/>
                    </a:lnTo>
                    <a:lnTo>
                      <a:pt x="165" y="151"/>
                    </a:lnTo>
                    <a:lnTo>
                      <a:pt x="147" y="148"/>
                    </a:lnTo>
                    <a:lnTo>
                      <a:pt x="128" y="145"/>
                    </a:lnTo>
                    <a:lnTo>
                      <a:pt x="110" y="142"/>
                    </a:lnTo>
                    <a:lnTo>
                      <a:pt x="92" y="142"/>
                    </a:lnTo>
                    <a:lnTo>
                      <a:pt x="73" y="140"/>
                    </a:lnTo>
                    <a:lnTo>
                      <a:pt x="60" y="140"/>
                    </a:lnTo>
                    <a:lnTo>
                      <a:pt x="42" y="137"/>
                    </a:lnTo>
                    <a:lnTo>
                      <a:pt x="32" y="137"/>
                    </a:lnTo>
                    <a:lnTo>
                      <a:pt x="23" y="134"/>
                    </a:lnTo>
                    <a:lnTo>
                      <a:pt x="14" y="134"/>
                    </a:lnTo>
                    <a:lnTo>
                      <a:pt x="5" y="134"/>
                    </a:lnTo>
                    <a:lnTo>
                      <a:pt x="0" y="134"/>
                    </a:lnTo>
                    <a:lnTo>
                      <a:pt x="10"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0" name="Freeform 164"/>
              <p:cNvSpPr>
                <a:spLocks/>
              </p:cNvSpPr>
              <p:nvPr>
                <p:custDataLst>
                  <p:tags r:id="rId74"/>
                </p:custDataLst>
              </p:nvPr>
            </p:nvSpPr>
            <p:spPr bwMode="gray">
              <a:xfrm>
                <a:off x="3658" y="2183"/>
                <a:ext cx="760" cy="161"/>
              </a:xfrm>
              <a:custGeom>
                <a:avLst/>
                <a:gdLst>
                  <a:gd name="T0" fmla="*/ 14 w 741"/>
                  <a:gd name="T1" fmla="*/ 14 h 176"/>
                  <a:gd name="T2" fmla="*/ 53 w 741"/>
                  <a:gd name="T3" fmla="*/ 14 h 176"/>
                  <a:gd name="T4" fmla="*/ 97 w 741"/>
                  <a:gd name="T5" fmla="*/ 14 h 176"/>
                  <a:gd name="T6" fmla="*/ 137 w 741"/>
                  <a:gd name="T7" fmla="*/ 14 h 176"/>
                  <a:gd name="T8" fmla="*/ 179 w 741"/>
                  <a:gd name="T9" fmla="*/ 13 h 176"/>
                  <a:gd name="T10" fmla="*/ 216 w 741"/>
                  <a:gd name="T11" fmla="*/ 13 h 176"/>
                  <a:gd name="T12" fmla="*/ 266 w 741"/>
                  <a:gd name="T13" fmla="*/ 12 h 176"/>
                  <a:gd name="T14" fmla="*/ 304 w 741"/>
                  <a:gd name="T15" fmla="*/ 12 h 176"/>
                  <a:gd name="T16" fmla="*/ 347 w 741"/>
                  <a:gd name="T17" fmla="*/ 11 h 176"/>
                  <a:gd name="T18" fmla="*/ 384 w 741"/>
                  <a:gd name="T19" fmla="*/ 10 h 176"/>
                  <a:gd name="T20" fmla="*/ 434 w 741"/>
                  <a:gd name="T21" fmla="*/ 10 h 176"/>
                  <a:gd name="T22" fmla="*/ 464 w 741"/>
                  <a:gd name="T23" fmla="*/ 9 h 176"/>
                  <a:gd name="T24" fmla="*/ 508 w 741"/>
                  <a:gd name="T25" fmla="*/ 7 h 176"/>
                  <a:gd name="T26" fmla="*/ 551 w 741"/>
                  <a:gd name="T27" fmla="*/ 6 h 176"/>
                  <a:gd name="T28" fmla="*/ 588 w 741"/>
                  <a:gd name="T29" fmla="*/ 6 h 176"/>
                  <a:gd name="T30" fmla="*/ 625 w 741"/>
                  <a:gd name="T31" fmla="*/ 5 h 176"/>
                  <a:gd name="T32" fmla="*/ 664 w 741"/>
                  <a:gd name="T33" fmla="*/ 5 h 176"/>
                  <a:gd name="T34" fmla="*/ 701 w 741"/>
                  <a:gd name="T35" fmla="*/ 5 h 176"/>
                  <a:gd name="T36" fmla="*/ 732 w 741"/>
                  <a:gd name="T37" fmla="*/ 5 h 176"/>
                  <a:gd name="T38" fmla="*/ 762 w 741"/>
                  <a:gd name="T39" fmla="*/ 5 h 176"/>
                  <a:gd name="T40" fmla="*/ 792 w 741"/>
                  <a:gd name="T41" fmla="*/ 5 h 176"/>
                  <a:gd name="T42" fmla="*/ 825 w 741"/>
                  <a:gd name="T43" fmla="*/ 2 h 176"/>
                  <a:gd name="T44" fmla="*/ 868 w 741"/>
                  <a:gd name="T45" fmla="*/ 0 h 176"/>
                  <a:gd name="T46" fmla="*/ 912 w 741"/>
                  <a:gd name="T47" fmla="*/ 0 h 176"/>
                  <a:gd name="T48" fmla="*/ 946 w 741"/>
                  <a:gd name="T49" fmla="*/ 0 h 176"/>
                  <a:gd name="T50" fmla="*/ 986 w 741"/>
                  <a:gd name="T51" fmla="*/ 0 h 176"/>
                  <a:gd name="T52" fmla="*/ 991 w 741"/>
                  <a:gd name="T53" fmla="*/ 2 h 176"/>
                  <a:gd name="T54" fmla="*/ 991 w 741"/>
                  <a:gd name="T55" fmla="*/ 5 h 176"/>
                  <a:gd name="T56" fmla="*/ 991 w 741"/>
                  <a:gd name="T57" fmla="*/ 11 h 176"/>
                  <a:gd name="T58" fmla="*/ 997 w 741"/>
                  <a:gd name="T59" fmla="*/ 17 h 176"/>
                  <a:gd name="T60" fmla="*/ 997 w 741"/>
                  <a:gd name="T61" fmla="*/ 24 h 176"/>
                  <a:gd name="T62" fmla="*/ 997 w 741"/>
                  <a:gd name="T63" fmla="*/ 31 h 176"/>
                  <a:gd name="T64" fmla="*/ 1003 w 741"/>
                  <a:gd name="T65" fmla="*/ 35 h 176"/>
                  <a:gd name="T66" fmla="*/ 1003 w 741"/>
                  <a:gd name="T67" fmla="*/ 38 h 176"/>
                  <a:gd name="T68" fmla="*/ 1003 w 741"/>
                  <a:gd name="T69" fmla="*/ 38 h 176"/>
                  <a:gd name="T70" fmla="*/ 972 w 741"/>
                  <a:gd name="T71" fmla="*/ 39 h 176"/>
                  <a:gd name="T72" fmla="*/ 936 w 741"/>
                  <a:gd name="T73" fmla="*/ 40 h 176"/>
                  <a:gd name="T74" fmla="*/ 904 w 741"/>
                  <a:gd name="T75" fmla="*/ 41 h 176"/>
                  <a:gd name="T76" fmla="*/ 868 w 741"/>
                  <a:gd name="T77" fmla="*/ 43 h 176"/>
                  <a:gd name="T78" fmla="*/ 831 w 741"/>
                  <a:gd name="T79" fmla="*/ 44 h 176"/>
                  <a:gd name="T80" fmla="*/ 792 w 741"/>
                  <a:gd name="T81" fmla="*/ 45 h 176"/>
                  <a:gd name="T82" fmla="*/ 744 w 741"/>
                  <a:gd name="T83" fmla="*/ 45 h 176"/>
                  <a:gd name="T84" fmla="*/ 706 w 741"/>
                  <a:gd name="T85" fmla="*/ 48 h 176"/>
                  <a:gd name="T86" fmla="*/ 656 w 741"/>
                  <a:gd name="T87" fmla="*/ 49 h 176"/>
                  <a:gd name="T88" fmla="*/ 606 w 741"/>
                  <a:gd name="T89" fmla="*/ 50 h 176"/>
                  <a:gd name="T90" fmla="*/ 564 w 741"/>
                  <a:gd name="T91" fmla="*/ 50 h 176"/>
                  <a:gd name="T92" fmla="*/ 520 w 741"/>
                  <a:gd name="T93" fmla="*/ 53 h 176"/>
                  <a:gd name="T94" fmla="*/ 476 w 741"/>
                  <a:gd name="T95" fmla="*/ 54 h 176"/>
                  <a:gd name="T96" fmla="*/ 0 w 741"/>
                  <a:gd name="T97" fmla="*/ 60 h 176"/>
                  <a:gd name="T98" fmla="*/ 0 w 741"/>
                  <a:gd name="T99" fmla="*/ 14 h 1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1"/>
                  <a:gd name="T151" fmla="*/ 0 h 176"/>
                  <a:gd name="T152" fmla="*/ 741 w 741"/>
                  <a:gd name="T153" fmla="*/ 176 h 1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1" h="176">
                    <a:moveTo>
                      <a:pt x="0" y="40"/>
                    </a:moveTo>
                    <a:lnTo>
                      <a:pt x="14" y="40"/>
                    </a:lnTo>
                    <a:lnTo>
                      <a:pt x="28" y="40"/>
                    </a:lnTo>
                    <a:lnTo>
                      <a:pt x="41" y="40"/>
                    </a:lnTo>
                    <a:lnTo>
                      <a:pt x="60" y="40"/>
                    </a:lnTo>
                    <a:lnTo>
                      <a:pt x="73" y="40"/>
                    </a:lnTo>
                    <a:lnTo>
                      <a:pt x="87" y="40"/>
                    </a:lnTo>
                    <a:lnTo>
                      <a:pt x="101" y="40"/>
                    </a:lnTo>
                    <a:lnTo>
                      <a:pt x="119" y="40"/>
                    </a:lnTo>
                    <a:lnTo>
                      <a:pt x="133" y="37"/>
                    </a:lnTo>
                    <a:lnTo>
                      <a:pt x="147" y="37"/>
                    </a:lnTo>
                    <a:lnTo>
                      <a:pt x="160" y="37"/>
                    </a:lnTo>
                    <a:lnTo>
                      <a:pt x="179" y="37"/>
                    </a:lnTo>
                    <a:lnTo>
                      <a:pt x="197" y="34"/>
                    </a:lnTo>
                    <a:lnTo>
                      <a:pt x="210" y="34"/>
                    </a:lnTo>
                    <a:lnTo>
                      <a:pt x="224" y="34"/>
                    </a:lnTo>
                    <a:lnTo>
                      <a:pt x="238" y="34"/>
                    </a:lnTo>
                    <a:lnTo>
                      <a:pt x="256" y="31"/>
                    </a:lnTo>
                    <a:lnTo>
                      <a:pt x="270" y="31"/>
                    </a:lnTo>
                    <a:lnTo>
                      <a:pt x="284" y="28"/>
                    </a:lnTo>
                    <a:lnTo>
                      <a:pt x="302" y="28"/>
                    </a:lnTo>
                    <a:lnTo>
                      <a:pt x="320" y="28"/>
                    </a:lnTo>
                    <a:lnTo>
                      <a:pt x="329" y="28"/>
                    </a:lnTo>
                    <a:lnTo>
                      <a:pt x="343" y="25"/>
                    </a:lnTo>
                    <a:lnTo>
                      <a:pt x="361" y="25"/>
                    </a:lnTo>
                    <a:lnTo>
                      <a:pt x="375" y="22"/>
                    </a:lnTo>
                    <a:lnTo>
                      <a:pt x="389" y="22"/>
                    </a:lnTo>
                    <a:lnTo>
                      <a:pt x="407" y="20"/>
                    </a:lnTo>
                    <a:lnTo>
                      <a:pt x="421" y="20"/>
                    </a:lnTo>
                    <a:lnTo>
                      <a:pt x="434" y="20"/>
                    </a:lnTo>
                    <a:lnTo>
                      <a:pt x="448" y="20"/>
                    </a:lnTo>
                    <a:lnTo>
                      <a:pt x="462" y="17"/>
                    </a:lnTo>
                    <a:lnTo>
                      <a:pt x="480" y="17"/>
                    </a:lnTo>
                    <a:lnTo>
                      <a:pt x="489" y="14"/>
                    </a:lnTo>
                    <a:lnTo>
                      <a:pt x="503" y="14"/>
                    </a:lnTo>
                    <a:lnTo>
                      <a:pt x="517" y="14"/>
                    </a:lnTo>
                    <a:lnTo>
                      <a:pt x="526" y="11"/>
                    </a:lnTo>
                    <a:lnTo>
                      <a:pt x="540" y="8"/>
                    </a:lnTo>
                    <a:lnTo>
                      <a:pt x="553" y="8"/>
                    </a:lnTo>
                    <a:lnTo>
                      <a:pt x="562" y="5"/>
                    </a:lnTo>
                    <a:lnTo>
                      <a:pt x="576" y="5"/>
                    </a:lnTo>
                    <a:lnTo>
                      <a:pt x="585" y="5"/>
                    </a:lnTo>
                    <a:lnTo>
                      <a:pt x="599" y="5"/>
                    </a:lnTo>
                    <a:lnTo>
                      <a:pt x="608" y="2"/>
                    </a:lnTo>
                    <a:lnTo>
                      <a:pt x="622" y="2"/>
                    </a:lnTo>
                    <a:lnTo>
                      <a:pt x="640" y="0"/>
                    </a:lnTo>
                    <a:lnTo>
                      <a:pt x="658" y="0"/>
                    </a:lnTo>
                    <a:lnTo>
                      <a:pt x="672" y="0"/>
                    </a:lnTo>
                    <a:lnTo>
                      <a:pt x="686" y="0"/>
                    </a:lnTo>
                    <a:lnTo>
                      <a:pt x="699" y="0"/>
                    </a:lnTo>
                    <a:lnTo>
                      <a:pt x="709" y="0"/>
                    </a:lnTo>
                    <a:lnTo>
                      <a:pt x="727" y="0"/>
                    </a:lnTo>
                    <a:lnTo>
                      <a:pt x="731" y="0"/>
                    </a:lnTo>
                    <a:lnTo>
                      <a:pt x="731" y="2"/>
                    </a:lnTo>
                    <a:lnTo>
                      <a:pt x="731" y="8"/>
                    </a:lnTo>
                    <a:lnTo>
                      <a:pt x="731" y="14"/>
                    </a:lnTo>
                    <a:lnTo>
                      <a:pt x="731" y="22"/>
                    </a:lnTo>
                    <a:lnTo>
                      <a:pt x="731" y="31"/>
                    </a:lnTo>
                    <a:lnTo>
                      <a:pt x="731" y="42"/>
                    </a:lnTo>
                    <a:lnTo>
                      <a:pt x="736" y="51"/>
                    </a:lnTo>
                    <a:lnTo>
                      <a:pt x="736" y="59"/>
                    </a:lnTo>
                    <a:lnTo>
                      <a:pt x="736" y="68"/>
                    </a:lnTo>
                    <a:lnTo>
                      <a:pt x="736" y="79"/>
                    </a:lnTo>
                    <a:lnTo>
                      <a:pt x="736" y="88"/>
                    </a:lnTo>
                    <a:lnTo>
                      <a:pt x="741" y="96"/>
                    </a:lnTo>
                    <a:lnTo>
                      <a:pt x="741" y="102"/>
                    </a:lnTo>
                    <a:lnTo>
                      <a:pt x="741" y="105"/>
                    </a:lnTo>
                    <a:lnTo>
                      <a:pt x="741" y="111"/>
                    </a:lnTo>
                    <a:lnTo>
                      <a:pt x="731" y="111"/>
                    </a:lnTo>
                    <a:lnTo>
                      <a:pt x="718" y="114"/>
                    </a:lnTo>
                    <a:lnTo>
                      <a:pt x="699" y="116"/>
                    </a:lnTo>
                    <a:lnTo>
                      <a:pt x="690" y="116"/>
                    </a:lnTo>
                    <a:lnTo>
                      <a:pt x="681" y="116"/>
                    </a:lnTo>
                    <a:lnTo>
                      <a:pt x="668" y="119"/>
                    </a:lnTo>
                    <a:lnTo>
                      <a:pt x="658" y="122"/>
                    </a:lnTo>
                    <a:lnTo>
                      <a:pt x="640" y="125"/>
                    </a:lnTo>
                    <a:lnTo>
                      <a:pt x="631" y="125"/>
                    </a:lnTo>
                    <a:lnTo>
                      <a:pt x="613" y="128"/>
                    </a:lnTo>
                    <a:lnTo>
                      <a:pt x="604" y="128"/>
                    </a:lnTo>
                    <a:lnTo>
                      <a:pt x="585" y="131"/>
                    </a:lnTo>
                    <a:lnTo>
                      <a:pt x="567" y="131"/>
                    </a:lnTo>
                    <a:lnTo>
                      <a:pt x="549" y="133"/>
                    </a:lnTo>
                    <a:lnTo>
                      <a:pt x="540" y="136"/>
                    </a:lnTo>
                    <a:lnTo>
                      <a:pt x="521" y="139"/>
                    </a:lnTo>
                    <a:lnTo>
                      <a:pt x="503" y="139"/>
                    </a:lnTo>
                    <a:lnTo>
                      <a:pt x="485" y="142"/>
                    </a:lnTo>
                    <a:lnTo>
                      <a:pt x="471" y="145"/>
                    </a:lnTo>
                    <a:lnTo>
                      <a:pt x="448" y="148"/>
                    </a:lnTo>
                    <a:lnTo>
                      <a:pt x="434" y="148"/>
                    </a:lnTo>
                    <a:lnTo>
                      <a:pt x="416" y="148"/>
                    </a:lnTo>
                    <a:lnTo>
                      <a:pt x="398" y="151"/>
                    </a:lnTo>
                    <a:lnTo>
                      <a:pt x="384" y="153"/>
                    </a:lnTo>
                    <a:lnTo>
                      <a:pt x="366" y="153"/>
                    </a:lnTo>
                    <a:lnTo>
                      <a:pt x="352" y="156"/>
                    </a:lnTo>
                    <a:lnTo>
                      <a:pt x="338" y="159"/>
                    </a:lnTo>
                    <a:lnTo>
                      <a:pt x="0" y="176"/>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1" name="Freeform 165"/>
              <p:cNvSpPr>
                <a:spLocks/>
              </p:cNvSpPr>
              <p:nvPr>
                <p:custDataLst>
                  <p:tags r:id="rId75"/>
                </p:custDataLst>
              </p:nvPr>
            </p:nvSpPr>
            <p:spPr bwMode="gray">
              <a:xfrm>
                <a:off x="1293" y="2430"/>
                <a:ext cx="164" cy="94"/>
              </a:xfrm>
              <a:custGeom>
                <a:avLst/>
                <a:gdLst>
                  <a:gd name="T0" fmla="*/ 40 w 160"/>
                  <a:gd name="T1" fmla="*/ 3 h 103"/>
                  <a:gd name="T2" fmla="*/ 19 w 160"/>
                  <a:gd name="T3" fmla="*/ 5 h 103"/>
                  <a:gd name="T4" fmla="*/ 14 w 160"/>
                  <a:gd name="T5" fmla="*/ 6 h 103"/>
                  <a:gd name="T6" fmla="*/ 9 w 160"/>
                  <a:gd name="T7" fmla="*/ 10 h 103"/>
                  <a:gd name="T8" fmla="*/ 5 w 160"/>
                  <a:gd name="T9" fmla="*/ 14 h 103"/>
                  <a:gd name="T10" fmla="*/ 0 w 160"/>
                  <a:gd name="T11" fmla="*/ 15 h 103"/>
                  <a:gd name="T12" fmla="*/ 0 w 160"/>
                  <a:gd name="T13" fmla="*/ 18 h 103"/>
                  <a:gd name="T14" fmla="*/ 0 w 160"/>
                  <a:gd name="T15" fmla="*/ 20 h 103"/>
                  <a:gd name="T16" fmla="*/ 5 w 160"/>
                  <a:gd name="T17" fmla="*/ 22 h 103"/>
                  <a:gd name="T18" fmla="*/ 5 w 160"/>
                  <a:gd name="T19" fmla="*/ 25 h 103"/>
                  <a:gd name="T20" fmla="*/ 9 w 160"/>
                  <a:gd name="T21" fmla="*/ 27 h 103"/>
                  <a:gd name="T22" fmla="*/ 19 w 160"/>
                  <a:gd name="T23" fmla="*/ 30 h 103"/>
                  <a:gd name="T24" fmla="*/ 44 w 160"/>
                  <a:gd name="T25" fmla="*/ 33 h 103"/>
                  <a:gd name="T26" fmla="*/ 58 w 160"/>
                  <a:gd name="T27" fmla="*/ 33 h 103"/>
                  <a:gd name="T28" fmla="*/ 83 w 160"/>
                  <a:gd name="T29" fmla="*/ 33 h 103"/>
                  <a:gd name="T30" fmla="*/ 97 w 160"/>
                  <a:gd name="T31" fmla="*/ 33 h 103"/>
                  <a:gd name="T32" fmla="*/ 116 w 160"/>
                  <a:gd name="T33" fmla="*/ 34 h 103"/>
                  <a:gd name="T34" fmla="*/ 137 w 160"/>
                  <a:gd name="T35" fmla="*/ 33 h 103"/>
                  <a:gd name="T36" fmla="*/ 154 w 160"/>
                  <a:gd name="T37" fmla="*/ 33 h 103"/>
                  <a:gd name="T38" fmla="*/ 166 w 160"/>
                  <a:gd name="T39" fmla="*/ 33 h 103"/>
                  <a:gd name="T40" fmla="*/ 178 w 160"/>
                  <a:gd name="T41" fmla="*/ 31 h 103"/>
                  <a:gd name="T42" fmla="*/ 198 w 160"/>
                  <a:gd name="T43" fmla="*/ 28 h 103"/>
                  <a:gd name="T44" fmla="*/ 203 w 160"/>
                  <a:gd name="T45" fmla="*/ 25 h 103"/>
                  <a:gd name="T46" fmla="*/ 209 w 160"/>
                  <a:gd name="T47" fmla="*/ 21 h 103"/>
                  <a:gd name="T48" fmla="*/ 214 w 160"/>
                  <a:gd name="T49" fmla="*/ 18 h 103"/>
                  <a:gd name="T50" fmla="*/ 209 w 160"/>
                  <a:gd name="T51" fmla="*/ 15 h 103"/>
                  <a:gd name="T52" fmla="*/ 209 w 160"/>
                  <a:gd name="T53" fmla="*/ 11 h 103"/>
                  <a:gd name="T54" fmla="*/ 203 w 160"/>
                  <a:gd name="T55" fmla="*/ 8 h 103"/>
                  <a:gd name="T56" fmla="*/ 198 w 160"/>
                  <a:gd name="T57" fmla="*/ 5 h 103"/>
                  <a:gd name="T58" fmla="*/ 178 w 160"/>
                  <a:gd name="T59" fmla="*/ 5 h 103"/>
                  <a:gd name="T60" fmla="*/ 154 w 160"/>
                  <a:gd name="T61" fmla="*/ 5 h 103"/>
                  <a:gd name="T62" fmla="*/ 137 w 160"/>
                  <a:gd name="T63" fmla="*/ 3 h 103"/>
                  <a:gd name="T64" fmla="*/ 102 w 160"/>
                  <a:gd name="T65" fmla="*/ 3 h 103"/>
                  <a:gd name="T66" fmla="*/ 83 w 160"/>
                  <a:gd name="T67" fmla="*/ 0 h 103"/>
                  <a:gd name="T68" fmla="*/ 58 w 160"/>
                  <a:gd name="T69" fmla="*/ 3 h 103"/>
                  <a:gd name="T70" fmla="*/ 49 w 160"/>
                  <a:gd name="T71" fmla="*/ 3 h 103"/>
                  <a:gd name="T72" fmla="*/ 40 w 160"/>
                  <a:gd name="T73" fmla="*/ 3 h 103"/>
                  <a:gd name="T74" fmla="*/ 40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28" y="3"/>
                    </a:moveTo>
                    <a:lnTo>
                      <a:pt x="19" y="12"/>
                    </a:lnTo>
                    <a:lnTo>
                      <a:pt x="14" y="20"/>
                    </a:lnTo>
                    <a:lnTo>
                      <a:pt x="9" y="29"/>
                    </a:lnTo>
                    <a:lnTo>
                      <a:pt x="5" y="40"/>
                    </a:lnTo>
                    <a:lnTo>
                      <a:pt x="0" y="46"/>
                    </a:lnTo>
                    <a:lnTo>
                      <a:pt x="0" y="54"/>
                    </a:lnTo>
                    <a:lnTo>
                      <a:pt x="0" y="60"/>
                    </a:lnTo>
                    <a:lnTo>
                      <a:pt x="5" y="66"/>
                    </a:lnTo>
                    <a:lnTo>
                      <a:pt x="5" y="74"/>
                    </a:lnTo>
                    <a:lnTo>
                      <a:pt x="9" y="83"/>
                    </a:lnTo>
                    <a:lnTo>
                      <a:pt x="19" y="91"/>
                    </a:lnTo>
                    <a:lnTo>
                      <a:pt x="32" y="97"/>
                    </a:lnTo>
                    <a:lnTo>
                      <a:pt x="46" y="100"/>
                    </a:lnTo>
                    <a:lnTo>
                      <a:pt x="60" y="100"/>
                    </a:lnTo>
                    <a:lnTo>
                      <a:pt x="73" y="100"/>
                    </a:lnTo>
                    <a:lnTo>
                      <a:pt x="87" y="103"/>
                    </a:lnTo>
                    <a:lnTo>
                      <a:pt x="101" y="100"/>
                    </a:lnTo>
                    <a:lnTo>
                      <a:pt x="115" y="100"/>
                    </a:lnTo>
                    <a:lnTo>
                      <a:pt x="124" y="97"/>
                    </a:lnTo>
                    <a:lnTo>
                      <a:pt x="133" y="94"/>
                    </a:lnTo>
                    <a:lnTo>
                      <a:pt x="147" y="86"/>
                    </a:lnTo>
                    <a:lnTo>
                      <a:pt x="151" y="74"/>
                    </a:lnTo>
                    <a:lnTo>
                      <a:pt x="156" y="63"/>
                    </a:lnTo>
                    <a:lnTo>
                      <a:pt x="160" y="54"/>
                    </a:lnTo>
                    <a:lnTo>
                      <a:pt x="156" y="43"/>
                    </a:lnTo>
                    <a:lnTo>
                      <a:pt x="156" y="31"/>
                    </a:lnTo>
                    <a:lnTo>
                      <a:pt x="151" y="23"/>
                    </a:lnTo>
                    <a:lnTo>
                      <a:pt x="147" y="17"/>
                    </a:lnTo>
                    <a:lnTo>
                      <a:pt x="133" y="9"/>
                    </a:lnTo>
                    <a:lnTo>
                      <a:pt x="115" y="6"/>
                    </a:lnTo>
                    <a:lnTo>
                      <a:pt x="101" y="3"/>
                    </a:lnTo>
                    <a:lnTo>
                      <a:pt x="78" y="3"/>
                    </a:lnTo>
                    <a:lnTo>
                      <a:pt x="60" y="0"/>
                    </a:lnTo>
                    <a:lnTo>
                      <a:pt x="46" y="3"/>
                    </a:lnTo>
                    <a:lnTo>
                      <a:pt x="37" y="3"/>
                    </a:lnTo>
                    <a:lnTo>
                      <a:pt x="28"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2" name="Freeform 166"/>
              <p:cNvSpPr>
                <a:spLocks/>
              </p:cNvSpPr>
              <p:nvPr>
                <p:custDataLst>
                  <p:tags r:id="rId76"/>
                </p:custDataLst>
              </p:nvPr>
            </p:nvSpPr>
            <p:spPr bwMode="gray">
              <a:xfrm>
                <a:off x="1785" y="2469"/>
                <a:ext cx="178" cy="93"/>
              </a:xfrm>
              <a:custGeom>
                <a:avLst/>
                <a:gdLst>
                  <a:gd name="T0" fmla="*/ 44 w 174"/>
                  <a:gd name="T1" fmla="*/ 5 h 102"/>
                  <a:gd name="T2" fmla="*/ 35 w 174"/>
                  <a:gd name="T3" fmla="*/ 5 h 102"/>
                  <a:gd name="T4" fmla="*/ 14 w 174"/>
                  <a:gd name="T5" fmla="*/ 8 h 102"/>
                  <a:gd name="T6" fmla="*/ 14 w 174"/>
                  <a:gd name="T7" fmla="*/ 11 h 102"/>
                  <a:gd name="T8" fmla="*/ 9 w 174"/>
                  <a:gd name="T9" fmla="*/ 14 h 102"/>
                  <a:gd name="T10" fmla="*/ 5 w 174"/>
                  <a:gd name="T11" fmla="*/ 15 h 102"/>
                  <a:gd name="T12" fmla="*/ 0 w 174"/>
                  <a:gd name="T13" fmla="*/ 18 h 102"/>
                  <a:gd name="T14" fmla="*/ 0 w 174"/>
                  <a:gd name="T15" fmla="*/ 20 h 102"/>
                  <a:gd name="T16" fmla="*/ 5 w 174"/>
                  <a:gd name="T17" fmla="*/ 22 h 102"/>
                  <a:gd name="T18" fmla="*/ 9 w 174"/>
                  <a:gd name="T19" fmla="*/ 25 h 102"/>
                  <a:gd name="T20" fmla="*/ 14 w 174"/>
                  <a:gd name="T21" fmla="*/ 27 h 102"/>
                  <a:gd name="T22" fmla="*/ 35 w 174"/>
                  <a:gd name="T23" fmla="*/ 30 h 102"/>
                  <a:gd name="T24" fmla="*/ 49 w 174"/>
                  <a:gd name="T25" fmla="*/ 33 h 102"/>
                  <a:gd name="T26" fmla="*/ 62 w 174"/>
                  <a:gd name="T27" fmla="*/ 33 h 102"/>
                  <a:gd name="T28" fmla="*/ 86 w 174"/>
                  <a:gd name="T29" fmla="*/ 33 h 102"/>
                  <a:gd name="T30" fmla="*/ 102 w 174"/>
                  <a:gd name="T31" fmla="*/ 33 h 102"/>
                  <a:gd name="T32" fmla="*/ 125 w 174"/>
                  <a:gd name="T33" fmla="*/ 34 h 102"/>
                  <a:gd name="T34" fmla="*/ 139 w 174"/>
                  <a:gd name="T35" fmla="*/ 33 h 102"/>
                  <a:gd name="T36" fmla="*/ 155 w 174"/>
                  <a:gd name="T37" fmla="*/ 33 h 102"/>
                  <a:gd name="T38" fmla="*/ 174 w 174"/>
                  <a:gd name="T39" fmla="*/ 31 h 102"/>
                  <a:gd name="T40" fmla="*/ 186 w 174"/>
                  <a:gd name="T41" fmla="*/ 31 h 102"/>
                  <a:gd name="T42" fmla="*/ 198 w 174"/>
                  <a:gd name="T43" fmla="*/ 27 h 102"/>
                  <a:gd name="T44" fmla="*/ 211 w 174"/>
                  <a:gd name="T45" fmla="*/ 25 h 102"/>
                  <a:gd name="T46" fmla="*/ 222 w 174"/>
                  <a:gd name="T47" fmla="*/ 24 h 102"/>
                  <a:gd name="T48" fmla="*/ 228 w 174"/>
                  <a:gd name="T49" fmla="*/ 21 h 102"/>
                  <a:gd name="T50" fmla="*/ 228 w 174"/>
                  <a:gd name="T51" fmla="*/ 17 h 102"/>
                  <a:gd name="T52" fmla="*/ 228 w 174"/>
                  <a:gd name="T53" fmla="*/ 15 h 102"/>
                  <a:gd name="T54" fmla="*/ 222 w 174"/>
                  <a:gd name="T55" fmla="*/ 11 h 102"/>
                  <a:gd name="T56" fmla="*/ 222 w 174"/>
                  <a:gd name="T57" fmla="*/ 6 h 102"/>
                  <a:gd name="T58" fmla="*/ 211 w 174"/>
                  <a:gd name="T59" fmla="*/ 5 h 102"/>
                  <a:gd name="T60" fmla="*/ 206 w 174"/>
                  <a:gd name="T61" fmla="*/ 5 h 102"/>
                  <a:gd name="T62" fmla="*/ 191 w 174"/>
                  <a:gd name="T63" fmla="*/ 5 h 102"/>
                  <a:gd name="T64" fmla="*/ 179 w 174"/>
                  <a:gd name="T65" fmla="*/ 0 h 102"/>
                  <a:gd name="T66" fmla="*/ 167 w 174"/>
                  <a:gd name="T67" fmla="*/ 0 h 102"/>
                  <a:gd name="T68" fmla="*/ 150 w 174"/>
                  <a:gd name="T69" fmla="*/ 0 h 102"/>
                  <a:gd name="T70" fmla="*/ 139 w 174"/>
                  <a:gd name="T71" fmla="*/ 0 h 102"/>
                  <a:gd name="T72" fmla="*/ 125 w 174"/>
                  <a:gd name="T73" fmla="*/ 0 h 102"/>
                  <a:gd name="T74" fmla="*/ 102 w 174"/>
                  <a:gd name="T75" fmla="*/ 0 h 102"/>
                  <a:gd name="T76" fmla="*/ 93 w 174"/>
                  <a:gd name="T77" fmla="*/ 0 h 102"/>
                  <a:gd name="T78" fmla="*/ 78 w 174"/>
                  <a:gd name="T79" fmla="*/ 0 h 102"/>
                  <a:gd name="T80" fmla="*/ 62 w 174"/>
                  <a:gd name="T81" fmla="*/ 0 h 102"/>
                  <a:gd name="T82" fmla="*/ 49 w 174"/>
                  <a:gd name="T83" fmla="*/ 3 h 102"/>
                  <a:gd name="T84" fmla="*/ 44 w 174"/>
                  <a:gd name="T85" fmla="*/ 5 h 102"/>
                  <a:gd name="T86" fmla="*/ 44 w 174"/>
                  <a:gd name="T87" fmla="*/ 5 h 1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
                  <a:gd name="T133" fmla="*/ 0 h 102"/>
                  <a:gd name="T134" fmla="*/ 174 w 174"/>
                  <a:gd name="T135" fmla="*/ 102 h 1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 h="102">
                    <a:moveTo>
                      <a:pt x="32" y="6"/>
                    </a:moveTo>
                    <a:lnTo>
                      <a:pt x="23" y="14"/>
                    </a:lnTo>
                    <a:lnTo>
                      <a:pt x="14" y="23"/>
                    </a:lnTo>
                    <a:lnTo>
                      <a:pt x="14" y="31"/>
                    </a:lnTo>
                    <a:lnTo>
                      <a:pt x="9" y="40"/>
                    </a:lnTo>
                    <a:lnTo>
                      <a:pt x="5" y="45"/>
                    </a:lnTo>
                    <a:lnTo>
                      <a:pt x="0" y="54"/>
                    </a:lnTo>
                    <a:lnTo>
                      <a:pt x="0" y="60"/>
                    </a:lnTo>
                    <a:lnTo>
                      <a:pt x="5" y="65"/>
                    </a:lnTo>
                    <a:lnTo>
                      <a:pt x="9" y="77"/>
                    </a:lnTo>
                    <a:lnTo>
                      <a:pt x="14" y="82"/>
                    </a:lnTo>
                    <a:lnTo>
                      <a:pt x="23" y="91"/>
                    </a:lnTo>
                    <a:lnTo>
                      <a:pt x="37" y="97"/>
                    </a:lnTo>
                    <a:lnTo>
                      <a:pt x="50" y="100"/>
                    </a:lnTo>
                    <a:lnTo>
                      <a:pt x="64" y="100"/>
                    </a:lnTo>
                    <a:lnTo>
                      <a:pt x="78" y="100"/>
                    </a:lnTo>
                    <a:lnTo>
                      <a:pt x="96" y="102"/>
                    </a:lnTo>
                    <a:lnTo>
                      <a:pt x="105" y="100"/>
                    </a:lnTo>
                    <a:lnTo>
                      <a:pt x="119" y="100"/>
                    </a:lnTo>
                    <a:lnTo>
                      <a:pt x="133" y="94"/>
                    </a:lnTo>
                    <a:lnTo>
                      <a:pt x="142" y="94"/>
                    </a:lnTo>
                    <a:lnTo>
                      <a:pt x="151" y="82"/>
                    </a:lnTo>
                    <a:lnTo>
                      <a:pt x="160" y="77"/>
                    </a:lnTo>
                    <a:lnTo>
                      <a:pt x="169" y="71"/>
                    </a:lnTo>
                    <a:lnTo>
                      <a:pt x="174" y="63"/>
                    </a:lnTo>
                    <a:lnTo>
                      <a:pt x="174" y="51"/>
                    </a:lnTo>
                    <a:lnTo>
                      <a:pt x="174" y="43"/>
                    </a:lnTo>
                    <a:lnTo>
                      <a:pt x="169" y="31"/>
                    </a:lnTo>
                    <a:lnTo>
                      <a:pt x="169" y="20"/>
                    </a:lnTo>
                    <a:lnTo>
                      <a:pt x="160" y="14"/>
                    </a:lnTo>
                    <a:lnTo>
                      <a:pt x="156" y="8"/>
                    </a:lnTo>
                    <a:lnTo>
                      <a:pt x="146" y="6"/>
                    </a:lnTo>
                    <a:lnTo>
                      <a:pt x="137" y="0"/>
                    </a:lnTo>
                    <a:lnTo>
                      <a:pt x="128" y="0"/>
                    </a:lnTo>
                    <a:lnTo>
                      <a:pt x="114" y="0"/>
                    </a:lnTo>
                    <a:lnTo>
                      <a:pt x="105" y="0"/>
                    </a:lnTo>
                    <a:lnTo>
                      <a:pt x="96" y="0"/>
                    </a:lnTo>
                    <a:lnTo>
                      <a:pt x="78" y="0"/>
                    </a:lnTo>
                    <a:lnTo>
                      <a:pt x="69" y="0"/>
                    </a:lnTo>
                    <a:lnTo>
                      <a:pt x="60" y="0"/>
                    </a:lnTo>
                    <a:lnTo>
                      <a:pt x="50" y="0"/>
                    </a:lnTo>
                    <a:lnTo>
                      <a:pt x="37" y="3"/>
                    </a:lnTo>
                    <a:lnTo>
                      <a:pt x="32" y="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3" name="Freeform 167"/>
              <p:cNvSpPr>
                <a:spLocks/>
              </p:cNvSpPr>
              <p:nvPr>
                <p:custDataLst>
                  <p:tags r:id="rId77"/>
                </p:custDataLst>
              </p:nvPr>
            </p:nvSpPr>
            <p:spPr bwMode="gray">
              <a:xfrm>
                <a:off x="2047" y="2479"/>
                <a:ext cx="164" cy="93"/>
              </a:xfrm>
              <a:custGeom>
                <a:avLst/>
                <a:gdLst>
                  <a:gd name="T0" fmla="*/ 44 w 160"/>
                  <a:gd name="T1" fmla="*/ 3 h 103"/>
                  <a:gd name="T2" fmla="*/ 18 w 160"/>
                  <a:gd name="T3" fmla="*/ 5 h 103"/>
                  <a:gd name="T4" fmla="*/ 14 w 160"/>
                  <a:gd name="T5" fmla="*/ 5 h 103"/>
                  <a:gd name="T6" fmla="*/ 9 w 160"/>
                  <a:gd name="T7" fmla="*/ 9 h 103"/>
                  <a:gd name="T8" fmla="*/ 0 w 160"/>
                  <a:gd name="T9" fmla="*/ 11 h 103"/>
                  <a:gd name="T10" fmla="*/ 0 w 160"/>
                  <a:gd name="T11" fmla="*/ 14 h 103"/>
                  <a:gd name="T12" fmla="*/ 0 w 160"/>
                  <a:gd name="T13" fmla="*/ 15 h 103"/>
                  <a:gd name="T14" fmla="*/ 0 w 160"/>
                  <a:gd name="T15" fmla="*/ 17 h 103"/>
                  <a:gd name="T16" fmla="*/ 0 w 160"/>
                  <a:gd name="T17" fmla="*/ 20 h 103"/>
                  <a:gd name="T18" fmla="*/ 0 w 160"/>
                  <a:gd name="T19" fmla="*/ 21 h 103"/>
                  <a:gd name="T20" fmla="*/ 9 w 160"/>
                  <a:gd name="T21" fmla="*/ 24 h 103"/>
                  <a:gd name="T22" fmla="*/ 18 w 160"/>
                  <a:gd name="T23" fmla="*/ 27 h 103"/>
                  <a:gd name="T24" fmla="*/ 44 w 160"/>
                  <a:gd name="T25" fmla="*/ 28 h 103"/>
                  <a:gd name="T26" fmla="*/ 53 w 160"/>
                  <a:gd name="T27" fmla="*/ 28 h 103"/>
                  <a:gd name="T28" fmla="*/ 73 w 160"/>
                  <a:gd name="T29" fmla="*/ 30 h 103"/>
                  <a:gd name="T30" fmla="*/ 97 w 160"/>
                  <a:gd name="T31" fmla="*/ 30 h 103"/>
                  <a:gd name="T32" fmla="*/ 116 w 160"/>
                  <a:gd name="T33" fmla="*/ 31 h 103"/>
                  <a:gd name="T34" fmla="*/ 137 w 160"/>
                  <a:gd name="T35" fmla="*/ 30 h 103"/>
                  <a:gd name="T36" fmla="*/ 153 w 160"/>
                  <a:gd name="T37" fmla="*/ 28 h 103"/>
                  <a:gd name="T38" fmla="*/ 166 w 160"/>
                  <a:gd name="T39" fmla="*/ 28 h 103"/>
                  <a:gd name="T40" fmla="*/ 178 w 160"/>
                  <a:gd name="T41" fmla="*/ 28 h 103"/>
                  <a:gd name="T42" fmla="*/ 197 w 160"/>
                  <a:gd name="T43" fmla="*/ 24 h 103"/>
                  <a:gd name="T44" fmla="*/ 209 w 160"/>
                  <a:gd name="T45" fmla="*/ 21 h 103"/>
                  <a:gd name="T46" fmla="*/ 209 w 160"/>
                  <a:gd name="T47" fmla="*/ 19 h 103"/>
                  <a:gd name="T48" fmla="*/ 214 w 160"/>
                  <a:gd name="T49" fmla="*/ 16 h 103"/>
                  <a:gd name="T50" fmla="*/ 214 w 160"/>
                  <a:gd name="T51" fmla="*/ 13 h 103"/>
                  <a:gd name="T52" fmla="*/ 209 w 160"/>
                  <a:gd name="T53" fmla="*/ 10 h 103"/>
                  <a:gd name="T54" fmla="*/ 203 w 160"/>
                  <a:gd name="T55" fmla="*/ 7 h 103"/>
                  <a:gd name="T56" fmla="*/ 197 w 160"/>
                  <a:gd name="T57" fmla="*/ 5 h 103"/>
                  <a:gd name="T58" fmla="*/ 178 w 160"/>
                  <a:gd name="T59" fmla="*/ 5 h 103"/>
                  <a:gd name="T60" fmla="*/ 160 w 160"/>
                  <a:gd name="T61" fmla="*/ 5 h 103"/>
                  <a:gd name="T62" fmla="*/ 129 w 160"/>
                  <a:gd name="T63" fmla="*/ 3 h 103"/>
                  <a:gd name="T64" fmla="*/ 102 w 160"/>
                  <a:gd name="T65" fmla="*/ 3 h 103"/>
                  <a:gd name="T66" fmla="*/ 73 w 160"/>
                  <a:gd name="T67" fmla="*/ 0 h 103"/>
                  <a:gd name="T68" fmla="*/ 53 w 160"/>
                  <a:gd name="T69" fmla="*/ 0 h 103"/>
                  <a:gd name="T70" fmla="*/ 44 w 160"/>
                  <a:gd name="T71" fmla="*/ 0 h 103"/>
                  <a:gd name="T72" fmla="*/ 44 w 160"/>
                  <a:gd name="T73" fmla="*/ 3 h 103"/>
                  <a:gd name="T74" fmla="*/ 44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32" y="3"/>
                    </a:moveTo>
                    <a:lnTo>
                      <a:pt x="18" y="9"/>
                    </a:lnTo>
                    <a:lnTo>
                      <a:pt x="14" y="20"/>
                    </a:lnTo>
                    <a:lnTo>
                      <a:pt x="9" y="29"/>
                    </a:lnTo>
                    <a:lnTo>
                      <a:pt x="0" y="37"/>
                    </a:lnTo>
                    <a:lnTo>
                      <a:pt x="0" y="46"/>
                    </a:lnTo>
                    <a:lnTo>
                      <a:pt x="0" y="52"/>
                    </a:lnTo>
                    <a:lnTo>
                      <a:pt x="0" y="57"/>
                    </a:lnTo>
                    <a:lnTo>
                      <a:pt x="0" y="66"/>
                    </a:lnTo>
                    <a:lnTo>
                      <a:pt x="0" y="71"/>
                    </a:lnTo>
                    <a:lnTo>
                      <a:pt x="9" y="83"/>
                    </a:lnTo>
                    <a:lnTo>
                      <a:pt x="18" y="91"/>
                    </a:lnTo>
                    <a:lnTo>
                      <a:pt x="32" y="94"/>
                    </a:lnTo>
                    <a:lnTo>
                      <a:pt x="41" y="97"/>
                    </a:lnTo>
                    <a:lnTo>
                      <a:pt x="55" y="100"/>
                    </a:lnTo>
                    <a:lnTo>
                      <a:pt x="73" y="100"/>
                    </a:lnTo>
                    <a:lnTo>
                      <a:pt x="87" y="103"/>
                    </a:lnTo>
                    <a:lnTo>
                      <a:pt x="101" y="100"/>
                    </a:lnTo>
                    <a:lnTo>
                      <a:pt x="114" y="97"/>
                    </a:lnTo>
                    <a:lnTo>
                      <a:pt x="124" y="94"/>
                    </a:lnTo>
                    <a:lnTo>
                      <a:pt x="133" y="94"/>
                    </a:lnTo>
                    <a:lnTo>
                      <a:pt x="146" y="83"/>
                    </a:lnTo>
                    <a:lnTo>
                      <a:pt x="156" y="71"/>
                    </a:lnTo>
                    <a:lnTo>
                      <a:pt x="156" y="63"/>
                    </a:lnTo>
                    <a:lnTo>
                      <a:pt x="160" y="54"/>
                    </a:lnTo>
                    <a:lnTo>
                      <a:pt x="160" y="43"/>
                    </a:lnTo>
                    <a:lnTo>
                      <a:pt x="156" y="32"/>
                    </a:lnTo>
                    <a:lnTo>
                      <a:pt x="151" y="23"/>
                    </a:lnTo>
                    <a:lnTo>
                      <a:pt x="146" y="17"/>
                    </a:lnTo>
                    <a:lnTo>
                      <a:pt x="133" y="9"/>
                    </a:lnTo>
                    <a:lnTo>
                      <a:pt x="119" y="6"/>
                    </a:lnTo>
                    <a:lnTo>
                      <a:pt x="96" y="3"/>
                    </a:lnTo>
                    <a:lnTo>
                      <a:pt x="78" y="3"/>
                    </a:lnTo>
                    <a:lnTo>
                      <a:pt x="55" y="0"/>
                    </a:lnTo>
                    <a:lnTo>
                      <a:pt x="41" y="0"/>
                    </a:lnTo>
                    <a:lnTo>
                      <a:pt x="32"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4" name="Freeform 168"/>
              <p:cNvSpPr>
                <a:spLocks/>
              </p:cNvSpPr>
              <p:nvPr>
                <p:custDataLst>
                  <p:tags r:id="rId78"/>
                </p:custDataLst>
              </p:nvPr>
            </p:nvSpPr>
            <p:spPr bwMode="gray">
              <a:xfrm>
                <a:off x="3963" y="2482"/>
                <a:ext cx="169" cy="90"/>
              </a:xfrm>
              <a:custGeom>
                <a:avLst/>
                <a:gdLst>
                  <a:gd name="T0" fmla="*/ 44 w 165"/>
                  <a:gd name="T1" fmla="*/ 3 h 100"/>
                  <a:gd name="T2" fmla="*/ 35 w 165"/>
                  <a:gd name="T3" fmla="*/ 5 h 100"/>
                  <a:gd name="T4" fmla="*/ 14 w 165"/>
                  <a:gd name="T5" fmla="*/ 5 h 100"/>
                  <a:gd name="T6" fmla="*/ 5 w 165"/>
                  <a:gd name="T7" fmla="*/ 8 h 100"/>
                  <a:gd name="T8" fmla="*/ 5 w 165"/>
                  <a:gd name="T9" fmla="*/ 11 h 100"/>
                  <a:gd name="T10" fmla="*/ 5 w 165"/>
                  <a:gd name="T11" fmla="*/ 13 h 100"/>
                  <a:gd name="T12" fmla="*/ 0 w 165"/>
                  <a:gd name="T13" fmla="*/ 14 h 100"/>
                  <a:gd name="T14" fmla="*/ 0 w 165"/>
                  <a:gd name="T15" fmla="*/ 16 h 100"/>
                  <a:gd name="T16" fmla="*/ 5 w 165"/>
                  <a:gd name="T17" fmla="*/ 19 h 100"/>
                  <a:gd name="T18" fmla="*/ 5 w 165"/>
                  <a:gd name="T19" fmla="*/ 21 h 100"/>
                  <a:gd name="T20" fmla="*/ 14 w 165"/>
                  <a:gd name="T21" fmla="*/ 23 h 100"/>
                  <a:gd name="T22" fmla="*/ 35 w 165"/>
                  <a:gd name="T23" fmla="*/ 26 h 100"/>
                  <a:gd name="T24" fmla="*/ 49 w 165"/>
                  <a:gd name="T25" fmla="*/ 27 h 100"/>
                  <a:gd name="T26" fmla="*/ 58 w 165"/>
                  <a:gd name="T27" fmla="*/ 29 h 100"/>
                  <a:gd name="T28" fmla="*/ 82 w 165"/>
                  <a:gd name="T29" fmla="*/ 29 h 100"/>
                  <a:gd name="T30" fmla="*/ 102 w 165"/>
                  <a:gd name="T31" fmla="*/ 29 h 100"/>
                  <a:gd name="T32" fmla="*/ 122 w 165"/>
                  <a:gd name="T33" fmla="*/ 29 h 100"/>
                  <a:gd name="T34" fmla="*/ 135 w 165"/>
                  <a:gd name="T35" fmla="*/ 29 h 100"/>
                  <a:gd name="T36" fmla="*/ 153 w 165"/>
                  <a:gd name="T37" fmla="*/ 29 h 100"/>
                  <a:gd name="T38" fmla="*/ 170 w 165"/>
                  <a:gd name="T39" fmla="*/ 27 h 100"/>
                  <a:gd name="T40" fmla="*/ 182 w 165"/>
                  <a:gd name="T41" fmla="*/ 26 h 100"/>
                  <a:gd name="T42" fmla="*/ 197 w 165"/>
                  <a:gd name="T43" fmla="*/ 23 h 100"/>
                  <a:gd name="T44" fmla="*/ 208 w 165"/>
                  <a:gd name="T45" fmla="*/ 21 h 100"/>
                  <a:gd name="T46" fmla="*/ 213 w 165"/>
                  <a:gd name="T47" fmla="*/ 18 h 100"/>
                  <a:gd name="T48" fmla="*/ 219 w 165"/>
                  <a:gd name="T49" fmla="*/ 15 h 100"/>
                  <a:gd name="T50" fmla="*/ 219 w 165"/>
                  <a:gd name="T51" fmla="*/ 13 h 100"/>
                  <a:gd name="T52" fmla="*/ 213 w 165"/>
                  <a:gd name="T53" fmla="*/ 11 h 100"/>
                  <a:gd name="T54" fmla="*/ 202 w 165"/>
                  <a:gd name="T55" fmla="*/ 7 h 100"/>
                  <a:gd name="T56" fmla="*/ 197 w 165"/>
                  <a:gd name="T57" fmla="*/ 5 h 100"/>
                  <a:gd name="T58" fmla="*/ 177 w 165"/>
                  <a:gd name="T59" fmla="*/ 5 h 100"/>
                  <a:gd name="T60" fmla="*/ 158 w 165"/>
                  <a:gd name="T61" fmla="*/ 5 h 100"/>
                  <a:gd name="T62" fmla="*/ 146 w 165"/>
                  <a:gd name="T63" fmla="*/ 3 h 100"/>
                  <a:gd name="T64" fmla="*/ 128 w 165"/>
                  <a:gd name="T65" fmla="*/ 3 h 100"/>
                  <a:gd name="T66" fmla="*/ 122 w 165"/>
                  <a:gd name="T67" fmla="*/ 3 h 100"/>
                  <a:gd name="T68" fmla="*/ 102 w 165"/>
                  <a:gd name="T69" fmla="*/ 3 h 100"/>
                  <a:gd name="T70" fmla="*/ 82 w 165"/>
                  <a:gd name="T71" fmla="*/ 0 h 100"/>
                  <a:gd name="T72" fmla="*/ 53 w 165"/>
                  <a:gd name="T73" fmla="*/ 3 h 100"/>
                  <a:gd name="T74" fmla="*/ 49 w 165"/>
                  <a:gd name="T75" fmla="*/ 3 h 100"/>
                  <a:gd name="T76" fmla="*/ 44 w 165"/>
                  <a:gd name="T77" fmla="*/ 3 h 100"/>
                  <a:gd name="T78" fmla="*/ 44 w 165"/>
                  <a:gd name="T79" fmla="*/ 3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100"/>
                  <a:gd name="T122" fmla="*/ 165 w 165"/>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100">
                    <a:moveTo>
                      <a:pt x="32" y="3"/>
                    </a:moveTo>
                    <a:lnTo>
                      <a:pt x="23" y="12"/>
                    </a:lnTo>
                    <a:lnTo>
                      <a:pt x="14" y="20"/>
                    </a:lnTo>
                    <a:lnTo>
                      <a:pt x="5" y="29"/>
                    </a:lnTo>
                    <a:lnTo>
                      <a:pt x="5" y="37"/>
                    </a:lnTo>
                    <a:lnTo>
                      <a:pt x="5" y="46"/>
                    </a:lnTo>
                    <a:lnTo>
                      <a:pt x="0" y="51"/>
                    </a:lnTo>
                    <a:lnTo>
                      <a:pt x="0" y="57"/>
                    </a:lnTo>
                    <a:lnTo>
                      <a:pt x="5" y="66"/>
                    </a:lnTo>
                    <a:lnTo>
                      <a:pt x="5" y="74"/>
                    </a:lnTo>
                    <a:lnTo>
                      <a:pt x="14" y="83"/>
                    </a:lnTo>
                    <a:lnTo>
                      <a:pt x="23" y="91"/>
                    </a:lnTo>
                    <a:lnTo>
                      <a:pt x="37" y="94"/>
                    </a:lnTo>
                    <a:lnTo>
                      <a:pt x="46" y="100"/>
                    </a:lnTo>
                    <a:lnTo>
                      <a:pt x="60" y="100"/>
                    </a:lnTo>
                    <a:lnTo>
                      <a:pt x="78" y="100"/>
                    </a:lnTo>
                    <a:lnTo>
                      <a:pt x="92" y="100"/>
                    </a:lnTo>
                    <a:lnTo>
                      <a:pt x="101" y="100"/>
                    </a:lnTo>
                    <a:lnTo>
                      <a:pt x="115" y="100"/>
                    </a:lnTo>
                    <a:lnTo>
                      <a:pt x="128" y="94"/>
                    </a:lnTo>
                    <a:lnTo>
                      <a:pt x="137" y="91"/>
                    </a:lnTo>
                    <a:lnTo>
                      <a:pt x="147" y="83"/>
                    </a:lnTo>
                    <a:lnTo>
                      <a:pt x="156" y="74"/>
                    </a:lnTo>
                    <a:lnTo>
                      <a:pt x="160" y="63"/>
                    </a:lnTo>
                    <a:lnTo>
                      <a:pt x="165" y="54"/>
                    </a:lnTo>
                    <a:lnTo>
                      <a:pt x="165" y="43"/>
                    </a:lnTo>
                    <a:lnTo>
                      <a:pt x="160" y="34"/>
                    </a:lnTo>
                    <a:lnTo>
                      <a:pt x="151" y="26"/>
                    </a:lnTo>
                    <a:lnTo>
                      <a:pt x="147" y="17"/>
                    </a:lnTo>
                    <a:lnTo>
                      <a:pt x="133" y="9"/>
                    </a:lnTo>
                    <a:lnTo>
                      <a:pt x="119" y="6"/>
                    </a:lnTo>
                    <a:lnTo>
                      <a:pt x="110" y="3"/>
                    </a:lnTo>
                    <a:lnTo>
                      <a:pt x="96" y="3"/>
                    </a:lnTo>
                    <a:lnTo>
                      <a:pt x="92" y="3"/>
                    </a:lnTo>
                    <a:lnTo>
                      <a:pt x="78" y="3"/>
                    </a:lnTo>
                    <a:lnTo>
                      <a:pt x="60" y="0"/>
                    </a:lnTo>
                    <a:lnTo>
                      <a:pt x="41" y="3"/>
                    </a:lnTo>
                    <a:lnTo>
                      <a:pt x="37" y="3"/>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5" name="Freeform 169"/>
              <p:cNvSpPr>
                <a:spLocks/>
              </p:cNvSpPr>
              <p:nvPr>
                <p:custDataLst>
                  <p:tags r:id="rId79"/>
                </p:custDataLst>
              </p:nvPr>
            </p:nvSpPr>
            <p:spPr bwMode="gray">
              <a:xfrm>
                <a:off x="4212" y="2453"/>
                <a:ext cx="168" cy="91"/>
              </a:xfrm>
              <a:custGeom>
                <a:avLst/>
                <a:gdLst>
                  <a:gd name="T0" fmla="*/ 48 w 164"/>
                  <a:gd name="T1" fmla="*/ 3 h 99"/>
                  <a:gd name="T2" fmla="*/ 34 w 164"/>
                  <a:gd name="T3" fmla="*/ 6 h 99"/>
                  <a:gd name="T4" fmla="*/ 18 w 164"/>
                  <a:gd name="T5" fmla="*/ 6 h 99"/>
                  <a:gd name="T6" fmla="*/ 9 w 164"/>
                  <a:gd name="T7" fmla="*/ 11 h 99"/>
                  <a:gd name="T8" fmla="*/ 9 w 164"/>
                  <a:gd name="T9" fmla="*/ 14 h 99"/>
                  <a:gd name="T10" fmla="*/ 4 w 164"/>
                  <a:gd name="T11" fmla="*/ 16 h 99"/>
                  <a:gd name="T12" fmla="*/ 0 w 164"/>
                  <a:gd name="T13" fmla="*/ 18 h 99"/>
                  <a:gd name="T14" fmla="*/ 0 w 164"/>
                  <a:gd name="T15" fmla="*/ 20 h 99"/>
                  <a:gd name="T16" fmla="*/ 4 w 164"/>
                  <a:gd name="T17" fmla="*/ 22 h 99"/>
                  <a:gd name="T18" fmla="*/ 9 w 164"/>
                  <a:gd name="T19" fmla="*/ 27 h 99"/>
                  <a:gd name="T20" fmla="*/ 18 w 164"/>
                  <a:gd name="T21" fmla="*/ 29 h 99"/>
                  <a:gd name="T22" fmla="*/ 34 w 164"/>
                  <a:gd name="T23" fmla="*/ 32 h 99"/>
                  <a:gd name="T24" fmla="*/ 48 w 164"/>
                  <a:gd name="T25" fmla="*/ 34 h 99"/>
                  <a:gd name="T26" fmla="*/ 62 w 164"/>
                  <a:gd name="T27" fmla="*/ 35 h 99"/>
                  <a:gd name="T28" fmla="*/ 88 w 164"/>
                  <a:gd name="T29" fmla="*/ 35 h 99"/>
                  <a:gd name="T30" fmla="*/ 101 w 164"/>
                  <a:gd name="T31" fmla="*/ 35 h 99"/>
                  <a:gd name="T32" fmla="*/ 121 w 164"/>
                  <a:gd name="T33" fmla="*/ 37 h 99"/>
                  <a:gd name="T34" fmla="*/ 141 w 164"/>
                  <a:gd name="T35" fmla="*/ 35 h 99"/>
                  <a:gd name="T36" fmla="*/ 164 w 164"/>
                  <a:gd name="T37" fmla="*/ 35 h 99"/>
                  <a:gd name="T38" fmla="*/ 170 w 164"/>
                  <a:gd name="T39" fmla="*/ 34 h 99"/>
                  <a:gd name="T40" fmla="*/ 188 w 164"/>
                  <a:gd name="T41" fmla="*/ 32 h 99"/>
                  <a:gd name="T42" fmla="*/ 201 w 164"/>
                  <a:gd name="T43" fmla="*/ 29 h 99"/>
                  <a:gd name="T44" fmla="*/ 212 w 164"/>
                  <a:gd name="T45" fmla="*/ 26 h 99"/>
                  <a:gd name="T46" fmla="*/ 218 w 164"/>
                  <a:gd name="T47" fmla="*/ 22 h 99"/>
                  <a:gd name="T48" fmla="*/ 218 w 164"/>
                  <a:gd name="T49" fmla="*/ 18 h 99"/>
                  <a:gd name="T50" fmla="*/ 218 w 164"/>
                  <a:gd name="T51" fmla="*/ 15 h 99"/>
                  <a:gd name="T52" fmla="*/ 212 w 164"/>
                  <a:gd name="T53" fmla="*/ 12 h 99"/>
                  <a:gd name="T54" fmla="*/ 207 w 164"/>
                  <a:gd name="T55" fmla="*/ 8 h 99"/>
                  <a:gd name="T56" fmla="*/ 201 w 164"/>
                  <a:gd name="T57" fmla="*/ 6 h 99"/>
                  <a:gd name="T58" fmla="*/ 182 w 164"/>
                  <a:gd name="T59" fmla="*/ 5 h 99"/>
                  <a:gd name="T60" fmla="*/ 164 w 164"/>
                  <a:gd name="T61" fmla="*/ 3 h 99"/>
                  <a:gd name="T62" fmla="*/ 145 w 164"/>
                  <a:gd name="T63" fmla="*/ 3 h 99"/>
                  <a:gd name="T64" fmla="*/ 134 w 164"/>
                  <a:gd name="T65" fmla="*/ 0 h 99"/>
                  <a:gd name="T66" fmla="*/ 121 w 164"/>
                  <a:gd name="T67" fmla="*/ 0 h 99"/>
                  <a:gd name="T68" fmla="*/ 107 w 164"/>
                  <a:gd name="T69" fmla="*/ 0 h 99"/>
                  <a:gd name="T70" fmla="*/ 88 w 164"/>
                  <a:gd name="T71" fmla="*/ 0 h 99"/>
                  <a:gd name="T72" fmla="*/ 57 w 164"/>
                  <a:gd name="T73" fmla="*/ 0 h 99"/>
                  <a:gd name="T74" fmla="*/ 48 w 164"/>
                  <a:gd name="T75" fmla="*/ 0 h 99"/>
                  <a:gd name="T76" fmla="*/ 48 w 164"/>
                  <a:gd name="T77" fmla="*/ 3 h 99"/>
                  <a:gd name="T78" fmla="*/ 48 w 164"/>
                  <a:gd name="T79" fmla="*/ 3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99"/>
                  <a:gd name="T122" fmla="*/ 164 w 164"/>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99">
                    <a:moveTo>
                      <a:pt x="36" y="3"/>
                    </a:moveTo>
                    <a:lnTo>
                      <a:pt x="22" y="11"/>
                    </a:lnTo>
                    <a:lnTo>
                      <a:pt x="18" y="17"/>
                    </a:lnTo>
                    <a:lnTo>
                      <a:pt x="9" y="28"/>
                    </a:lnTo>
                    <a:lnTo>
                      <a:pt x="9" y="37"/>
                    </a:lnTo>
                    <a:lnTo>
                      <a:pt x="4" y="45"/>
                    </a:lnTo>
                    <a:lnTo>
                      <a:pt x="0" y="51"/>
                    </a:lnTo>
                    <a:lnTo>
                      <a:pt x="0" y="57"/>
                    </a:lnTo>
                    <a:lnTo>
                      <a:pt x="4" y="62"/>
                    </a:lnTo>
                    <a:lnTo>
                      <a:pt x="9" y="74"/>
                    </a:lnTo>
                    <a:lnTo>
                      <a:pt x="18" y="80"/>
                    </a:lnTo>
                    <a:lnTo>
                      <a:pt x="22" y="88"/>
                    </a:lnTo>
                    <a:lnTo>
                      <a:pt x="36" y="94"/>
                    </a:lnTo>
                    <a:lnTo>
                      <a:pt x="50" y="97"/>
                    </a:lnTo>
                    <a:lnTo>
                      <a:pt x="64" y="97"/>
                    </a:lnTo>
                    <a:lnTo>
                      <a:pt x="77" y="97"/>
                    </a:lnTo>
                    <a:lnTo>
                      <a:pt x="91" y="99"/>
                    </a:lnTo>
                    <a:lnTo>
                      <a:pt x="105" y="97"/>
                    </a:lnTo>
                    <a:lnTo>
                      <a:pt x="123" y="97"/>
                    </a:lnTo>
                    <a:lnTo>
                      <a:pt x="128" y="94"/>
                    </a:lnTo>
                    <a:lnTo>
                      <a:pt x="141" y="88"/>
                    </a:lnTo>
                    <a:lnTo>
                      <a:pt x="150" y="80"/>
                    </a:lnTo>
                    <a:lnTo>
                      <a:pt x="159" y="71"/>
                    </a:lnTo>
                    <a:lnTo>
                      <a:pt x="164" y="60"/>
                    </a:lnTo>
                    <a:lnTo>
                      <a:pt x="164" y="51"/>
                    </a:lnTo>
                    <a:lnTo>
                      <a:pt x="164" y="40"/>
                    </a:lnTo>
                    <a:lnTo>
                      <a:pt x="159" y="31"/>
                    </a:lnTo>
                    <a:lnTo>
                      <a:pt x="155" y="23"/>
                    </a:lnTo>
                    <a:lnTo>
                      <a:pt x="150" y="17"/>
                    </a:lnTo>
                    <a:lnTo>
                      <a:pt x="137" y="5"/>
                    </a:lnTo>
                    <a:lnTo>
                      <a:pt x="123" y="3"/>
                    </a:lnTo>
                    <a:lnTo>
                      <a:pt x="109" y="3"/>
                    </a:lnTo>
                    <a:lnTo>
                      <a:pt x="100" y="0"/>
                    </a:lnTo>
                    <a:lnTo>
                      <a:pt x="91" y="0"/>
                    </a:lnTo>
                    <a:lnTo>
                      <a:pt x="82" y="0"/>
                    </a:lnTo>
                    <a:lnTo>
                      <a:pt x="64" y="0"/>
                    </a:lnTo>
                    <a:lnTo>
                      <a:pt x="45" y="0"/>
                    </a:lnTo>
                    <a:lnTo>
                      <a:pt x="36" y="0"/>
                    </a:lnTo>
                    <a:lnTo>
                      <a:pt x="36"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6" name="Freeform 170"/>
              <p:cNvSpPr>
                <a:spLocks/>
              </p:cNvSpPr>
              <p:nvPr>
                <p:custDataLst>
                  <p:tags r:id="rId80"/>
                </p:custDataLst>
              </p:nvPr>
            </p:nvSpPr>
            <p:spPr bwMode="gray">
              <a:xfrm>
                <a:off x="3668" y="2508"/>
                <a:ext cx="169" cy="87"/>
              </a:xfrm>
              <a:custGeom>
                <a:avLst/>
                <a:gdLst>
                  <a:gd name="T0" fmla="*/ 44 w 165"/>
                  <a:gd name="T1" fmla="*/ 0 h 96"/>
                  <a:gd name="T2" fmla="*/ 19 w 165"/>
                  <a:gd name="T3" fmla="*/ 5 h 96"/>
                  <a:gd name="T4" fmla="*/ 19 w 165"/>
                  <a:gd name="T5" fmla="*/ 6 h 96"/>
                  <a:gd name="T6" fmla="*/ 10 w 165"/>
                  <a:gd name="T7" fmla="*/ 9 h 96"/>
                  <a:gd name="T8" fmla="*/ 5 w 165"/>
                  <a:gd name="T9" fmla="*/ 12 h 96"/>
                  <a:gd name="T10" fmla="*/ 0 w 165"/>
                  <a:gd name="T11" fmla="*/ 13 h 96"/>
                  <a:gd name="T12" fmla="*/ 0 w 165"/>
                  <a:gd name="T13" fmla="*/ 15 h 96"/>
                  <a:gd name="T14" fmla="*/ 0 w 165"/>
                  <a:gd name="T15" fmla="*/ 18 h 96"/>
                  <a:gd name="T16" fmla="*/ 0 w 165"/>
                  <a:gd name="T17" fmla="*/ 19 h 96"/>
                  <a:gd name="T18" fmla="*/ 5 w 165"/>
                  <a:gd name="T19" fmla="*/ 22 h 96"/>
                  <a:gd name="T20" fmla="*/ 10 w 165"/>
                  <a:gd name="T21" fmla="*/ 25 h 96"/>
                  <a:gd name="T22" fmla="*/ 19 w 165"/>
                  <a:gd name="T23" fmla="*/ 26 h 96"/>
                  <a:gd name="T24" fmla="*/ 44 w 165"/>
                  <a:gd name="T25" fmla="*/ 29 h 96"/>
                  <a:gd name="T26" fmla="*/ 58 w 165"/>
                  <a:gd name="T27" fmla="*/ 29 h 96"/>
                  <a:gd name="T28" fmla="*/ 82 w 165"/>
                  <a:gd name="T29" fmla="*/ 30 h 96"/>
                  <a:gd name="T30" fmla="*/ 98 w 165"/>
                  <a:gd name="T31" fmla="*/ 30 h 96"/>
                  <a:gd name="T32" fmla="*/ 122 w 165"/>
                  <a:gd name="T33" fmla="*/ 30 h 96"/>
                  <a:gd name="T34" fmla="*/ 142 w 165"/>
                  <a:gd name="T35" fmla="*/ 30 h 96"/>
                  <a:gd name="T36" fmla="*/ 153 w 165"/>
                  <a:gd name="T37" fmla="*/ 29 h 96"/>
                  <a:gd name="T38" fmla="*/ 170 w 165"/>
                  <a:gd name="T39" fmla="*/ 28 h 96"/>
                  <a:gd name="T40" fmla="*/ 183 w 165"/>
                  <a:gd name="T41" fmla="*/ 27 h 96"/>
                  <a:gd name="T42" fmla="*/ 197 w 165"/>
                  <a:gd name="T43" fmla="*/ 24 h 96"/>
                  <a:gd name="T44" fmla="*/ 208 w 165"/>
                  <a:gd name="T45" fmla="*/ 22 h 96"/>
                  <a:gd name="T46" fmla="*/ 213 w 165"/>
                  <a:gd name="T47" fmla="*/ 19 h 96"/>
                  <a:gd name="T48" fmla="*/ 219 w 165"/>
                  <a:gd name="T49" fmla="*/ 15 h 96"/>
                  <a:gd name="T50" fmla="*/ 213 w 165"/>
                  <a:gd name="T51" fmla="*/ 13 h 96"/>
                  <a:gd name="T52" fmla="*/ 208 w 165"/>
                  <a:gd name="T53" fmla="*/ 9 h 96"/>
                  <a:gd name="T54" fmla="*/ 202 w 165"/>
                  <a:gd name="T55" fmla="*/ 6 h 96"/>
                  <a:gd name="T56" fmla="*/ 202 w 165"/>
                  <a:gd name="T57" fmla="*/ 5 h 96"/>
                  <a:gd name="T58" fmla="*/ 177 w 165"/>
                  <a:gd name="T59" fmla="*/ 5 h 96"/>
                  <a:gd name="T60" fmla="*/ 158 w 165"/>
                  <a:gd name="T61" fmla="*/ 2 h 96"/>
                  <a:gd name="T62" fmla="*/ 146 w 165"/>
                  <a:gd name="T63" fmla="*/ 0 h 96"/>
                  <a:gd name="T64" fmla="*/ 128 w 165"/>
                  <a:gd name="T65" fmla="*/ 0 h 96"/>
                  <a:gd name="T66" fmla="*/ 122 w 165"/>
                  <a:gd name="T67" fmla="*/ 0 h 96"/>
                  <a:gd name="T68" fmla="*/ 108 w 165"/>
                  <a:gd name="T69" fmla="*/ 0 h 96"/>
                  <a:gd name="T70" fmla="*/ 82 w 165"/>
                  <a:gd name="T71" fmla="*/ 0 h 96"/>
                  <a:gd name="T72" fmla="*/ 58 w 165"/>
                  <a:gd name="T73" fmla="*/ 0 h 96"/>
                  <a:gd name="T74" fmla="*/ 49 w 165"/>
                  <a:gd name="T75" fmla="*/ 0 h 96"/>
                  <a:gd name="T76" fmla="*/ 44 w 165"/>
                  <a:gd name="T77" fmla="*/ 0 h 96"/>
                  <a:gd name="T78" fmla="*/ 44 w 165"/>
                  <a:gd name="T79" fmla="*/ 0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96"/>
                  <a:gd name="T122" fmla="*/ 165 w 165"/>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96">
                    <a:moveTo>
                      <a:pt x="32" y="0"/>
                    </a:moveTo>
                    <a:lnTo>
                      <a:pt x="19" y="8"/>
                    </a:lnTo>
                    <a:lnTo>
                      <a:pt x="19" y="20"/>
                    </a:lnTo>
                    <a:lnTo>
                      <a:pt x="10" y="28"/>
                    </a:lnTo>
                    <a:lnTo>
                      <a:pt x="5" y="37"/>
                    </a:lnTo>
                    <a:lnTo>
                      <a:pt x="0" y="39"/>
                    </a:lnTo>
                    <a:lnTo>
                      <a:pt x="0" y="48"/>
                    </a:lnTo>
                    <a:lnTo>
                      <a:pt x="0" y="57"/>
                    </a:lnTo>
                    <a:lnTo>
                      <a:pt x="0" y="62"/>
                    </a:lnTo>
                    <a:lnTo>
                      <a:pt x="5" y="71"/>
                    </a:lnTo>
                    <a:lnTo>
                      <a:pt x="10" y="82"/>
                    </a:lnTo>
                    <a:lnTo>
                      <a:pt x="19" y="85"/>
                    </a:lnTo>
                    <a:lnTo>
                      <a:pt x="32" y="94"/>
                    </a:lnTo>
                    <a:lnTo>
                      <a:pt x="46" y="94"/>
                    </a:lnTo>
                    <a:lnTo>
                      <a:pt x="60" y="96"/>
                    </a:lnTo>
                    <a:lnTo>
                      <a:pt x="74" y="96"/>
                    </a:lnTo>
                    <a:lnTo>
                      <a:pt x="92" y="96"/>
                    </a:lnTo>
                    <a:lnTo>
                      <a:pt x="106" y="96"/>
                    </a:lnTo>
                    <a:lnTo>
                      <a:pt x="115" y="94"/>
                    </a:lnTo>
                    <a:lnTo>
                      <a:pt x="128" y="91"/>
                    </a:lnTo>
                    <a:lnTo>
                      <a:pt x="138" y="88"/>
                    </a:lnTo>
                    <a:lnTo>
                      <a:pt x="147" y="79"/>
                    </a:lnTo>
                    <a:lnTo>
                      <a:pt x="156" y="71"/>
                    </a:lnTo>
                    <a:lnTo>
                      <a:pt x="160" y="62"/>
                    </a:lnTo>
                    <a:lnTo>
                      <a:pt x="165" y="51"/>
                    </a:lnTo>
                    <a:lnTo>
                      <a:pt x="160" y="39"/>
                    </a:lnTo>
                    <a:lnTo>
                      <a:pt x="156" y="28"/>
                    </a:lnTo>
                    <a:lnTo>
                      <a:pt x="151" y="20"/>
                    </a:lnTo>
                    <a:lnTo>
                      <a:pt x="151" y="14"/>
                    </a:lnTo>
                    <a:lnTo>
                      <a:pt x="133" y="5"/>
                    </a:lnTo>
                    <a:lnTo>
                      <a:pt x="119" y="2"/>
                    </a:lnTo>
                    <a:lnTo>
                      <a:pt x="110" y="0"/>
                    </a:lnTo>
                    <a:lnTo>
                      <a:pt x="96" y="0"/>
                    </a:lnTo>
                    <a:lnTo>
                      <a:pt x="92" y="0"/>
                    </a:lnTo>
                    <a:lnTo>
                      <a:pt x="83" y="0"/>
                    </a:lnTo>
                    <a:lnTo>
                      <a:pt x="60" y="0"/>
                    </a:lnTo>
                    <a:lnTo>
                      <a:pt x="46" y="0"/>
                    </a:lnTo>
                    <a:lnTo>
                      <a:pt x="37" y="0"/>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7" name="Freeform 171"/>
              <p:cNvSpPr>
                <a:spLocks/>
              </p:cNvSpPr>
              <p:nvPr>
                <p:custDataLst>
                  <p:tags r:id="rId81"/>
                </p:custDataLst>
              </p:nvPr>
            </p:nvSpPr>
            <p:spPr bwMode="gray">
              <a:xfrm>
                <a:off x="2717" y="2050"/>
                <a:ext cx="197" cy="621"/>
              </a:xfrm>
              <a:custGeom>
                <a:avLst/>
                <a:gdLst>
                  <a:gd name="T0" fmla="*/ 92 w 192"/>
                  <a:gd name="T1" fmla="*/ 34 h 681"/>
                  <a:gd name="T2" fmla="*/ 66 w 192"/>
                  <a:gd name="T3" fmla="*/ 52 h 681"/>
                  <a:gd name="T4" fmla="*/ 48 w 192"/>
                  <a:gd name="T5" fmla="*/ 69 h 681"/>
                  <a:gd name="T6" fmla="*/ 35 w 192"/>
                  <a:gd name="T7" fmla="*/ 87 h 681"/>
                  <a:gd name="T8" fmla="*/ 13 w 192"/>
                  <a:gd name="T9" fmla="*/ 104 h 681"/>
                  <a:gd name="T10" fmla="*/ 9 w 192"/>
                  <a:gd name="T11" fmla="*/ 119 h 681"/>
                  <a:gd name="T12" fmla="*/ 4 w 192"/>
                  <a:gd name="T13" fmla="*/ 133 h 681"/>
                  <a:gd name="T14" fmla="*/ 0 w 192"/>
                  <a:gd name="T15" fmla="*/ 146 h 681"/>
                  <a:gd name="T16" fmla="*/ 0 w 192"/>
                  <a:gd name="T17" fmla="*/ 160 h 681"/>
                  <a:gd name="T18" fmla="*/ 0 w 192"/>
                  <a:gd name="T19" fmla="*/ 174 h 681"/>
                  <a:gd name="T20" fmla="*/ 0 w 192"/>
                  <a:gd name="T21" fmla="*/ 185 h 681"/>
                  <a:gd name="T22" fmla="*/ 0 w 192"/>
                  <a:gd name="T23" fmla="*/ 195 h 681"/>
                  <a:gd name="T24" fmla="*/ 0 w 192"/>
                  <a:gd name="T25" fmla="*/ 203 h 681"/>
                  <a:gd name="T26" fmla="*/ 0 w 192"/>
                  <a:gd name="T27" fmla="*/ 211 h 681"/>
                  <a:gd name="T28" fmla="*/ 4 w 192"/>
                  <a:gd name="T29" fmla="*/ 216 h 681"/>
                  <a:gd name="T30" fmla="*/ 13 w 192"/>
                  <a:gd name="T31" fmla="*/ 225 h 681"/>
                  <a:gd name="T32" fmla="*/ 18 w 192"/>
                  <a:gd name="T33" fmla="*/ 220 h 681"/>
                  <a:gd name="T34" fmla="*/ 35 w 192"/>
                  <a:gd name="T35" fmla="*/ 212 h 681"/>
                  <a:gd name="T36" fmla="*/ 35 w 192"/>
                  <a:gd name="T37" fmla="*/ 203 h 681"/>
                  <a:gd name="T38" fmla="*/ 35 w 192"/>
                  <a:gd name="T39" fmla="*/ 195 h 681"/>
                  <a:gd name="T40" fmla="*/ 39 w 192"/>
                  <a:gd name="T41" fmla="*/ 186 h 681"/>
                  <a:gd name="T42" fmla="*/ 39 w 192"/>
                  <a:gd name="T43" fmla="*/ 176 h 681"/>
                  <a:gd name="T44" fmla="*/ 48 w 192"/>
                  <a:gd name="T45" fmla="*/ 167 h 681"/>
                  <a:gd name="T46" fmla="*/ 48 w 192"/>
                  <a:gd name="T47" fmla="*/ 156 h 681"/>
                  <a:gd name="T48" fmla="*/ 53 w 192"/>
                  <a:gd name="T49" fmla="*/ 146 h 681"/>
                  <a:gd name="T50" fmla="*/ 57 w 192"/>
                  <a:gd name="T51" fmla="*/ 136 h 681"/>
                  <a:gd name="T52" fmla="*/ 66 w 192"/>
                  <a:gd name="T53" fmla="*/ 126 h 681"/>
                  <a:gd name="T54" fmla="*/ 83 w 192"/>
                  <a:gd name="T55" fmla="*/ 116 h 681"/>
                  <a:gd name="T56" fmla="*/ 88 w 192"/>
                  <a:gd name="T57" fmla="*/ 105 h 681"/>
                  <a:gd name="T58" fmla="*/ 92 w 192"/>
                  <a:gd name="T59" fmla="*/ 95 h 681"/>
                  <a:gd name="T60" fmla="*/ 103 w 192"/>
                  <a:gd name="T61" fmla="*/ 84 h 681"/>
                  <a:gd name="T62" fmla="*/ 111 w 192"/>
                  <a:gd name="T63" fmla="*/ 75 h 681"/>
                  <a:gd name="T64" fmla="*/ 118 w 192"/>
                  <a:gd name="T65" fmla="*/ 67 h 681"/>
                  <a:gd name="T66" fmla="*/ 124 w 192"/>
                  <a:gd name="T67" fmla="*/ 61 h 681"/>
                  <a:gd name="T68" fmla="*/ 132 w 192"/>
                  <a:gd name="T69" fmla="*/ 54 h 681"/>
                  <a:gd name="T70" fmla="*/ 136 w 192"/>
                  <a:gd name="T71" fmla="*/ 47 h 681"/>
                  <a:gd name="T72" fmla="*/ 148 w 192"/>
                  <a:gd name="T73" fmla="*/ 41 h 681"/>
                  <a:gd name="T74" fmla="*/ 160 w 192"/>
                  <a:gd name="T75" fmla="*/ 34 h 681"/>
                  <a:gd name="T76" fmla="*/ 193 w 192"/>
                  <a:gd name="T77" fmla="*/ 25 h 681"/>
                  <a:gd name="T78" fmla="*/ 222 w 192"/>
                  <a:gd name="T79" fmla="*/ 15 h 681"/>
                  <a:gd name="T80" fmla="*/ 248 w 192"/>
                  <a:gd name="T81" fmla="*/ 6 h 681"/>
                  <a:gd name="T82" fmla="*/ 261 w 192"/>
                  <a:gd name="T83" fmla="*/ 0 h 681"/>
                  <a:gd name="T84" fmla="*/ 222 w 192"/>
                  <a:gd name="T85" fmla="*/ 5 h 681"/>
                  <a:gd name="T86" fmla="*/ 143 w 192"/>
                  <a:gd name="T87" fmla="*/ 16 h 681"/>
                  <a:gd name="T88" fmla="*/ 111 w 192"/>
                  <a:gd name="T89" fmla="*/ 23 h 6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2"/>
                  <a:gd name="T136" fmla="*/ 0 h 681"/>
                  <a:gd name="T137" fmla="*/ 192 w 192"/>
                  <a:gd name="T138" fmla="*/ 681 h 6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2" h="681">
                    <a:moveTo>
                      <a:pt x="82" y="69"/>
                    </a:moveTo>
                    <a:lnTo>
                      <a:pt x="73" y="86"/>
                    </a:lnTo>
                    <a:lnTo>
                      <a:pt x="68" y="103"/>
                    </a:lnTo>
                    <a:lnTo>
                      <a:pt x="59" y="123"/>
                    </a:lnTo>
                    <a:lnTo>
                      <a:pt x="59" y="140"/>
                    </a:lnTo>
                    <a:lnTo>
                      <a:pt x="50" y="160"/>
                    </a:lnTo>
                    <a:lnTo>
                      <a:pt x="45" y="177"/>
                    </a:lnTo>
                    <a:lnTo>
                      <a:pt x="41" y="194"/>
                    </a:lnTo>
                    <a:lnTo>
                      <a:pt x="36" y="211"/>
                    </a:lnTo>
                    <a:lnTo>
                      <a:pt x="32" y="228"/>
                    </a:lnTo>
                    <a:lnTo>
                      <a:pt x="27" y="245"/>
                    </a:lnTo>
                    <a:lnTo>
                      <a:pt x="23" y="262"/>
                    </a:lnTo>
                    <a:lnTo>
                      <a:pt x="23" y="279"/>
                    </a:lnTo>
                    <a:lnTo>
                      <a:pt x="18" y="297"/>
                    </a:lnTo>
                    <a:lnTo>
                      <a:pt x="13" y="314"/>
                    </a:lnTo>
                    <a:lnTo>
                      <a:pt x="13" y="328"/>
                    </a:lnTo>
                    <a:lnTo>
                      <a:pt x="13" y="345"/>
                    </a:lnTo>
                    <a:lnTo>
                      <a:pt x="9" y="362"/>
                    </a:lnTo>
                    <a:lnTo>
                      <a:pt x="4" y="376"/>
                    </a:lnTo>
                    <a:lnTo>
                      <a:pt x="4" y="391"/>
                    </a:lnTo>
                    <a:lnTo>
                      <a:pt x="4" y="405"/>
                    </a:lnTo>
                    <a:lnTo>
                      <a:pt x="0" y="419"/>
                    </a:lnTo>
                    <a:lnTo>
                      <a:pt x="0" y="433"/>
                    </a:lnTo>
                    <a:lnTo>
                      <a:pt x="0" y="445"/>
                    </a:lnTo>
                    <a:lnTo>
                      <a:pt x="0" y="462"/>
                    </a:lnTo>
                    <a:lnTo>
                      <a:pt x="0" y="476"/>
                    </a:lnTo>
                    <a:lnTo>
                      <a:pt x="0" y="487"/>
                    </a:lnTo>
                    <a:lnTo>
                      <a:pt x="0" y="502"/>
                    </a:lnTo>
                    <a:lnTo>
                      <a:pt x="0" y="513"/>
                    </a:lnTo>
                    <a:lnTo>
                      <a:pt x="0" y="524"/>
                    </a:lnTo>
                    <a:lnTo>
                      <a:pt x="0" y="536"/>
                    </a:lnTo>
                    <a:lnTo>
                      <a:pt x="0" y="550"/>
                    </a:lnTo>
                    <a:lnTo>
                      <a:pt x="0" y="561"/>
                    </a:lnTo>
                    <a:lnTo>
                      <a:pt x="0" y="570"/>
                    </a:lnTo>
                    <a:lnTo>
                      <a:pt x="0" y="578"/>
                    </a:lnTo>
                    <a:lnTo>
                      <a:pt x="0" y="590"/>
                    </a:lnTo>
                    <a:lnTo>
                      <a:pt x="0" y="598"/>
                    </a:lnTo>
                    <a:lnTo>
                      <a:pt x="0" y="607"/>
                    </a:lnTo>
                    <a:lnTo>
                      <a:pt x="0" y="615"/>
                    </a:lnTo>
                    <a:lnTo>
                      <a:pt x="0" y="621"/>
                    </a:lnTo>
                    <a:lnTo>
                      <a:pt x="0" y="630"/>
                    </a:lnTo>
                    <a:lnTo>
                      <a:pt x="0" y="635"/>
                    </a:lnTo>
                    <a:lnTo>
                      <a:pt x="0" y="641"/>
                    </a:lnTo>
                    <a:lnTo>
                      <a:pt x="4" y="650"/>
                    </a:lnTo>
                    <a:lnTo>
                      <a:pt x="4" y="655"/>
                    </a:lnTo>
                    <a:lnTo>
                      <a:pt x="4" y="664"/>
                    </a:lnTo>
                    <a:lnTo>
                      <a:pt x="9" y="675"/>
                    </a:lnTo>
                    <a:lnTo>
                      <a:pt x="13" y="681"/>
                    </a:lnTo>
                    <a:lnTo>
                      <a:pt x="18" y="678"/>
                    </a:lnTo>
                    <a:lnTo>
                      <a:pt x="18" y="675"/>
                    </a:lnTo>
                    <a:lnTo>
                      <a:pt x="18" y="667"/>
                    </a:lnTo>
                    <a:lnTo>
                      <a:pt x="23" y="655"/>
                    </a:lnTo>
                    <a:lnTo>
                      <a:pt x="23" y="647"/>
                    </a:lnTo>
                    <a:lnTo>
                      <a:pt x="23" y="638"/>
                    </a:lnTo>
                    <a:lnTo>
                      <a:pt x="23" y="630"/>
                    </a:lnTo>
                    <a:lnTo>
                      <a:pt x="23" y="624"/>
                    </a:lnTo>
                    <a:lnTo>
                      <a:pt x="23" y="615"/>
                    </a:lnTo>
                    <a:lnTo>
                      <a:pt x="23" y="607"/>
                    </a:lnTo>
                    <a:lnTo>
                      <a:pt x="23" y="598"/>
                    </a:lnTo>
                    <a:lnTo>
                      <a:pt x="23" y="590"/>
                    </a:lnTo>
                    <a:lnTo>
                      <a:pt x="23" y="581"/>
                    </a:lnTo>
                    <a:lnTo>
                      <a:pt x="23" y="573"/>
                    </a:lnTo>
                    <a:lnTo>
                      <a:pt x="27" y="564"/>
                    </a:lnTo>
                    <a:lnTo>
                      <a:pt x="27" y="553"/>
                    </a:lnTo>
                    <a:lnTo>
                      <a:pt x="27" y="541"/>
                    </a:lnTo>
                    <a:lnTo>
                      <a:pt x="27" y="533"/>
                    </a:lnTo>
                    <a:lnTo>
                      <a:pt x="32" y="524"/>
                    </a:lnTo>
                    <a:lnTo>
                      <a:pt x="32" y="516"/>
                    </a:lnTo>
                    <a:lnTo>
                      <a:pt x="36" y="504"/>
                    </a:lnTo>
                    <a:lnTo>
                      <a:pt x="36" y="493"/>
                    </a:lnTo>
                    <a:lnTo>
                      <a:pt x="36" y="485"/>
                    </a:lnTo>
                    <a:lnTo>
                      <a:pt x="36" y="473"/>
                    </a:lnTo>
                    <a:lnTo>
                      <a:pt x="41" y="465"/>
                    </a:lnTo>
                    <a:lnTo>
                      <a:pt x="41" y="453"/>
                    </a:lnTo>
                    <a:lnTo>
                      <a:pt x="41" y="442"/>
                    </a:lnTo>
                    <a:lnTo>
                      <a:pt x="45" y="430"/>
                    </a:lnTo>
                    <a:lnTo>
                      <a:pt x="45" y="422"/>
                    </a:lnTo>
                    <a:lnTo>
                      <a:pt x="45" y="410"/>
                    </a:lnTo>
                    <a:lnTo>
                      <a:pt x="45" y="402"/>
                    </a:lnTo>
                    <a:lnTo>
                      <a:pt x="50" y="391"/>
                    </a:lnTo>
                    <a:lnTo>
                      <a:pt x="50" y="379"/>
                    </a:lnTo>
                    <a:lnTo>
                      <a:pt x="50" y="371"/>
                    </a:lnTo>
                    <a:lnTo>
                      <a:pt x="55" y="359"/>
                    </a:lnTo>
                    <a:lnTo>
                      <a:pt x="59" y="348"/>
                    </a:lnTo>
                    <a:lnTo>
                      <a:pt x="59" y="336"/>
                    </a:lnTo>
                    <a:lnTo>
                      <a:pt x="59" y="328"/>
                    </a:lnTo>
                    <a:lnTo>
                      <a:pt x="64" y="316"/>
                    </a:lnTo>
                    <a:lnTo>
                      <a:pt x="64" y="305"/>
                    </a:lnTo>
                    <a:lnTo>
                      <a:pt x="68" y="297"/>
                    </a:lnTo>
                    <a:lnTo>
                      <a:pt x="68" y="285"/>
                    </a:lnTo>
                    <a:lnTo>
                      <a:pt x="68" y="277"/>
                    </a:lnTo>
                    <a:lnTo>
                      <a:pt x="68" y="265"/>
                    </a:lnTo>
                    <a:lnTo>
                      <a:pt x="77" y="257"/>
                    </a:lnTo>
                    <a:lnTo>
                      <a:pt x="77" y="248"/>
                    </a:lnTo>
                    <a:lnTo>
                      <a:pt x="77" y="240"/>
                    </a:lnTo>
                    <a:lnTo>
                      <a:pt x="82" y="228"/>
                    </a:lnTo>
                    <a:lnTo>
                      <a:pt x="82" y="223"/>
                    </a:lnTo>
                    <a:lnTo>
                      <a:pt x="82" y="211"/>
                    </a:lnTo>
                    <a:lnTo>
                      <a:pt x="87" y="205"/>
                    </a:lnTo>
                    <a:lnTo>
                      <a:pt x="87" y="197"/>
                    </a:lnTo>
                    <a:lnTo>
                      <a:pt x="91" y="188"/>
                    </a:lnTo>
                    <a:lnTo>
                      <a:pt x="91" y="183"/>
                    </a:lnTo>
                    <a:lnTo>
                      <a:pt x="91" y="174"/>
                    </a:lnTo>
                    <a:lnTo>
                      <a:pt x="96" y="168"/>
                    </a:lnTo>
                    <a:lnTo>
                      <a:pt x="96" y="163"/>
                    </a:lnTo>
                    <a:lnTo>
                      <a:pt x="96" y="154"/>
                    </a:lnTo>
                    <a:lnTo>
                      <a:pt x="100" y="148"/>
                    </a:lnTo>
                    <a:lnTo>
                      <a:pt x="100" y="146"/>
                    </a:lnTo>
                    <a:lnTo>
                      <a:pt x="100" y="137"/>
                    </a:lnTo>
                    <a:lnTo>
                      <a:pt x="105" y="129"/>
                    </a:lnTo>
                    <a:lnTo>
                      <a:pt x="109" y="123"/>
                    </a:lnTo>
                    <a:lnTo>
                      <a:pt x="114" y="114"/>
                    </a:lnTo>
                    <a:lnTo>
                      <a:pt x="114" y="111"/>
                    </a:lnTo>
                    <a:lnTo>
                      <a:pt x="118" y="103"/>
                    </a:lnTo>
                    <a:lnTo>
                      <a:pt x="123" y="94"/>
                    </a:lnTo>
                    <a:lnTo>
                      <a:pt x="132" y="86"/>
                    </a:lnTo>
                    <a:lnTo>
                      <a:pt x="141" y="74"/>
                    </a:lnTo>
                    <a:lnTo>
                      <a:pt x="150" y="66"/>
                    </a:lnTo>
                    <a:lnTo>
                      <a:pt x="155" y="57"/>
                    </a:lnTo>
                    <a:lnTo>
                      <a:pt x="164" y="46"/>
                    </a:lnTo>
                    <a:lnTo>
                      <a:pt x="169" y="37"/>
                    </a:lnTo>
                    <a:lnTo>
                      <a:pt x="178" y="26"/>
                    </a:lnTo>
                    <a:lnTo>
                      <a:pt x="182" y="20"/>
                    </a:lnTo>
                    <a:lnTo>
                      <a:pt x="187" y="12"/>
                    </a:lnTo>
                    <a:lnTo>
                      <a:pt x="187" y="9"/>
                    </a:lnTo>
                    <a:lnTo>
                      <a:pt x="192" y="0"/>
                    </a:lnTo>
                    <a:lnTo>
                      <a:pt x="187" y="0"/>
                    </a:lnTo>
                    <a:lnTo>
                      <a:pt x="178" y="6"/>
                    </a:lnTo>
                    <a:lnTo>
                      <a:pt x="164" y="15"/>
                    </a:lnTo>
                    <a:lnTo>
                      <a:pt x="146" y="26"/>
                    </a:lnTo>
                    <a:lnTo>
                      <a:pt x="123" y="37"/>
                    </a:lnTo>
                    <a:lnTo>
                      <a:pt x="105" y="49"/>
                    </a:lnTo>
                    <a:lnTo>
                      <a:pt x="96" y="57"/>
                    </a:lnTo>
                    <a:lnTo>
                      <a:pt x="82" y="66"/>
                    </a:lnTo>
                    <a:lnTo>
                      <a:pt x="82" y="6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8" name="Freeform 172"/>
              <p:cNvSpPr>
                <a:spLocks/>
              </p:cNvSpPr>
              <p:nvPr>
                <p:custDataLst>
                  <p:tags r:id="rId82"/>
                </p:custDataLst>
              </p:nvPr>
            </p:nvSpPr>
            <p:spPr bwMode="gray">
              <a:xfrm>
                <a:off x="2656" y="2138"/>
                <a:ext cx="605" cy="46"/>
              </a:xfrm>
              <a:custGeom>
                <a:avLst/>
                <a:gdLst>
                  <a:gd name="T0" fmla="*/ 93 w 590"/>
                  <a:gd name="T1" fmla="*/ 5 h 51"/>
                  <a:gd name="T2" fmla="*/ 137 w 590"/>
                  <a:gd name="T3" fmla="*/ 5 h 51"/>
                  <a:gd name="T4" fmla="*/ 185 w 590"/>
                  <a:gd name="T5" fmla="*/ 5 h 51"/>
                  <a:gd name="T6" fmla="*/ 227 w 590"/>
                  <a:gd name="T7" fmla="*/ 3 h 51"/>
                  <a:gd name="T8" fmla="*/ 271 w 590"/>
                  <a:gd name="T9" fmla="*/ 0 h 51"/>
                  <a:gd name="T10" fmla="*/ 309 w 590"/>
                  <a:gd name="T11" fmla="*/ 0 h 51"/>
                  <a:gd name="T12" fmla="*/ 354 w 590"/>
                  <a:gd name="T13" fmla="*/ 0 h 51"/>
                  <a:gd name="T14" fmla="*/ 390 w 590"/>
                  <a:gd name="T15" fmla="*/ 0 h 51"/>
                  <a:gd name="T16" fmla="*/ 427 w 590"/>
                  <a:gd name="T17" fmla="*/ 3 h 51"/>
                  <a:gd name="T18" fmla="*/ 463 w 590"/>
                  <a:gd name="T19" fmla="*/ 3 h 51"/>
                  <a:gd name="T20" fmla="*/ 499 w 590"/>
                  <a:gd name="T21" fmla="*/ 5 h 51"/>
                  <a:gd name="T22" fmla="*/ 531 w 590"/>
                  <a:gd name="T23" fmla="*/ 5 h 51"/>
                  <a:gd name="T24" fmla="*/ 563 w 590"/>
                  <a:gd name="T25" fmla="*/ 5 h 51"/>
                  <a:gd name="T26" fmla="*/ 593 w 590"/>
                  <a:gd name="T27" fmla="*/ 5 h 51"/>
                  <a:gd name="T28" fmla="*/ 629 w 590"/>
                  <a:gd name="T29" fmla="*/ 5 h 51"/>
                  <a:gd name="T30" fmla="*/ 679 w 590"/>
                  <a:gd name="T31" fmla="*/ 8 h 51"/>
                  <a:gd name="T32" fmla="*/ 723 w 590"/>
                  <a:gd name="T33" fmla="*/ 9 h 51"/>
                  <a:gd name="T34" fmla="*/ 748 w 590"/>
                  <a:gd name="T35" fmla="*/ 11 h 51"/>
                  <a:gd name="T36" fmla="*/ 778 w 590"/>
                  <a:gd name="T37" fmla="*/ 13 h 51"/>
                  <a:gd name="T38" fmla="*/ 797 w 590"/>
                  <a:gd name="T39" fmla="*/ 14 h 51"/>
                  <a:gd name="T40" fmla="*/ 797 w 590"/>
                  <a:gd name="T41" fmla="*/ 14 h 51"/>
                  <a:gd name="T42" fmla="*/ 773 w 590"/>
                  <a:gd name="T43" fmla="*/ 14 h 51"/>
                  <a:gd name="T44" fmla="*/ 741 w 590"/>
                  <a:gd name="T45" fmla="*/ 13 h 51"/>
                  <a:gd name="T46" fmla="*/ 711 w 590"/>
                  <a:gd name="T47" fmla="*/ 12 h 51"/>
                  <a:gd name="T48" fmla="*/ 679 w 590"/>
                  <a:gd name="T49" fmla="*/ 11 h 51"/>
                  <a:gd name="T50" fmla="*/ 637 w 590"/>
                  <a:gd name="T51" fmla="*/ 11 h 51"/>
                  <a:gd name="T52" fmla="*/ 599 w 590"/>
                  <a:gd name="T53" fmla="*/ 10 h 51"/>
                  <a:gd name="T54" fmla="*/ 556 w 590"/>
                  <a:gd name="T55" fmla="*/ 10 h 51"/>
                  <a:gd name="T56" fmla="*/ 520 w 590"/>
                  <a:gd name="T57" fmla="*/ 9 h 51"/>
                  <a:gd name="T58" fmla="*/ 475 w 590"/>
                  <a:gd name="T59" fmla="*/ 8 h 51"/>
                  <a:gd name="T60" fmla="*/ 432 w 590"/>
                  <a:gd name="T61" fmla="*/ 8 h 51"/>
                  <a:gd name="T62" fmla="*/ 396 w 590"/>
                  <a:gd name="T63" fmla="*/ 8 h 51"/>
                  <a:gd name="T64" fmla="*/ 358 w 590"/>
                  <a:gd name="T65" fmla="*/ 8 h 51"/>
                  <a:gd name="T66" fmla="*/ 322 w 590"/>
                  <a:gd name="T67" fmla="*/ 8 h 51"/>
                  <a:gd name="T68" fmla="*/ 291 w 590"/>
                  <a:gd name="T69" fmla="*/ 8 h 51"/>
                  <a:gd name="T70" fmla="*/ 259 w 590"/>
                  <a:gd name="T71" fmla="*/ 8 h 51"/>
                  <a:gd name="T72" fmla="*/ 227 w 590"/>
                  <a:gd name="T73" fmla="*/ 9 h 51"/>
                  <a:gd name="T74" fmla="*/ 193 w 590"/>
                  <a:gd name="T75" fmla="*/ 10 h 51"/>
                  <a:gd name="T76" fmla="*/ 148 w 590"/>
                  <a:gd name="T77" fmla="*/ 11 h 51"/>
                  <a:gd name="T78" fmla="*/ 103 w 590"/>
                  <a:gd name="T79" fmla="*/ 11 h 51"/>
                  <a:gd name="T80" fmla="*/ 58 w 590"/>
                  <a:gd name="T81" fmla="*/ 12 h 51"/>
                  <a:gd name="T82" fmla="*/ 19 w 590"/>
                  <a:gd name="T83" fmla="*/ 13 h 51"/>
                  <a:gd name="T84" fmla="*/ 66 w 590"/>
                  <a:gd name="T85" fmla="*/ 5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0"/>
                  <a:gd name="T130" fmla="*/ 0 h 51"/>
                  <a:gd name="T131" fmla="*/ 590 w 590"/>
                  <a:gd name="T132" fmla="*/ 51 h 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0" h="51">
                    <a:moveTo>
                      <a:pt x="51" y="14"/>
                    </a:moveTo>
                    <a:lnTo>
                      <a:pt x="69" y="12"/>
                    </a:lnTo>
                    <a:lnTo>
                      <a:pt x="83" y="9"/>
                    </a:lnTo>
                    <a:lnTo>
                      <a:pt x="101" y="6"/>
                    </a:lnTo>
                    <a:lnTo>
                      <a:pt x="119" y="6"/>
                    </a:lnTo>
                    <a:lnTo>
                      <a:pt x="137" y="6"/>
                    </a:lnTo>
                    <a:lnTo>
                      <a:pt x="151" y="3"/>
                    </a:lnTo>
                    <a:lnTo>
                      <a:pt x="169" y="3"/>
                    </a:lnTo>
                    <a:lnTo>
                      <a:pt x="183" y="3"/>
                    </a:lnTo>
                    <a:lnTo>
                      <a:pt x="201" y="0"/>
                    </a:lnTo>
                    <a:lnTo>
                      <a:pt x="215" y="0"/>
                    </a:lnTo>
                    <a:lnTo>
                      <a:pt x="229" y="0"/>
                    </a:lnTo>
                    <a:lnTo>
                      <a:pt x="247" y="0"/>
                    </a:lnTo>
                    <a:lnTo>
                      <a:pt x="261" y="0"/>
                    </a:lnTo>
                    <a:lnTo>
                      <a:pt x="274" y="0"/>
                    </a:lnTo>
                    <a:lnTo>
                      <a:pt x="288" y="0"/>
                    </a:lnTo>
                    <a:lnTo>
                      <a:pt x="306" y="3"/>
                    </a:lnTo>
                    <a:lnTo>
                      <a:pt x="316" y="3"/>
                    </a:lnTo>
                    <a:lnTo>
                      <a:pt x="334" y="3"/>
                    </a:lnTo>
                    <a:lnTo>
                      <a:pt x="343" y="3"/>
                    </a:lnTo>
                    <a:lnTo>
                      <a:pt x="357" y="6"/>
                    </a:lnTo>
                    <a:lnTo>
                      <a:pt x="370" y="6"/>
                    </a:lnTo>
                    <a:lnTo>
                      <a:pt x="384" y="6"/>
                    </a:lnTo>
                    <a:lnTo>
                      <a:pt x="393" y="6"/>
                    </a:lnTo>
                    <a:lnTo>
                      <a:pt x="407" y="9"/>
                    </a:lnTo>
                    <a:lnTo>
                      <a:pt x="416" y="9"/>
                    </a:lnTo>
                    <a:lnTo>
                      <a:pt x="425" y="12"/>
                    </a:lnTo>
                    <a:lnTo>
                      <a:pt x="439" y="14"/>
                    </a:lnTo>
                    <a:lnTo>
                      <a:pt x="448" y="14"/>
                    </a:lnTo>
                    <a:lnTo>
                      <a:pt x="466" y="17"/>
                    </a:lnTo>
                    <a:lnTo>
                      <a:pt x="489" y="20"/>
                    </a:lnTo>
                    <a:lnTo>
                      <a:pt x="503" y="26"/>
                    </a:lnTo>
                    <a:lnTo>
                      <a:pt x="521" y="26"/>
                    </a:lnTo>
                    <a:lnTo>
                      <a:pt x="535" y="29"/>
                    </a:lnTo>
                    <a:lnTo>
                      <a:pt x="549" y="34"/>
                    </a:lnTo>
                    <a:lnTo>
                      <a:pt x="553" y="37"/>
                    </a:lnTo>
                    <a:lnTo>
                      <a:pt x="567" y="40"/>
                    </a:lnTo>
                    <a:lnTo>
                      <a:pt x="576" y="43"/>
                    </a:lnTo>
                    <a:lnTo>
                      <a:pt x="581" y="49"/>
                    </a:lnTo>
                    <a:lnTo>
                      <a:pt x="590" y="49"/>
                    </a:lnTo>
                    <a:lnTo>
                      <a:pt x="590" y="51"/>
                    </a:lnTo>
                    <a:lnTo>
                      <a:pt x="581" y="51"/>
                    </a:lnTo>
                    <a:lnTo>
                      <a:pt x="572" y="49"/>
                    </a:lnTo>
                    <a:lnTo>
                      <a:pt x="558" y="49"/>
                    </a:lnTo>
                    <a:lnTo>
                      <a:pt x="549" y="43"/>
                    </a:lnTo>
                    <a:lnTo>
                      <a:pt x="540" y="43"/>
                    </a:lnTo>
                    <a:lnTo>
                      <a:pt x="526" y="40"/>
                    </a:lnTo>
                    <a:lnTo>
                      <a:pt x="517" y="40"/>
                    </a:lnTo>
                    <a:lnTo>
                      <a:pt x="503" y="37"/>
                    </a:lnTo>
                    <a:lnTo>
                      <a:pt x="489" y="37"/>
                    </a:lnTo>
                    <a:lnTo>
                      <a:pt x="471" y="34"/>
                    </a:lnTo>
                    <a:lnTo>
                      <a:pt x="457" y="34"/>
                    </a:lnTo>
                    <a:lnTo>
                      <a:pt x="444" y="32"/>
                    </a:lnTo>
                    <a:lnTo>
                      <a:pt x="425" y="32"/>
                    </a:lnTo>
                    <a:lnTo>
                      <a:pt x="412" y="32"/>
                    </a:lnTo>
                    <a:lnTo>
                      <a:pt x="398" y="29"/>
                    </a:lnTo>
                    <a:lnTo>
                      <a:pt x="384" y="29"/>
                    </a:lnTo>
                    <a:lnTo>
                      <a:pt x="370" y="29"/>
                    </a:lnTo>
                    <a:lnTo>
                      <a:pt x="352" y="26"/>
                    </a:lnTo>
                    <a:lnTo>
                      <a:pt x="334" y="26"/>
                    </a:lnTo>
                    <a:lnTo>
                      <a:pt x="320" y="26"/>
                    </a:lnTo>
                    <a:lnTo>
                      <a:pt x="306" y="26"/>
                    </a:lnTo>
                    <a:lnTo>
                      <a:pt x="293" y="26"/>
                    </a:lnTo>
                    <a:lnTo>
                      <a:pt x="279" y="26"/>
                    </a:lnTo>
                    <a:lnTo>
                      <a:pt x="265" y="26"/>
                    </a:lnTo>
                    <a:lnTo>
                      <a:pt x="252" y="26"/>
                    </a:lnTo>
                    <a:lnTo>
                      <a:pt x="238" y="26"/>
                    </a:lnTo>
                    <a:lnTo>
                      <a:pt x="229" y="26"/>
                    </a:lnTo>
                    <a:lnTo>
                      <a:pt x="215" y="26"/>
                    </a:lnTo>
                    <a:lnTo>
                      <a:pt x="210" y="26"/>
                    </a:lnTo>
                    <a:lnTo>
                      <a:pt x="192" y="26"/>
                    </a:lnTo>
                    <a:lnTo>
                      <a:pt x="183" y="29"/>
                    </a:lnTo>
                    <a:lnTo>
                      <a:pt x="169" y="29"/>
                    </a:lnTo>
                    <a:lnTo>
                      <a:pt x="156" y="29"/>
                    </a:lnTo>
                    <a:lnTo>
                      <a:pt x="142" y="32"/>
                    </a:lnTo>
                    <a:lnTo>
                      <a:pt x="128" y="34"/>
                    </a:lnTo>
                    <a:lnTo>
                      <a:pt x="110" y="34"/>
                    </a:lnTo>
                    <a:lnTo>
                      <a:pt x="96" y="37"/>
                    </a:lnTo>
                    <a:lnTo>
                      <a:pt x="78" y="37"/>
                    </a:lnTo>
                    <a:lnTo>
                      <a:pt x="64" y="40"/>
                    </a:lnTo>
                    <a:lnTo>
                      <a:pt x="46" y="40"/>
                    </a:lnTo>
                    <a:lnTo>
                      <a:pt x="32" y="40"/>
                    </a:lnTo>
                    <a:lnTo>
                      <a:pt x="19" y="43"/>
                    </a:lnTo>
                    <a:lnTo>
                      <a:pt x="0" y="46"/>
                    </a:lnTo>
                    <a:lnTo>
                      <a:pt x="51"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19" name="Freeform 173"/>
              <p:cNvSpPr>
                <a:spLocks/>
              </p:cNvSpPr>
              <p:nvPr>
                <p:custDataLst>
                  <p:tags r:id="rId83"/>
                </p:custDataLst>
              </p:nvPr>
            </p:nvSpPr>
            <p:spPr bwMode="gray">
              <a:xfrm>
                <a:off x="2632" y="2239"/>
                <a:ext cx="643" cy="58"/>
              </a:xfrm>
              <a:custGeom>
                <a:avLst/>
                <a:gdLst>
                  <a:gd name="T0" fmla="*/ 67 w 627"/>
                  <a:gd name="T1" fmla="*/ 13 h 63"/>
                  <a:gd name="T2" fmla="*/ 98 w 627"/>
                  <a:gd name="T3" fmla="*/ 10 h 63"/>
                  <a:gd name="T4" fmla="*/ 137 w 627"/>
                  <a:gd name="T5" fmla="*/ 7 h 63"/>
                  <a:gd name="T6" fmla="*/ 172 w 627"/>
                  <a:gd name="T7" fmla="*/ 6 h 63"/>
                  <a:gd name="T8" fmla="*/ 210 w 627"/>
                  <a:gd name="T9" fmla="*/ 6 h 63"/>
                  <a:gd name="T10" fmla="*/ 248 w 627"/>
                  <a:gd name="T11" fmla="*/ 6 h 63"/>
                  <a:gd name="T12" fmla="*/ 291 w 627"/>
                  <a:gd name="T13" fmla="*/ 6 h 63"/>
                  <a:gd name="T14" fmla="*/ 329 w 627"/>
                  <a:gd name="T15" fmla="*/ 3 h 63"/>
                  <a:gd name="T16" fmla="*/ 365 w 627"/>
                  <a:gd name="T17" fmla="*/ 0 h 63"/>
                  <a:gd name="T18" fmla="*/ 409 w 627"/>
                  <a:gd name="T19" fmla="*/ 0 h 63"/>
                  <a:gd name="T20" fmla="*/ 446 w 627"/>
                  <a:gd name="T21" fmla="*/ 0 h 63"/>
                  <a:gd name="T22" fmla="*/ 483 w 627"/>
                  <a:gd name="T23" fmla="*/ 0 h 63"/>
                  <a:gd name="T24" fmla="*/ 520 w 627"/>
                  <a:gd name="T25" fmla="*/ 0 h 63"/>
                  <a:gd name="T26" fmla="*/ 550 w 627"/>
                  <a:gd name="T27" fmla="*/ 0 h 63"/>
                  <a:gd name="T28" fmla="*/ 581 w 627"/>
                  <a:gd name="T29" fmla="*/ 0 h 63"/>
                  <a:gd name="T30" fmla="*/ 625 w 627"/>
                  <a:gd name="T31" fmla="*/ 0 h 63"/>
                  <a:gd name="T32" fmla="*/ 650 w 627"/>
                  <a:gd name="T33" fmla="*/ 3 h 63"/>
                  <a:gd name="T34" fmla="*/ 681 w 627"/>
                  <a:gd name="T35" fmla="*/ 3 h 63"/>
                  <a:gd name="T36" fmla="*/ 724 w 627"/>
                  <a:gd name="T37" fmla="*/ 6 h 63"/>
                  <a:gd name="T38" fmla="*/ 767 w 627"/>
                  <a:gd name="T39" fmla="*/ 6 h 63"/>
                  <a:gd name="T40" fmla="*/ 806 w 627"/>
                  <a:gd name="T41" fmla="*/ 6 h 63"/>
                  <a:gd name="T42" fmla="*/ 835 w 627"/>
                  <a:gd name="T43" fmla="*/ 6 h 63"/>
                  <a:gd name="T44" fmla="*/ 841 w 627"/>
                  <a:gd name="T45" fmla="*/ 7 h 63"/>
                  <a:gd name="T46" fmla="*/ 830 w 627"/>
                  <a:gd name="T47" fmla="*/ 7 h 63"/>
                  <a:gd name="T48" fmla="*/ 798 w 627"/>
                  <a:gd name="T49" fmla="*/ 7 h 63"/>
                  <a:gd name="T50" fmla="*/ 767 w 627"/>
                  <a:gd name="T51" fmla="*/ 7 h 63"/>
                  <a:gd name="T52" fmla="*/ 724 w 627"/>
                  <a:gd name="T53" fmla="*/ 6 h 63"/>
                  <a:gd name="T54" fmla="*/ 675 w 627"/>
                  <a:gd name="T55" fmla="*/ 6 h 63"/>
                  <a:gd name="T56" fmla="*/ 633 w 627"/>
                  <a:gd name="T57" fmla="*/ 6 h 63"/>
                  <a:gd name="T58" fmla="*/ 581 w 627"/>
                  <a:gd name="T59" fmla="*/ 6 h 63"/>
                  <a:gd name="T60" fmla="*/ 532 w 627"/>
                  <a:gd name="T61" fmla="*/ 6 h 63"/>
                  <a:gd name="T62" fmla="*/ 495 w 627"/>
                  <a:gd name="T63" fmla="*/ 7 h 63"/>
                  <a:gd name="T64" fmla="*/ 464 w 627"/>
                  <a:gd name="T65" fmla="*/ 7 h 63"/>
                  <a:gd name="T66" fmla="*/ 432 w 627"/>
                  <a:gd name="T67" fmla="*/ 8 h 63"/>
                  <a:gd name="T68" fmla="*/ 396 w 627"/>
                  <a:gd name="T69" fmla="*/ 10 h 63"/>
                  <a:gd name="T70" fmla="*/ 365 w 627"/>
                  <a:gd name="T71" fmla="*/ 11 h 63"/>
                  <a:gd name="T72" fmla="*/ 322 w 627"/>
                  <a:gd name="T73" fmla="*/ 12 h 63"/>
                  <a:gd name="T74" fmla="*/ 286 w 627"/>
                  <a:gd name="T75" fmla="*/ 13 h 63"/>
                  <a:gd name="T76" fmla="*/ 248 w 627"/>
                  <a:gd name="T77" fmla="*/ 13 h 63"/>
                  <a:gd name="T78" fmla="*/ 215 w 627"/>
                  <a:gd name="T79" fmla="*/ 15 h 63"/>
                  <a:gd name="T80" fmla="*/ 179 w 627"/>
                  <a:gd name="T81" fmla="*/ 16 h 63"/>
                  <a:gd name="T82" fmla="*/ 148 w 627"/>
                  <a:gd name="T83" fmla="*/ 16 h 63"/>
                  <a:gd name="T84" fmla="*/ 125 w 627"/>
                  <a:gd name="T85" fmla="*/ 17 h 63"/>
                  <a:gd name="T86" fmla="*/ 88 w 627"/>
                  <a:gd name="T87" fmla="*/ 20 h 63"/>
                  <a:gd name="T88" fmla="*/ 40 w 627"/>
                  <a:gd name="T89" fmla="*/ 21 h 63"/>
                  <a:gd name="T90" fmla="*/ 49 w 627"/>
                  <a:gd name="T91" fmla="*/ 14 h 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7"/>
                  <a:gd name="T139" fmla="*/ 0 h 63"/>
                  <a:gd name="T140" fmla="*/ 627 w 627"/>
                  <a:gd name="T141" fmla="*/ 63 h 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7" h="63">
                    <a:moveTo>
                      <a:pt x="37" y="37"/>
                    </a:moveTo>
                    <a:lnTo>
                      <a:pt x="51" y="34"/>
                    </a:lnTo>
                    <a:lnTo>
                      <a:pt x="64" y="29"/>
                    </a:lnTo>
                    <a:lnTo>
                      <a:pt x="74" y="26"/>
                    </a:lnTo>
                    <a:lnTo>
                      <a:pt x="87" y="23"/>
                    </a:lnTo>
                    <a:lnTo>
                      <a:pt x="101" y="20"/>
                    </a:lnTo>
                    <a:lnTo>
                      <a:pt x="115" y="17"/>
                    </a:lnTo>
                    <a:lnTo>
                      <a:pt x="128" y="15"/>
                    </a:lnTo>
                    <a:lnTo>
                      <a:pt x="142" y="15"/>
                    </a:lnTo>
                    <a:lnTo>
                      <a:pt x="156" y="12"/>
                    </a:lnTo>
                    <a:lnTo>
                      <a:pt x="170" y="9"/>
                    </a:lnTo>
                    <a:lnTo>
                      <a:pt x="183" y="6"/>
                    </a:lnTo>
                    <a:lnTo>
                      <a:pt x="197" y="6"/>
                    </a:lnTo>
                    <a:lnTo>
                      <a:pt x="215" y="6"/>
                    </a:lnTo>
                    <a:lnTo>
                      <a:pt x="229" y="3"/>
                    </a:lnTo>
                    <a:lnTo>
                      <a:pt x="243" y="3"/>
                    </a:lnTo>
                    <a:lnTo>
                      <a:pt x="261" y="3"/>
                    </a:lnTo>
                    <a:lnTo>
                      <a:pt x="270" y="0"/>
                    </a:lnTo>
                    <a:lnTo>
                      <a:pt x="288" y="0"/>
                    </a:lnTo>
                    <a:lnTo>
                      <a:pt x="302" y="0"/>
                    </a:lnTo>
                    <a:lnTo>
                      <a:pt x="316" y="0"/>
                    </a:lnTo>
                    <a:lnTo>
                      <a:pt x="329" y="0"/>
                    </a:lnTo>
                    <a:lnTo>
                      <a:pt x="339" y="0"/>
                    </a:lnTo>
                    <a:lnTo>
                      <a:pt x="357" y="0"/>
                    </a:lnTo>
                    <a:lnTo>
                      <a:pt x="375" y="0"/>
                    </a:lnTo>
                    <a:lnTo>
                      <a:pt x="384" y="0"/>
                    </a:lnTo>
                    <a:lnTo>
                      <a:pt x="393" y="0"/>
                    </a:lnTo>
                    <a:lnTo>
                      <a:pt x="407" y="0"/>
                    </a:lnTo>
                    <a:lnTo>
                      <a:pt x="421" y="0"/>
                    </a:lnTo>
                    <a:lnTo>
                      <a:pt x="430" y="0"/>
                    </a:lnTo>
                    <a:lnTo>
                      <a:pt x="444" y="0"/>
                    </a:lnTo>
                    <a:lnTo>
                      <a:pt x="462" y="0"/>
                    </a:lnTo>
                    <a:lnTo>
                      <a:pt x="471" y="3"/>
                    </a:lnTo>
                    <a:lnTo>
                      <a:pt x="480" y="3"/>
                    </a:lnTo>
                    <a:lnTo>
                      <a:pt x="494" y="3"/>
                    </a:lnTo>
                    <a:lnTo>
                      <a:pt x="503" y="3"/>
                    </a:lnTo>
                    <a:lnTo>
                      <a:pt x="517" y="6"/>
                    </a:lnTo>
                    <a:lnTo>
                      <a:pt x="535" y="6"/>
                    </a:lnTo>
                    <a:lnTo>
                      <a:pt x="553" y="9"/>
                    </a:lnTo>
                    <a:lnTo>
                      <a:pt x="567" y="9"/>
                    </a:lnTo>
                    <a:lnTo>
                      <a:pt x="581" y="12"/>
                    </a:lnTo>
                    <a:lnTo>
                      <a:pt x="595" y="15"/>
                    </a:lnTo>
                    <a:lnTo>
                      <a:pt x="604" y="15"/>
                    </a:lnTo>
                    <a:lnTo>
                      <a:pt x="617" y="17"/>
                    </a:lnTo>
                    <a:lnTo>
                      <a:pt x="627" y="20"/>
                    </a:lnTo>
                    <a:lnTo>
                      <a:pt x="622" y="20"/>
                    </a:lnTo>
                    <a:lnTo>
                      <a:pt x="617" y="20"/>
                    </a:lnTo>
                    <a:lnTo>
                      <a:pt x="613" y="20"/>
                    </a:lnTo>
                    <a:lnTo>
                      <a:pt x="604" y="23"/>
                    </a:lnTo>
                    <a:lnTo>
                      <a:pt x="590" y="20"/>
                    </a:lnTo>
                    <a:lnTo>
                      <a:pt x="576" y="20"/>
                    </a:lnTo>
                    <a:lnTo>
                      <a:pt x="567" y="20"/>
                    </a:lnTo>
                    <a:lnTo>
                      <a:pt x="558" y="20"/>
                    </a:lnTo>
                    <a:lnTo>
                      <a:pt x="535" y="17"/>
                    </a:lnTo>
                    <a:lnTo>
                      <a:pt x="517" y="17"/>
                    </a:lnTo>
                    <a:lnTo>
                      <a:pt x="499" y="17"/>
                    </a:lnTo>
                    <a:lnTo>
                      <a:pt x="485" y="17"/>
                    </a:lnTo>
                    <a:lnTo>
                      <a:pt x="467" y="17"/>
                    </a:lnTo>
                    <a:lnTo>
                      <a:pt x="448" y="17"/>
                    </a:lnTo>
                    <a:lnTo>
                      <a:pt x="430" y="17"/>
                    </a:lnTo>
                    <a:lnTo>
                      <a:pt x="416" y="17"/>
                    </a:lnTo>
                    <a:lnTo>
                      <a:pt x="393" y="17"/>
                    </a:lnTo>
                    <a:lnTo>
                      <a:pt x="375" y="20"/>
                    </a:lnTo>
                    <a:lnTo>
                      <a:pt x="366" y="20"/>
                    </a:lnTo>
                    <a:lnTo>
                      <a:pt x="357" y="20"/>
                    </a:lnTo>
                    <a:lnTo>
                      <a:pt x="343" y="20"/>
                    </a:lnTo>
                    <a:lnTo>
                      <a:pt x="334" y="23"/>
                    </a:lnTo>
                    <a:lnTo>
                      <a:pt x="320" y="23"/>
                    </a:lnTo>
                    <a:lnTo>
                      <a:pt x="307" y="26"/>
                    </a:lnTo>
                    <a:lnTo>
                      <a:pt x="293" y="26"/>
                    </a:lnTo>
                    <a:lnTo>
                      <a:pt x="284" y="29"/>
                    </a:lnTo>
                    <a:lnTo>
                      <a:pt x="270" y="29"/>
                    </a:lnTo>
                    <a:lnTo>
                      <a:pt x="252" y="29"/>
                    </a:lnTo>
                    <a:lnTo>
                      <a:pt x="238" y="32"/>
                    </a:lnTo>
                    <a:lnTo>
                      <a:pt x="224" y="34"/>
                    </a:lnTo>
                    <a:lnTo>
                      <a:pt x="211" y="34"/>
                    </a:lnTo>
                    <a:lnTo>
                      <a:pt x="197" y="34"/>
                    </a:lnTo>
                    <a:lnTo>
                      <a:pt x="183" y="34"/>
                    </a:lnTo>
                    <a:lnTo>
                      <a:pt x="174" y="37"/>
                    </a:lnTo>
                    <a:lnTo>
                      <a:pt x="160" y="40"/>
                    </a:lnTo>
                    <a:lnTo>
                      <a:pt x="147" y="40"/>
                    </a:lnTo>
                    <a:lnTo>
                      <a:pt x="133" y="43"/>
                    </a:lnTo>
                    <a:lnTo>
                      <a:pt x="124" y="43"/>
                    </a:lnTo>
                    <a:lnTo>
                      <a:pt x="110" y="43"/>
                    </a:lnTo>
                    <a:lnTo>
                      <a:pt x="101" y="49"/>
                    </a:lnTo>
                    <a:lnTo>
                      <a:pt x="92" y="49"/>
                    </a:lnTo>
                    <a:lnTo>
                      <a:pt x="83" y="52"/>
                    </a:lnTo>
                    <a:lnTo>
                      <a:pt x="64" y="54"/>
                    </a:lnTo>
                    <a:lnTo>
                      <a:pt x="46" y="54"/>
                    </a:lnTo>
                    <a:lnTo>
                      <a:pt x="28" y="57"/>
                    </a:lnTo>
                    <a:lnTo>
                      <a:pt x="0" y="63"/>
                    </a:lnTo>
                    <a:lnTo>
                      <a:pt x="37"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0" name="Freeform 174"/>
              <p:cNvSpPr>
                <a:spLocks/>
              </p:cNvSpPr>
              <p:nvPr>
                <p:custDataLst>
                  <p:tags r:id="rId84"/>
                </p:custDataLst>
              </p:nvPr>
            </p:nvSpPr>
            <p:spPr bwMode="gray">
              <a:xfrm>
                <a:off x="2628" y="2323"/>
                <a:ext cx="614" cy="45"/>
              </a:xfrm>
              <a:custGeom>
                <a:avLst/>
                <a:gdLst>
                  <a:gd name="T0" fmla="*/ 141 w 599"/>
                  <a:gd name="T1" fmla="*/ 6 h 49"/>
                  <a:gd name="T2" fmla="*/ 172 w 599"/>
                  <a:gd name="T3" fmla="*/ 6 h 49"/>
                  <a:gd name="T4" fmla="*/ 208 w 599"/>
                  <a:gd name="T5" fmla="*/ 3 h 49"/>
                  <a:gd name="T6" fmla="*/ 240 w 599"/>
                  <a:gd name="T7" fmla="*/ 0 h 49"/>
                  <a:gd name="T8" fmla="*/ 270 w 599"/>
                  <a:gd name="T9" fmla="*/ 0 h 49"/>
                  <a:gd name="T10" fmla="*/ 306 w 599"/>
                  <a:gd name="T11" fmla="*/ 0 h 49"/>
                  <a:gd name="T12" fmla="*/ 344 w 599"/>
                  <a:gd name="T13" fmla="*/ 0 h 49"/>
                  <a:gd name="T14" fmla="*/ 369 w 599"/>
                  <a:gd name="T15" fmla="*/ 0 h 49"/>
                  <a:gd name="T16" fmla="*/ 406 w 599"/>
                  <a:gd name="T17" fmla="*/ 0 h 49"/>
                  <a:gd name="T18" fmla="*/ 436 w 599"/>
                  <a:gd name="T19" fmla="*/ 0 h 49"/>
                  <a:gd name="T20" fmla="*/ 467 w 599"/>
                  <a:gd name="T21" fmla="*/ 3 h 49"/>
                  <a:gd name="T22" fmla="*/ 497 w 599"/>
                  <a:gd name="T23" fmla="*/ 6 h 49"/>
                  <a:gd name="T24" fmla="*/ 534 w 599"/>
                  <a:gd name="T25" fmla="*/ 6 h 49"/>
                  <a:gd name="T26" fmla="*/ 559 w 599"/>
                  <a:gd name="T27" fmla="*/ 6 h 49"/>
                  <a:gd name="T28" fmla="*/ 584 w 599"/>
                  <a:gd name="T29" fmla="*/ 6 h 49"/>
                  <a:gd name="T30" fmla="*/ 607 w 599"/>
                  <a:gd name="T31" fmla="*/ 6 h 49"/>
                  <a:gd name="T32" fmla="*/ 651 w 599"/>
                  <a:gd name="T33" fmla="*/ 7 h 49"/>
                  <a:gd name="T34" fmla="*/ 695 w 599"/>
                  <a:gd name="T35" fmla="*/ 10 h 49"/>
                  <a:gd name="T36" fmla="*/ 732 w 599"/>
                  <a:gd name="T37" fmla="*/ 12 h 49"/>
                  <a:gd name="T38" fmla="*/ 763 w 599"/>
                  <a:gd name="T39" fmla="*/ 14 h 49"/>
                  <a:gd name="T40" fmla="*/ 793 w 599"/>
                  <a:gd name="T41" fmla="*/ 16 h 49"/>
                  <a:gd name="T42" fmla="*/ 806 w 599"/>
                  <a:gd name="T43" fmla="*/ 17 h 49"/>
                  <a:gd name="T44" fmla="*/ 781 w 599"/>
                  <a:gd name="T45" fmla="*/ 17 h 49"/>
                  <a:gd name="T46" fmla="*/ 732 w 599"/>
                  <a:gd name="T47" fmla="*/ 15 h 49"/>
                  <a:gd name="T48" fmla="*/ 682 w 599"/>
                  <a:gd name="T49" fmla="*/ 14 h 49"/>
                  <a:gd name="T50" fmla="*/ 628 w 599"/>
                  <a:gd name="T51" fmla="*/ 13 h 49"/>
                  <a:gd name="T52" fmla="*/ 584 w 599"/>
                  <a:gd name="T53" fmla="*/ 12 h 49"/>
                  <a:gd name="T54" fmla="*/ 559 w 599"/>
                  <a:gd name="T55" fmla="*/ 11 h 49"/>
                  <a:gd name="T56" fmla="*/ 529 w 599"/>
                  <a:gd name="T57" fmla="*/ 11 h 49"/>
                  <a:gd name="T58" fmla="*/ 497 w 599"/>
                  <a:gd name="T59" fmla="*/ 11 h 49"/>
                  <a:gd name="T60" fmla="*/ 461 w 599"/>
                  <a:gd name="T61" fmla="*/ 11 h 49"/>
                  <a:gd name="T62" fmla="*/ 436 w 599"/>
                  <a:gd name="T63" fmla="*/ 11 h 49"/>
                  <a:gd name="T64" fmla="*/ 400 w 599"/>
                  <a:gd name="T65" fmla="*/ 11 h 49"/>
                  <a:gd name="T66" fmla="*/ 369 w 599"/>
                  <a:gd name="T67" fmla="*/ 11 h 49"/>
                  <a:gd name="T68" fmla="*/ 344 w 599"/>
                  <a:gd name="T69" fmla="*/ 11 h 49"/>
                  <a:gd name="T70" fmla="*/ 306 w 599"/>
                  <a:gd name="T71" fmla="*/ 11 h 49"/>
                  <a:gd name="T72" fmla="*/ 270 w 599"/>
                  <a:gd name="T73" fmla="*/ 11 h 49"/>
                  <a:gd name="T74" fmla="*/ 240 w 599"/>
                  <a:gd name="T75" fmla="*/ 11 h 49"/>
                  <a:gd name="T76" fmla="*/ 208 w 599"/>
                  <a:gd name="T77" fmla="*/ 11 h 49"/>
                  <a:gd name="T78" fmla="*/ 172 w 599"/>
                  <a:gd name="T79" fmla="*/ 11 h 49"/>
                  <a:gd name="T80" fmla="*/ 141 w 599"/>
                  <a:gd name="T81" fmla="*/ 12 h 49"/>
                  <a:gd name="T82" fmla="*/ 116 w 599"/>
                  <a:gd name="T83" fmla="*/ 12 h 49"/>
                  <a:gd name="T84" fmla="*/ 88 w 599"/>
                  <a:gd name="T85" fmla="*/ 13 h 49"/>
                  <a:gd name="T86" fmla="*/ 53 w 599"/>
                  <a:gd name="T87" fmla="*/ 13 h 49"/>
                  <a:gd name="T88" fmla="*/ 18 w 599"/>
                  <a:gd name="T89" fmla="*/ 13 h 49"/>
                  <a:gd name="T90" fmla="*/ 0 w 599"/>
                  <a:gd name="T91" fmla="*/ 12 h 49"/>
                  <a:gd name="T92" fmla="*/ 35 w 599"/>
                  <a:gd name="T93" fmla="*/ 8 h 49"/>
                  <a:gd name="T94" fmla="*/ 74 w 599"/>
                  <a:gd name="T95" fmla="*/ 6 h 49"/>
                  <a:gd name="T96" fmla="*/ 103 w 599"/>
                  <a:gd name="T97" fmla="*/ 6 h 49"/>
                  <a:gd name="T98" fmla="*/ 116 w 599"/>
                  <a:gd name="T99" fmla="*/ 6 h 49"/>
                  <a:gd name="T100" fmla="*/ 122 w 599"/>
                  <a:gd name="T101" fmla="*/ 6 h 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9"/>
                  <a:gd name="T154" fmla="*/ 0 h 49"/>
                  <a:gd name="T155" fmla="*/ 599 w 599"/>
                  <a:gd name="T156" fmla="*/ 49 h 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9" h="49">
                    <a:moveTo>
                      <a:pt x="91" y="12"/>
                    </a:moveTo>
                    <a:lnTo>
                      <a:pt x="105" y="9"/>
                    </a:lnTo>
                    <a:lnTo>
                      <a:pt x="114" y="6"/>
                    </a:lnTo>
                    <a:lnTo>
                      <a:pt x="128" y="6"/>
                    </a:lnTo>
                    <a:lnTo>
                      <a:pt x="142" y="3"/>
                    </a:lnTo>
                    <a:lnTo>
                      <a:pt x="155" y="3"/>
                    </a:lnTo>
                    <a:lnTo>
                      <a:pt x="169" y="0"/>
                    </a:lnTo>
                    <a:lnTo>
                      <a:pt x="178" y="0"/>
                    </a:lnTo>
                    <a:lnTo>
                      <a:pt x="192" y="0"/>
                    </a:lnTo>
                    <a:lnTo>
                      <a:pt x="201" y="0"/>
                    </a:lnTo>
                    <a:lnTo>
                      <a:pt x="219" y="0"/>
                    </a:lnTo>
                    <a:lnTo>
                      <a:pt x="228" y="0"/>
                    </a:lnTo>
                    <a:lnTo>
                      <a:pt x="242" y="0"/>
                    </a:lnTo>
                    <a:lnTo>
                      <a:pt x="256" y="0"/>
                    </a:lnTo>
                    <a:lnTo>
                      <a:pt x="265" y="0"/>
                    </a:lnTo>
                    <a:lnTo>
                      <a:pt x="274" y="0"/>
                    </a:lnTo>
                    <a:lnTo>
                      <a:pt x="292" y="0"/>
                    </a:lnTo>
                    <a:lnTo>
                      <a:pt x="301" y="0"/>
                    </a:lnTo>
                    <a:lnTo>
                      <a:pt x="311" y="0"/>
                    </a:lnTo>
                    <a:lnTo>
                      <a:pt x="324" y="0"/>
                    </a:lnTo>
                    <a:lnTo>
                      <a:pt x="338" y="3"/>
                    </a:lnTo>
                    <a:lnTo>
                      <a:pt x="347" y="3"/>
                    </a:lnTo>
                    <a:lnTo>
                      <a:pt x="361" y="3"/>
                    </a:lnTo>
                    <a:lnTo>
                      <a:pt x="370" y="6"/>
                    </a:lnTo>
                    <a:lnTo>
                      <a:pt x="384" y="6"/>
                    </a:lnTo>
                    <a:lnTo>
                      <a:pt x="397" y="6"/>
                    </a:lnTo>
                    <a:lnTo>
                      <a:pt x="407" y="9"/>
                    </a:lnTo>
                    <a:lnTo>
                      <a:pt x="416" y="9"/>
                    </a:lnTo>
                    <a:lnTo>
                      <a:pt x="425" y="12"/>
                    </a:lnTo>
                    <a:lnTo>
                      <a:pt x="434" y="12"/>
                    </a:lnTo>
                    <a:lnTo>
                      <a:pt x="448" y="15"/>
                    </a:lnTo>
                    <a:lnTo>
                      <a:pt x="452" y="15"/>
                    </a:lnTo>
                    <a:lnTo>
                      <a:pt x="466" y="17"/>
                    </a:lnTo>
                    <a:lnTo>
                      <a:pt x="484" y="20"/>
                    </a:lnTo>
                    <a:lnTo>
                      <a:pt x="498" y="23"/>
                    </a:lnTo>
                    <a:lnTo>
                      <a:pt x="516" y="26"/>
                    </a:lnTo>
                    <a:lnTo>
                      <a:pt x="535" y="29"/>
                    </a:lnTo>
                    <a:lnTo>
                      <a:pt x="544" y="32"/>
                    </a:lnTo>
                    <a:lnTo>
                      <a:pt x="557" y="35"/>
                    </a:lnTo>
                    <a:lnTo>
                      <a:pt x="567" y="37"/>
                    </a:lnTo>
                    <a:lnTo>
                      <a:pt x="580" y="40"/>
                    </a:lnTo>
                    <a:lnTo>
                      <a:pt x="589" y="43"/>
                    </a:lnTo>
                    <a:lnTo>
                      <a:pt x="599" y="49"/>
                    </a:lnTo>
                    <a:lnTo>
                      <a:pt x="589" y="49"/>
                    </a:lnTo>
                    <a:lnTo>
                      <a:pt x="580" y="46"/>
                    </a:lnTo>
                    <a:lnTo>
                      <a:pt x="562" y="43"/>
                    </a:lnTo>
                    <a:lnTo>
                      <a:pt x="544" y="40"/>
                    </a:lnTo>
                    <a:lnTo>
                      <a:pt x="530" y="37"/>
                    </a:lnTo>
                    <a:lnTo>
                      <a:pt x="507" y="37"/>
                    </a:lnTo>
                    <a:lnTo>
                      <a:pt x="489" y="35"/>
                    </a:lnTo>
                    <a:lnTo>
                      <a:pt x="466" y="35"/>
                    </a:lnTo>
                    <a:lnTo>
                      <a:pt x="448" y="35"/>
                    </a:lnTo>
                    <a:lnTo>
                      <a:pt x="434" y="32"/>
                    </a:lnTo>
                    <a:lnTo>
                      <a:pt x="425" y="32"/>
                    </a:lnTo>
                    <a:lnTo>
                      <a:pt x="416" y="29"/>
                    </a:lnTo>
                    <a:lnTo>
                      <a:pt x="402" y="29"/>
                    </a:lnTo>
                    <a:lnTo>
                      <a:pt x="393" y="29"/>
                    </a:lnTo>
                    <a:lnTo>
                      <a:pt x="379" y="29"/>
                    </a:lnTo>
                    <a:lnTo>
                      <a:pt x="370" y="29"/>
                    </a:lnTo>
                    <a:lnTo>
                      <a:pt x="361" y="29"/>
                    </a:lnTo>
                    <a:lnTo>
                      <a:pt x="343" y="29"/>
                    </a:lnTo>
                    <a:lnTo>
                      <a:pt x="333" y="29"/>
                    </a:lnTo>
                    <a:lnTo>
                      <a:pt x="324" y="29"/>
                    </a:lnTo>
                    <a:lnTo>
                      <a:pt x="311" y="29"/>
                    </a:lnTo>
                    <a:lnTo>
                      <a:pt x="297" y="29"/>
                    </a:lnTo>
                    <a:lnTo>
                      <a:pt x="288" y="29"/>
                    </a:lnTo>
                    <a:lnTo>
                      <a:pt x="274" y="29"/>
                    </a:lnTo>
                    <a:lnTo>
                      <a:pt x="265" y="29"/>
                    </a:lnTo>
                    <a:lnTo>
                      <a:pt x="256" y="29"/>
                    </a:lnTo>
                    <a:lnTo>
                      <a:pt x="242" y="29"/>
                    </a:lnTo>
                    <a:lnTo>
                      <a:pt x="228" y="29"/>
                    </a:lnTo>
                    <a:lnTo>
                      <a:pt x="219" y="29"/>
                    </a:lnTo>
                    <a:lnTo>
                      <a:pt x="201" y="29"/>
                    </a:lnTo>
                    <a:lnTo>
                      <a:pt x="187" y="29"/>
                    </a:lnTo>
                    <a:lnTo>
                      <a:pt x="178" y="29"/>
                    </a:lnTo>
                    <a:lnTo>
                      <a:pt x="169" y="29"/>
                    </a:lnTo>
                    <a:lnTo>
                      <a:pt x="155" y="29"/>
                    </a:lnTo>
                    <a:lnTo>
                      <a:pt x="137" y="29"/>
                    </a:lnTo>
                    <a:lnTo>
                      <a:pt x="128" y="29"/>
                    </a:lnTo>
                    <a:lnTo>
                      <a:pt x="119" y="32"/>
                    </a:lnTo>
                    <a:lnTo>
                      <a:pt x="105" y="32"/>
                    </a:lnTo>
                    <a:lnTo>
                      <a:pt x="91" y="32"/>
                    </a:lnTo>
                    <a:lnTo>
                      <a:pt x="87" y="32"/>
                    </a:lnTo>
                    <a:lnTo>
                      <a:pt x="73" y="35"/>
                    </a:lnTo>
                    <a:lnTo>
                      <a:pt x="64" y="35"/>
                    </a:lnTo>
                    <a:lnTo>
                      <a:pt x="55" y="35"/>
                    </a:lnTo>
                    <a:lnTo>
                      <a:pt x="41" y="35"/>
                    </a:lnTo>
                    <a:lnTo>
                      <a:pt x="36" y="35"/>
                    </a:lnTo>
                    <a:lnTo>
                      <a:pt x="18" y="35"/>
                    </a:lnTo>
                    <a:lnTo>
                      <a:pt x="14" y="35"/>
                    </a:lnTo>
                    <a:lnTo>
                      <a:pt x="0" y="32"/>
                    </a:lnTo>
                    <a:lnTo>
                      <a:pt x="9" y="29"/>
                    </a:lnTo>
                    <a:lnTo>
                      <a:pt x="23" y="23"/>
                    </a:lnTo>
                    <a:lnTo>
                      <a:pt x="36" y="20"/>
                    </a:lnTo>
                    <a:lnTo>
                      <a:pt x="55" y="17"/>
                    </a:lnTo>
                    <a:lnTo>
                      <a:pt x="68" y="15"/>
                    </a:lnTo>
                    <a:lnTo>
                      <a:pt x="78" y="15"/>
                    </a:lnTo>
                    <a:lnTo>
                      <a:pt x="87" y="12"/>
                    </a:lnTo>
                    <a:lnTo>
                      <a:pt x="91" y="12"/>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1" name="Freeform 175"/>
              <p:cNvSpPr>
                <a:spLocks/>
              </p:cNvSpPr>
              <p:nvPr>
                <p:custDataLst>
                  <p:tags r:id="rId85"/>
                </p:custDataLst>
              </p:nvPr>
            </p:nvSpPr>
            <p:spPr bwMode="gray">
              <a:xfrm>
                <a:off x="1260" y="2190"/>
                <a:ext cx="993" cy="80"/>
              </a:xfrm>
              <a:custGeom>
                <a:avLst/>
                <a:gdLst>
                  <a:gd name="T0" fmla="*/ 53 w 969"/>
                  <a:gd name="T1" fmla="*/ 3 h 88"/>
                  <a:gd name="T2" fmla="*/ 97 w 969"/>
                  <a:gd name="T3" fmla="*/ 5 h 88"/>
                  <a:gd name="T4" fmla="*/ 159 w 969"/>
                  <a:gd name="T5" fmla="*/ 5 h 88"/>
                  <a:gd name="T6" fmla="*/ 220 w 969"/>
                  <a:gd name="T7" fmla="*/ 5 h 88"/>
                  <a:gd name="T8" fmla="*/ 257 w 969"/>
                  <a:gd name="T9" fmla="*/ 6 h 88"/>
                  <a:gd name="T10" fmla="*/ 301 w 969"/>
                  <a:gd name="T11" fmla="*/ 6 h 88"/>
                  <a:gd name="T12" fmla="*/ 343 w 969"/>
                  <a:gd name="T13" fmla="*/ 7 h 88"/>
                  <a:gd name="T14" fmla="*/ 385 w 969"/>
                  <a:gd name="T15" fmla="*/ 9 h 88"/>
                  <a:gd name="T16" fmla="*/ 436 w 969"/>
                  <a:gd name="T17" fmla="*/ 11 h 88"/>
                  <a:gd name="T18" fmla="*/ 480 w 969"/>
                  <a:gd name="T19" fmla="*/ 11 h 88"/>
                  <a:gd name="T20" fmla="*/ 522 w 969"/>
                  <a:gd name="T21" fmla="*/ 11 h 88"/>
                  <a:gd name="T22" fmla="*/ 564 w 969"/>
                  <a:gd name="T23" fmla="*/ 12 h 88"/>
                  <a:gd name="T24" fmla="*/ 620 w 969"/>
                  <a:gd name="T25" fmla="*/ 13 h 88"/>
                  <a:gd name="T26" fmla="*/ 663 w 969"/>
                  <a:gd name="T27" fmla="*/ 14 h 88"/>
                  <a:gd name="T28" fmla="*/ 705 w 969"/>
                  <a:gd name="T29" fmla="*/ 15 h 88"/>
                  <a:gd name="T30" fmla="*/ 754 w 969"/>
                  <a:gd name="T31" fmla="*/ 15 h 88"/>
                  <a:gd name="T32" fmla="*/ 834 w 969"/>
                  <a:gd name="T33" fmla="*/ 16 h 88"/>
                  <a:gd name="T34" fmla="*/ 897 w 969"/>
                  <a:gd name="T35" fmla="*/ 16 h 88"/>
                  <a:gd name="T36" fmla="*/ 956 w 969"/>
                  <a:gd name="T37" fmla="*/ 16 h 88"/>
                  <a:gd name="T38" fmla="*/ 1018 w 969"/>
                  <a:gd name="T39" fmla="*/ 16 h 88"/>
                  <a:gd name="T40" fmla="*/ 1079 w 969"/>
                  <a:gd name="T41" fmla="*/ 17 h 88"/>
                  <a:gd name="T42" fmla="*/ 1134 w 969"/>
                  <a:gd name="T43" fmla="*/ 17 h 88"/>
                  <a:gd name="T44" fmla="*/ 1177 w 969"/>
                  <a:gd name="T45" fmla="*/ 18 h 88"/>
                  <a:gd name="T46" fmla="*/ 1240 w 969"/>
                  <a:gd name="T47" fmla="*/ 19 h 88"/>
                  <a:gd name="T48" fmla="*/ 1281 w 969"/>
                  <a:gd name="T49" fmla="*/ 20 h 88"/>
                  <a:gd name="T50" fmla="*/ 1299 w 969"/>
                  <a:gd name="T51" fmla="*/ 28 h 88"/>
                  <a:gd name="T52" fmla="*/ 1257 w 969"/>
                  <a:gd name="T53" fmla="*/ 28 h 88"/>
                  <a:gd name="T54" fmla="*/ 1207 w 969"/>
                  <a:gd name="T55" fmla="*/ 26 h 88"/>
                  <a:gd name="T56" fmla="*/ 1158 w 969"/>
                  <a:gd name="T57" fmla="*/ 26 h 88"/>
                  <a:gd name="T58" fmla="*/ 1103 w 969"/>
                  <a:gd name="T59" fmla="*/ 26 h 88"/>
                  <a:gd name="T60" fmla="*/ 1029 w 969"/>
                  <a:gd name="T61" fmla="*/ 25 h 88"/>
                  <a:gd name="T62" fmla="*/ 968 w 969"/>
                  <a:gd name="T63" fmla="*/ 25 h 88"/>
                  <a:gd name="T64" fmla="*/ 901 w 969"/>
                  <a:gd name="T65" fmla="*/ 25 h 88"/>
                  <a:gd name="T66" fmla="*/ 840 w 969"/>
                  <a:gd name="T67" fmla="*/ 25 h 88"/>
                  <a:gd name="T68" fmla="*/ 773 w 969"/>
                  <a:gd name="T69" fmla="*/ 23 h 88"/>
                  <a:gd name="T70" fmla="*/ 718 w 969"/>
                  <a:gd name="T71" fmla="*/ 23 h 88"/>
                  <a:gd name="T72" fmla="*/ 651 w 969"/>
                  <a:gd name="T73" fmla="*/ 22 h 88"/>
                  <a:gd name="T74" fmla="*/ 612 w 969"/>
                  <a:gd name="T75" fmla="*/ 21 h 88"/>
                  <a:gd name="T76" fmla="*/ 564 w 969"/>
                  <a:gd name="T77" fmla="*/ 20 h 88"/>
                  <a:gd name="T78" fmla="*/ 522 w 969"/>
                  <a:gd name="T79" fmla="*/ 19 h 88"/>
                  <a:gd name="T80" fmla="*/ 472 w 969"/>
                  <a:gd name="T81" fmla="*/ 18 h 88"/>
                  <a:gd name="T82" fmla="*/ 429 w 969"/>
                  <a:gd name="T83" fmla="*/ 17 h 88"/>
                  <a:gd name="T84" fmla="*/ 374 w 969"/>
                  <a:gd name="T85" fmla="*/ 16 h 88"/>
                  <a:gd name="T86" fmla="*/ 331 w 969"/>
                  <a:gd name="T87" fmla="*/ 15 h 88"/>
                  <a:gd name="T88" fmla="*/ 282 w 969"/>
                  <a:gd name="T89" fmla="*/ 15 h 88"/>
                  <a:gd name="T90" fmla="*/ 241 w 969"/>
                  <a:gd name="T91" fmla="*/ 14 h 88"/>
                  <a:gd name="T92" fmla="*/ 198 w 969"/>
                  <a:gd name="T93" fmla="*/ 12 h 88"/>
                  <a:gd name="T94" fmla="*/ 129 w 969"/>
                  <a:gd name="T95" fmla="*/ 11 h 88"/>
                  <a:gd name="T96" fmla="*/ 65 w 969"/>
                  <a:gd name="T97" fmla="*/ 10 h 88"/>
                  <a:gd name="T98" fmla="*/ 19 w 969"/>
                  <a:gd name="T99" fmla="*/ 9 h 88"/>
                  <a:gd name="T100" fmla="*/ 44 w 969"/>
                  <a:gd name="T101" fmla="*/ 0 h 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9"/>
                  <a:gd name="T154" fmla="*/ 0 h 88"/>
                  <a:gd name="T155" fmla="*/ 969 w 969"/>
                  <a:gd name="T156" fmla="*/ 88 h 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9" h="88">
                    <a:moveTo>
                      <a:pt x="32" y="0"/>
                    </a:moveTo>
                    <a:lnTo>
                      <a:pt x="37" y="0"/>
                    </a:lnTo>
                    <a:lnTo>
                      <a:pt x="41" y="3"/>
                    </a:lnTo>
                    <a:lnTo>
                      <a:pt x="51" y="3"/>
                    </a:lnTo>
                    <a:lnTo>
                      <a:pt x="60" y="6"/>
                    </a:lnTo>
                    <a:lnTo>
                      <a:pt x="73" y="6"/>
                    </a:lnTo>
                    <a:lnTo>
                      <a:pt x="87" y="9"/>
                    </a:lnTo>
                    <a:lnTo>
                      <a:pt x="101" y="9"/>
                    </a:lnTo>
                    <a:lnTo>
                      <a:pt x="119" y="12"/>
                    </a:lnTo>
                    <a:lnTo>
                      <a:pt x="133" y="12"/>
                    </a:lnTo>
                    <a:lnTo>
                      <a:pt x="151" y="14"/>
                    </a:lnTo>
                    <a:lnTo>
                      <a:pt x="165" y="14"/>
                    </a:lnTo>
                    <a:lnTo>
                      <a:pt x="169" y="17"/>
                    </a:lnTo>
                    <a:lnTo>
                      <a:pt x="183" y="17"/>
                    </a:lnTo>
                    <a:lnTo>
                      <a:pt x="192" y="20"/>
                    </a:lnTo>
                    <a:lnTo>
                      <a:pt x="201" y="20"/>
                    </a:lnTo>
                    <a:lnTo>
                      <a:pt x="211" y="20"/>
                    </a:lnTo>
                    <a:lnTo>
                      <a:pt x="224" y="20"/>
                    </a:lnTo>
                    <a:lnTo>
                      <a:pt x="233" y="23"/>
                    </a:lnTo>
                    <a:lnTo>
                      <a:pt x="243" y="23"/>
                    </a:lnTo>
                    <a:lnTo>
                      <a:pt x="256" y="23"/>
                    </a:lnTo>
                    <a:lnTo>
                      <a:pt x="270" y="23"/>
                    </a:lnTo>
                    <a:lnTo>
                      <a:pt x="279" y="26"/>
                    </a:lnTo>
                    <a:lnTo>
                      <a:pt x="288" y="26"/>
                    </a:lnTo>
                    <a:lnTo>
                      <a:pt x="302" y="29"/>
                    </a:lnTo>
                    <a:lnTo>
                      <a:pt x="316" y="29"/>
                    </a:lnTo>
                    <a:lnTo>
                      <a:pt x="325" y="32"/>
                    </a:lnTo>
                    <a:lnTo>
                      <a:pt x="334" y="32"/>
                    </a:lnTo>
                    <a:lnTo>
                      <a:pt x="348" y="32"/>
                    </a:lnTo>
                    <a:lnTo>
                      <a:pt x="357" y="34"/>
                    </a:lnTo>
                    <a:lnTo>
                      <a:pt x="371" y="34"/>
                    </a:lnTo>
                    <a:lnTo>
                      <a:pt x="380" y="34"/>
                    </a:lnTo>
                    <a:lnTo>
                      <a:pt x="389" y="34"/>
                    </a:lnTo>
                    <a:lnTo>
                      <a:pt x="403" y="34"/>
                    </a:lnTo>
                    <a:lnTo>
                      <a:pt x="416" y="37"/>
                    </a:lnTo>
                    <a:lnTo>
                      <a:pt x="421" y="37"/>
                    </a:lnTo>
                    <a:lnTo>
                      <a:pt x="439" y="40"/>
                    </a:lnTo>
                    <a:lnTo>
                      <a:pt x="448" y="40"/>
                    </a:lnTo>
                    <a:lnTo>
                      <a:pt x="462" y="40"/>
                    </a:lnTo>
                    <a:lnTo>
                      <a:pt x="471" y="40"/>
                    </a:lnTo>
                    <a:lnTo>
                      <a:pt x="480" y="43"/>
                    </a:lnTo>
                    <a:lnTo>
                      <a:pt x="494" y="43"/>
                    </a:lnTo>
                    <a:lnTo>
                      <a:pt x="503" y="43"/>
                    </a:lnTo>
                    <a:lnTo>
                      <a:pt x="512" y="43"/>
                    </a:lnTo>
                    <a:lnTo>
                      <a:pt x="526" y="46"/>
                    </a:lnTo>
                    <a:lnTo>
                      <a:pt x="535" y="46"/>
                    </a:lnTo>
                    <a:lnTo>
                      <a:pt x="544" y="46"/>
                    </a:lnTo>
                    <a:lnTo>
                      <a:pt x="562" y="46"/>
                    </a:lnTo>
                    <a:lnTo>
                      <a:pt x="585" y="46"/>
                    </a:lnTo>
                    <a:lnTo>
                      <a:pt x="599" y="49"/>
                    </a:lnTo>
                    <a:lnTo>
                      <a:pt x="622" y="51"/>
                    </a:lnTo>
                    <a:lnTo>
                      <a:pt x="636" y="51"/>
                    </a:lnTo>
                    <a:lnTo>
                      <a:pt x="654" y="51"/>
                    </a:lnTo>
                    <a:lnTo>
                      <a:pt x="668" y="51"/>
                    </a:lnTo>
                    <a:lnTo>
                      <a:pt x="681" y="51"/>
                    </a:lnTo>
                    <a:lnTo>
                      <a:pt x="700" y="51"/>
                    </a:lnTo>
                    <a:lnTo>
                      <a:pt x="713" y="51"/>
                    </a:lnTo>
                    <a:lnTo>
                      <a:pt x="732" y="51"/>
                    </a:lnTo>
                    <a:lnTo>
                      <a:pt x="750" y="51"/>
                    </a:lnTo>
                    <a:lnTo>
                      <a:pt x="759" y="51"/>
                    </a:lnTo>
                    <a:lnTo>
                      <a:pt x="777" y="51"/>
                    </a:lnTo>
                    <a:lnTo>
                      <a:pt x="786" y="54"/>
                    </a:lnTo>
                    <a:lnTo>
                      <a:pt x="805" y="54"/>
                    </a:lnTo>
                    <a:lnTo>
                      <a:pt x="818" y="54"/>
                    </a:lnTo>
                    <a:lnTo>
                      <a:pt x="832" y="54"/>
                    </a:lnTo>
                    <a:lnTo>
                      <a:pt x="846" y="54"/>
                    </a:lnTo>
                    <a:lnTo>
                      <a:pt x="860" y="57"/>
                    </a:lnTo>
                    <a:lnTo>
                      <a:pt x="869" y="57"/>
                    </a:lnTo>
                    <a:lnTo>
                      <a:pt x="878" y="57"/>
                    </a:lnTo>
                    <a:lnTo>
                      <a:pt x="892" y="57"/>
                    </a:lnTo>
                    <a:lnTo>
                      <a:pt x="901" y="60"/>
                    </a:lnTo>
                    <a:lnTo>
                      <a:pt x="924" y="60"/>
                    </a:lnTo>
                    <a:lnTo>
                      <a:pt x="937" y="60"/>
                    </a:lnTo>
                    <a:lnTo>
                      <a:pt x="951" y="60"/>
                    </a:lnTo>
                    <a:lnTo>
                      <a:pt x="956" y="63"/>
                    </a:lnTo>
                    <a:lnTo>
                      <a:pt x="965" y="63"/>
                    </a:lnTo>
                    <a:lnTo>
                      <a:pt x="969" y="63"/>
                    </a:lnTo>
                    <a:lnTo>
                      <a:pt x="969" y="88"/>
                    </a:lnTo>
                    <a:lnTo>
                      <a:pt x="965" y="86"/>
                    </a:lnTo>
                    <a:lnTo>
                      <a:pt x="951" y="86"/>
                    </a:lnTo>
                    <a:lnTo>
                      <a:pt x="937" y="86"/>
                    </a:lnTo>
                    <a:lnTo>
                      <a:pt x="924" y="86"/>
                    </a:lnTo>
                    <a:lnTo>
                      <a:pt x="914" y="83"/>
                    </a:lnTo>
                    <a:lnTo>
                      <a:pt x="901" y="83"/>
                    </a:lnTo>
                    <a:lnTo>
                      <a:pt x="887" y="83"/>
                    </a:lnTo>
                    <a:lnTo>
                      <a:pt x="878" y="83"/>
                    </a:lnTo>
                    <a:lnTo>
                      <a:pt x="864" y="83"/>
                    </a:lnTo>
                    <a:lnTo>
                      <a:pt x="846" y="83"/>
                    </a:lnTo>
                    <a:lnTo>
                      <a:pt x="837" y="83"/>
                    </a:lnTo>
                    <a:lnTo>
                      <a:pt x="823" y="83"/>
                    </a:lnTo>
                    <a:lnTo>
                      <a:pt x="805" y="83"/>
                    </a:lnTo>
                    <a:lnTo>
                      <a:pt x="786" y="83"/>
                    </a:lnTo>
                    <a:lnTo>
                      <a:pt x="768" y="80"/>
                    </a:lnTo>
                    <a:lnTo>
                      <a:pt x="754" y="80"/>
                    </a:lnTo>
                    <a:lnTo>
                      <a:pt x="736" y="80"/>
                    </a:lnTo>
                    <a:lnTo>
                      <a:pt x="722" y="80"/>
                    </a:lnTo>
                    <a:lnTo>
                      <a:pt x="704" y="80"/>
                    </a:lnTo>
                    <a:lnTo>
                      <a:pt x="690" y="80"/>
                    </a:lnTo>
                    <a:lnTo>
                      <a:pt x="672" y="77"/>
                    </a:lnTo>
                    <a:lnTo>
                      <a:pt x="658" y="77"/>
                    </a:lnTo>
                    <a:lnTo>
                      <a:pt x="640" y="77"/>
                    </a:lnTo>
                    <a:lnTo>
                      <a:pt x="626" y="77"/>
                    </a:lnTo>
                    <a:lnTo>
                      <a:pt x="608" y="74"/>
                    </a:lnTo>
                    <a:lnTo>
                      <a:pt x="590" y="74"/>
                    </a:lnTo>
                    <a:lnTo>
                      <a:pt x="576" y="74"/>
                    </a:lnTo>
                    <a:lnTo>
                      <a:pt x="567" y="74"/>
                    </a:lnTo>
                    <a:lnTo>
                      <a:pt x="549" y="71"/>
                    </a:lnTo>
                    <a:lnTo>
                      <a:pt x="535" y="71"/>
                    </a:lnTo>
                    <a:lnTo>
                      <a:pt x="517" y="69"/>
                    </a:lnTo>
                    <a:lnTo>
                      <a:pt x="499" y="69"/>
                    </a:lnTo>
                    <a:lnTo>
                      <a:pt x="485" y="69"/>
                    </a:lnTo>
                    <a:lnTo>
                      <a:pt x="476" y="69"/>
                    </a:lnTo>
                    <a:lnTo>
                      <a:pt x="467" y="66"/>
                    </a:lnTo>
                    <a:lnTo>
                      <a:pt x="457" y="66"/>
                    </a:lnTo>
                    <a:lnTo>
                      <a:pt x="444" y="66"/>
                    </a:lnTo>
                    <a:lnTo>
                      <a:pt x="435" y="63"/>
                    </a:lnTo>
                    <a:lnTo>
                      <a:pt x="421" y="63"/>
                    </a:lnTo>
                    <a:lnTo>
                      <a:pt x="412" y="63"/>
                    </a:lnTo>
                    <a:lnTo>
                      <a:pt x="403" y="60"/>
                    </a:lnTo>
                    <a:lnTo>
                      <a:pt x="389" y="60"/>
                    </a:lnTo>
                    <a:lnTo>
                      <a:pt x="380" y="57"/>
                    </a:lnTo>
                    <a:lnTo>
                      <a:pt x="366" y="57"/>
                    </a:lnTo>
                    <a:lnTo>
                      <a:pt x="352" y="57"/>
                    </a:lnTo>
                    <a:lnTo>
                      <a:pt x="343" y="54"/>
                    </a:lnTo>
                    <a:lnTo>
                      <a:pt x="334" y="54"/>
                    </a:lnTo>
                    <a:lnTo>
                      <a:pt x="320" y="54"/>
                    </a:lnTo>
                    <a:lnTo>
                      <a:pt x="307" y="51"/>
                    </a:lnTo>
                    <a:lnTo>
                      <a:pt x="297" y="51"/>
                    </a:lnTo>
                    <a:lnTo>
                      <a:pt x="279" y="51"/>
                    </a:lnTo>
                    <a:lnTo>
                      <a:pt x="270" y="51"/>
                    </a:lnTo>
                    <a:lnTo>
                      <a:pt x="261" y="49"/>
                    </a:lnTo>
                    <a:lnTo>
                      <a:pt x="247" y="46"/>
                    </a:lnTo>
                    <a:lnTo>
                      <a:pt x="238" y="46"/>
                    </a:lnTo>
                    <a:lnTo>
                      <a:pt x="224" y="46"/>
                    </a:lnTo>
                    <a:lnTo>
                      <a:pt x="211" y="46"/>
                    </a:lnTo>
                    <a:lnTo>
                      <a:pt x="201" y="43"/>
                    </a:lnTo>
                    <a:lnTo>
                      <a:pt x="188" y="43"/>
                    </a:lnTo>
                    <a:lnTo>
                      <a:pt x="179" y="43"/>
                    </a:lnTo>
                    <a:lnTo>
                      <a:pt x="165" y="40"/>
                    </a:lnTo>
                    <a:lnTo>
                      <a:pt x="156" y="40"/>
                    </a:lnTo>
                    <a:lnTo>
                      <a:pt x="147" y="37"/>
                    </a:lnTo>
                    <a:lnTo>
                      <a:pt x="137" y="37"/>
                    </a:lnTo>
                    <a:lnTo>
                      <a:pt x="115" y="34"/>
                    </a:lnTo>
                    <a:lnTo>
                      <a:pt x="96" y="34"/>
                    </a:lnTo>
                    <a:lnTo>
                      <a:pt x="78" y="32"/>
                    </a:lnTo>
                    <a:lnTo>
                      <a:pt x="69" y="32"/>
                    </a:lnTo>
                    <a:lnTo>
                      <a:pt x="51" y="29"/>
                    </a:lnTo>
                    <a:lnTo>
                      <a:pt x="41" y="26"/>
                    </a:lnTo>
                    <a:lnTo>
                      <a:pt x="23" y="26"/>
                    </a:lnTo>
                    <a:lnTo>
                      <a:pt x="19" y="26"/>
                    </a:lnTo>
                    <a:lnTo>
                      <a:pt x="5" y="23"/>
                    </a:lnTo>
                    <a:lnTo>
                      <a:pt x="0" y="23"/>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2" name="Freeform 176"/>
              <p:cNvSpPr>
                <a:spLocks/>
              </p:cNvSpPr>
              <p:nvPr>
                <p:custDataLst>
                  <p:tags r:id="rId86"/>
                </p:custDataLst>
              </p:nvPr>
            </p:nvSpPr>
            <p:spPr bwMode="gray">
              <a:xfrm>
                <a:off x="3720" y="2221"/>
                <a:ext cx="623" cy="63"/>
              </a:xfrm>
              <a:custGeom>
                <a:avLst/>
                <a:gdLst>
                  <a:gd name="T0" fmla="*/ 13 w 608"/>
                  <a:gd name="T1" fmla="*/ 13 h 69"/>
                  <a:gd name="T2" fmla="*/ 53 w 608"/>
                  <a:gd name="T3" fmla="*/ 13 h 69"/>
                  <a:gd name="T4" fmla="*/ 92 w 608"/>
                  <a:gd name="T5" fmla="*/ 13 h 69"/>
                  <a:gd name="T6" fmla="*/ 135 w 608"/>
                  <a:gd name="T7" fmla="*/ 13 h 69"/>
                  <a:gd name="T8" fmla="*/ 171 w 608"/>
                  <a:gd name="T9" fmla="*/ 12 h 69"/>
                  <a:gd name="T10" fmla="*/ 208 w 608"/>
                  <a:gd name="T11" fmla="*/ 12 h 69"/>
                  <a:gd name="T12" fmla="*/ 244 w 608"/>
                  <a:gd name="T13" fmla="*/ 12 h 69"/>
                  <a:gd name="T14" fmla="*/ 281 w 608"/>
                  <a:gd name="T15" fmla="*/ 12 h 69"/>
                  <a:gd name="T16" fmla="*/ 317 w 608"/>
                  <a:gd name="T17" fmla="*/ 11 h 69"/>
                  <a:gd name="T18" fmla="*/ 348 w 608"/>
                  <a:gd name="T19" fmla="*/ 10 h 69"/>
                  <a:gd name="T20" fmla="*/ 391 w 608"/>
                  <a:gd name="T21" fmla="*/ 10 h 69"/>
                  <a:gd name="T22" fmla="*/ 422 w 608"/>
                  <a:gd name="T23" fmla="*/ 9 h 69"/>
                  <a:gd name="T24" fmla="*/ 453 w 608"/>
                  <a:gd name="T25" fmla="*/ 9 h 69"/>
                  <a:gd name="T26" fmla="*/ 484 w 608"/>
                  <a:gd name="T27" fmla="*/ 8 h 69"/>
                  <a:gd name="T28" fmla="*/ 521 w 608"/>
                  <a:gd name="T29" fmla="*/ 6 h 69"/>
                  <a:gd name="T30" fmla="*/ 550 w 608"/>
                  <a:gd name="T31" fmla="*/ 6 h 69"/>
                  <a:gd name="T32" fmla="*/ 593 w 608"/>
                  <a:gd name="T33" fmla="*/ 5 h 69"/>
                  <a:gd name="T34" fmla="*/ 642 w 608"/>
                  <a:gd name="T35" fmla="*/ 5 h 69"/>
                  <a:gd name="T36" fmla="*/ 691 w 608"/>
                  <a:gd name="T37" fmla="*/ 5 h 69"/>
                  <a:gd name="T38" fmla="*/ 729 w 608"/>
                  <a:gd name="T39" fmla="*/ 5 h 69"/>
                  <a:gd name="T40" fmla="*/ 758 w 608"/>
                  <a:gd name="T41" fmla="*/ 3 h 69"/>
                  <a:gd name="T42" fmla="*/ 784 w 608"/>
                  <a:gd name="T43" fmla="*/ 0 h 69"/>
                  <a:gd name="T44" fmla="*/ 808 w 608"/>
                  <a:gd name="T45" fmla="*/ 0 h 69"/>
                  <a:gd name="T46" fmla="*/ 815 w 608"/>
                  <a:gd name="T47" fmla="*/ 10 h 69"/>
                  <a:gd name="T48" fmla="*/ 800 w 608"/>
                  <a:gd name="T49" fmla="*/ 10 h 69"/>
                  <a:gd name="T50" fmla="*/ 777 w 608"/>
                  <a:gd name="T51" fmla="*/ 11 h 69"/>
                  <a:gd name="T52" fmla="*/ 753 w 608"/>
                  <a:gd name="T53" fmla="*/ 12 h 69"/>
                  <a:gd name="T54" fmla="*/ 715 w 608"/>
                  <a:gd name="T55" fmla="*/ 12 h 69"/>
                  <a:gd name="T56" fmla="*/ 687 w 608"/>
                  <a:gd name="T57" fmla="*/ 13 h 69"/>
                  <a:gd name="T58" fmla="*/ 642 w 608"/>
                  <a:gd name="T59" fmla="*/ 13 h 69"/>
                  <a:gd name="T60" fmla="*/ 599 w 608"/>
                  <a:gd name="T61" fmla="*/ 14 h 69"/>
                  <a:gd name="T62" fmla="*/ 557 w 608"/>
                  <a:gd name="T63" fmla="*/ 15 h 69"/>
                  <a:gd name="T64" fmla="*/ 513 w 608"/>
                  <a:gd name="T65" fmla="*/ 15 h 69"/>
                  <a:gd name="T66" fmla="*/ 472 w 608"/>
                  <a:gd name="T67" fmla="*/ 16 h 69"/>
                  <a:gd name="T68" fmla="*/ 428 w 608"/>
                  <a:gd name="T69" fmla="*/ 18 h 69"/>
                  <a:gd name="T70" fmla="*/ 391 w 608"/>
                  <a:gd name="T71" fmla="*/ 18 h 69"/>
                  <a:gd name="T72" fmla="*/ 348 w 608"/>
                  <a:gd name="T73" fmla="*/ 18 h 69"/>
                  <a:gd name="T74" fmla="*/ 324 w 608"/>
                  <a:gd name="T75" fmla="*/ 19 h 69"/>
                  <a:gd name="T76" fmla="*/ 301 w 608"/>
                  <a:gd name="T77" fmla="*/ 20 h 69"/>
                  <a:gd name="T78" fmla="*/ 251 w 608"/>
                  <a:gd name="T79" fmla="*/ 22 h 69"/>
                  <a:gd name="T80" fmla="*/ 196 w 608"/>
                  <a:gd name="T81" fmla="*/ 22 h 69"/>
                  <a:gd name="T82" fmla="*/ 146 w 608"/>
                  <a:gd name="T83" fmla="*/ 22 h 69"/>
                  <a:gd name="T84" fmla="*/ 101 w 608"/>
                  <a:gd name="T85" fmla="*/ 24 h 69"/>
                  <a:gd name="T86" fmla="*/ 57 w 608"/>
                  <a:gd name="T87" fmla="*/ 24 h 69"/>
                  <a:gd name="T88" fmla="*/ 35 w 608"/>
                  <a:gd name="T89" fmla="*/ 24 h 69"/>
                  <a:gd name="T90" fmla="*/ 0 w 608"/>
                  <a:gd name="T91" fmla="*/ 24 h 69"/>
                  <a:gd name="T92" fmla="*/ 0 w 608"/>
                  <a:gd name="T93" fmla="*/ 14 h 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8"/>
                  <a:gd name="T142" fmla="*/ 0 h 69"/>
                  <a:gd name="T143" fmla="*/ 608 w 608"/>
                  <a:gd name="T144" fmla="*/ 69 h 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8" h="69">
                    <a:moveTo>
                      <a:pt x="0" y="40"/>
                    </a:moveTo>
                    <a:lnTo>
                      <a:pt x="13" y="37"/>
                    </a:lnTo>
                    <a:lnTo>
                      <a:pt x="27" y="37"/>
                    </a:lnTo>
                    <a:lnTo>
                      <a:pt x="41" y="37"/>
                    </a:lnTo>
                    <a:lnTo>
                      <a:pt x="59" y="37"/>
                    </a:lnTo>
                    <a:lnTo>
                      <a:pt x="68" y="37"/>
                    </a:lnTo>
                    <a:lnTo>
                      <a:pt x="87" y="37"/>
                    </a:lnTo>
                    <a:lnTo>
                      <a:pt x="100" y="37"/>
                    </a:lnTo>
                    <a:lnTo>
                      <a:pt x="119" y="37"/>
                    </a:lnTo>
                    <a:lnTo>
                      <a:pt x="128" y="35"/>
                    </a:lnTo>
                    <a:lnTo>
                      <a:pt x="141" y="35"/>
                    </a:lnTo>
                    <a:lnTo>
                      <a:pt x="155" y="35"/>
                    </a:lnTo>
                    <a:lnTo>
                      <a:pt x="169" y="35"/>
                    </a:lnTo>
                    <a:lnTo>
                      <a:pt x="182" y="35"/>
                    </a:lnTo>
                    <a:lnTo>
                      <a:pt x="201" y="35"/>
                    </a:lnTo>
                    <a:lnTo>
                      <a:pt x="210" y="35"/>
                    </a:lnTo>
                    <a:lnTo>
                      <a:pt x="224" y="35"/>
                    </a:lnTo>
                    <a:lnTo>
                      <a:pt x="237" y="32"/>
                    </a:lnTo>
                    <a:lnTo>
                      <a:pt x="251" y="32"/>
                    </a:lnTo>
                    <a:lnTo>
                      <a:pt x="260" y="29"/>
                    </a:lnTo>
                    <a:lnTo>
                      <a:pt x="278" y="29"/>
                    </a:lnTo>
                    <a:lnTo>
                      <a:pt x="292" y="29"/>
                    </a:lnTo>
                    <a:lnTo>
                      <a:pt x="301" y="26"/>
                    </a:lnTo>
                    <a:lnTo>
                      <a:pt x="315" y="26"/>
                    </a:lnTo>
                    <a:lnTo>
                      <a:pt x="329" y="26"/>
                    </a:lnTo>
                    <a:lnTo>
                      <a:pt x="338" y="26"/>
                    </a:lnTo>
                    <a:lnTo>
                      <a:pt x="352" y="23"/>
                    </a:lnTo>
                    <a:lnTo>
                      <a:pt x="361" y="23"/>
                    </a:lnTo>
                    <a:lnTo>
                      <a:pt x="374" y="23"/>
                    </a:lnTo>
                    <a:lnTo>
                      <a:pt x="388" y="20"/>
                    </a:lnTo>
                    <a:lnTo>
                      <a:pt x="397" y="20"/>
                    </a:lnTo>
                    <a:lnTo>
                      <a:pt x="411" y="20"/>
                    </a:lnTo>
                    <a:lnTo>
                      <a:pt x="425" y="20"/>
                    </a:lnTo>
                    <a:lnTo>
                      <a:pt x="443" y="17"/>
                    </a:lnTo>
                    <a:lnTo>
                      <a:pt x="461" y="17"/>
                    </a:lnTo>
                    <a:lnTo>
                      <a:pt x="480" y="12"/>
                    </a:lnTo>
                    <a:lnTo>
                      <a:pt x="498" y="12"/>
                    </a:lnTo>
                    <a:lnTo>
                      <a:pt x="516" y="12"/>
                    </a:lnTo>
                    <a:lnTo>
                      <a:pt x="530" y="9"/>
                    </a:lnTo>
                    <a:lnTo>
                      <a:pt x="544" y="6"/>
                    </a:lnTo>
                    <a:lnTo>
                      <a:pt x="557" y="6"/>
                    </a:lnTo>
                    <a:lnTo>
                      <a:pt x="566" y="3"/>
                    </a:lnTo>
                    <a:lnTo>
                      <a:pt x="580" y="0"/>
                    </a:lnTo>
                    <a:lnTo>
                      <a:pt x="585" y="0"/>
                    </a:lnTo>
                    <a:lnTo>
                      <a:pt x="594" y="0"/>
                    </a:lnTo>
                    <a:lnTo>
                      <a:pt x="603" y="0"/>
                    </a:lnTo>
                    <a:lnTo>
                      <a:pt x="608" y="0"/>
                    </a:lnTo>
                    <a:lnTo>
                      <a:pt x="608" y="29"/>
                    </a:lnTo>
                    <a:lnTo>
                      <a:pt x="603" y="29"/>
                    </a:lnTo>
                    <a:lnTo>
                      <a:pt x="598" y="29"/>
                    </a:lnTo>
                    <a:lnTo>
                      <a:pt x="585" y="29"/>
                    </a:lnTo>
                    <a:lnTo>
                      <a:pt x="580" y="32"/>
                    </a:lnTo>
                    <a:lnTo>
                      <a:pt x="571" y="32"/>
                    </a:lnTo>
                    <a:lnTo>
                      <a:pt x="562" y="35"/>
                    </a:lnTo>
                    <a:lnTo>
                      <a:pt x="548" y="35"/>
                    </a:lnTo>
                    <a:lnTo>
                      <a:pt x="534" y="35"/>
                    </a:lnTo>
                    <a:lnTo>
                      <a:pt x="525" y="35"/>
                    </a:lnTo>
                    <a:lnTo>
                      <a:pt x="512" y="37"/>
                    </a:lnTo>
                    <a:lnTo>
                      <a:pt x="498" y="37"/>
                    </a:lnTo>
                    <a:lnTo>
                      <a:pt x="480" y="37"/>
                    </a:lnTo>
                    <a:lnTo>
                      <a:pt x="466" y="40"/>
                    </a:lnTo>
                    <a:lnTo>
                      <a:pt x="448" y="40"/>
                    </a:lnTo>
                    <a:lnTo>
                      <a:pt x="434" y="40"/>
                    </a:lnTo>
                    <a:lnTo>
                      <a:pt x="416" y="43"/>
                    </a:lnTo>
                    <a:lnTo>
                      <a:pt x="402" y="43"/>
                    </a:lnTo>
                    <a:lnTo>
                      <a:pt x="384" y="46"/>
                    </a:lnTo>
                    <a:lnTo>
                      <a:pt x="370" y="49"/>
                    </a:lnTo>
                    <a:lnTo>
                      <a:pt x="352" y="49"/>
                    </a:lnTo>
                    <a:lnTo>
                      <a:pt x="333" y="49"/>
                    </a:lnTo>
                    <a:lnTo>
                      <a:pt x="320" y="54"/>
                    </a:lnTo>
                    <a:lnTo>
                      <a:pt x="301" y="54"/>
                    </a:lnTo>
                    <a:lnTo>
                      <a:pt x="292" y="54"/>
                    </a:lnTo>
                    <a:lnTo>
                      <a:pt x="278" y="54"/>
                    </a:lnTo>
                    <a:lnTo>
                      <a:pt x="260" y="54"/>
                    </a:lnTo>
                    <a:lnTo>
                      <a:pt x="251" y="57"/>
                    </a:lnTo>
                    <a:lnTo>
                      <a:pt x="242" y="57"/>
                    </a:lnTo>
                    <a:lnTo>
                      <a:pt x="228" y="60"/>
                    </a:lnTo>
                    <a:lnTo>
                      <a:pt x="224" y="60"/>
                    </a:lnTo>
                    <a:lnTo>
                      <a:pt x="201" y="60"/>
                    </a:lnTo>
                    <a:lnTo>
                      <a:pt x="187" y="63"/>
                    </a:lnTo>
                    <a:lnTo>
                      <a:pt x="164" y="63"/>
                    </a:lnTo>
                    <a:lnTo>
                      <a:pt x="146" y="63"/>
                    </a:lnTo>
                    <a:lnTo>
                      <a:pt x="128" y="63"/>
                    </a:lnTo>
                    <a:lnTo>
                      <a:pt x="109" y="63"/>
                    </a:lnTo>
                    <a:lnTo>
                      <a:pt x="91" y="66"/>
                    </a:lnTo>
                    <a:lnTo>
                      <a:pt x="77" y="69"/>
                    </a:lnTo>
                    <a:lnTo>
                      <a:pt x="59" y="69"/>
                    </a:lnTo>
                    <a:lnTo>
                      <a:pt x="45" y="69"/>
                    </a:lnTo>
                    <a:lnTo>
                      <a:pt x="32" y="69"/>
                    </a:lnTo>
                    <a:lnTo>
                      <a:pt x="23" y="69"/>
                    </a:lnTo>
                    <a:lnTo>
                      <a:pt x="0" y="69"/>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3" name="Freeform 177"/>
              <p:cNvSpPr>
                <a:spLocks/>
              </p:cNvSpPr>
              <p:nvPr>
                <p:custDataLst>
                  <p:tags r:id="rId87"/>
                </p:custDataLst>
              </p:nvPr>
            </p:nvSpPr>
            <p:spPr bwMode="gray">
              <a:xfrm>
                <a:off x="2328" y="1914"/>
                <a:ext cx="193" cy="794"/>
              </a:xfrm>
              <a:custGeom>
                <a:avLst/>
                <a:gdLst>
                  <a:gd name="T0" fmla="*/ 0 w 188"/>
                  <a:gd name="T1" fmla="*/ 291 h 869"/>
                  <a:gd name="T2" fmla="*/ 31 w 188"/>
                  <a:gd name="T3" fmla="*/ 293 h 869"/>
                  <a:gd name="T4" fmla="*/ 49 w 188"/>
                  <a:gd name="T5" fmla="*/ 294 h 869"/>
                  <a:gd name="T6" fmla="*/ 88 w 188"/>
                  <a:gd name="T7" fmla="*/ 294 h 869"/>
                  <a:gd name="T8" fmla="*/ 113 w 188"/>
                  <a:gd name="T9" fmla="*/ 294 h 869"/>
                  <a:gd name="T10" fmla="*/ 144 w 188"/>
                  <a:gd name="T11" fmla="*/ 294 h 869"/>
                  <a:gd name="T12" fmla="*/ 175 w 188"/>
                  <a:gd name="T13" fmla="*/ 291 h 869"/>
                  <a:gd name="T14" fmla="*/ 175 w 188"/>
                  <a:gd name="T15" fmla="*/ 287 h 869"/>
                  <a:gd name="T16" fmla="*/ 175 w 188"/>
                  <a:gd name="T17" fmla="*/ 285 h 869"/>
                  <a:gd name="T18" fmla="*/ 183 w 188"/>
                  <a:gd name="T19" fmla="*/ 278 h 869"/>
                  <a:gd name="T20" fmla="*/ 183 w 188"/>
                  <a:gd name="T21" fmla="*/ 272 h 869"/>
                  <a:gd name="T22" fmla="*/ 183 w 188"/>
                  <a:gd name="T23" fmla="*/ 266 h 869"/>
                  <a:gd name="T24" fmla="*/ 188 w 188"/>
                  <a:gd name="T25" fmla="*/ 257 h 869"/>
                  <a:gd name="T26" fmla="*/ 188 w 188"/>
                  <a:gd name="T27" fmla="*/ 249 h 869"/>
                  <a:gd name="T28" fmla="*/ 188 w 188"/>
                  <a:gd name="T29" fmla="*/ 239 h 869"/>
                  <a:gd name="T30" fmla="*/ 195 w 188"/>
                  <a:gd name="T31" fmla="*/ 229 h 869"/>
                  <a:gd name="T32" fmla="*/ 195 w 188"/>
                  <a:gd name="T33" fmla="*/ 219 h 869"/>
                  <a:gd name="T34" fmla="*/ 201 w 188"/>
                  <a:gd name="T35" fmla="*/ 208 h 869"/>
                  <a:gd name="T36" fmla="*/ 201 w 188"/>
                  <a:gd name="T37" fmla="*/ 198 h 869"/>
                  <a:gd name="T38" fmla="*/ 201 w 188"/>
                  <a:gd name="T39" fmla="*/ 187 h 869"/>
                  <a:gd name="T40" fmla="*/ 201 w 188"/>
                  <a:gd name="T41" fmla="*/ 175 h 869"/>
                  <a:gd name="T42" fmla="*/ 213 w 188"/>
                  <a:gd name="T43" fmla="*/ 164 h 869"/>
                  <a:gd name="T44" fmla="*/ 213 w 188"/>
                  <a:gd name="T45" fmla="*/ 151 h 869"/>
                  <a:gd name="T46" fmla="*/ 219 w 188"/>
                  <a:gd name="T47" fmla="*/ 138 h 869"/>
                  <a:gd name="T48" fmla="*/ 219 w 188"/>
                  <a:gd name="T49" fmla="*/ 127 h 869"/>
                  <a:gd name="T50" fmla="*/ 219 w 188"/>
                  <a:gd name="T51" fmla="*/ 117 h 869"/>
                  <a:gd name="T52" fmla="*/ 226 w 188"/>
                  <a:gd name="T53" fmla="*/ 105 h 869"/>
                  <a:gd name="T54" fmla="*/ 226 w 188"/>
                  <a:gd name="T55" fmla="*/ 95 h 869"/>
                  <a:gd name="T56" fmla="*/ 232 w 188"/>
                  <a:gd name="T57" fmla="*/ 84 h 869"/>
                  <a:gd name="T58" fmla="*/ 232 w 188"/>
                  <a:gd name="T59" fmla="*/ 75 h 869"/>
                  <a:gd name="T60" fmla="*/ 232 w 188"/>
                  <a:gd name="T61" fmla="*/ 65 h 869"/>
                  <a:gd name="T62" fmla="*/ 239 w 188"/>
                  <a:gd name="T63" fmla="*/ 58 h 869"/>
                  <a:gd name="T64" fmla="*/ 239 w 188"/>
                  <a:gd name="T65" fmla="*/ 49 h 869"/>
                  <a:gd name="T66" fmla="*/ 245 w 188"/>
                  <a:gd name="T67" fmla="*/ 44 h 869"/>
                  <a:gd name="T68" fmla="*/ 250 w 188"/>
                  <a:gd name="T69" fmla="*/ 38 h 869"/>
                  <a:gd name="T70" fmla="*/ 250 w 188"/>
                  <a:gd name="T71" fmla="*/ 35 h 869"/>
                  <a:gd name="T72" fmla="*/ 257 w 188"/>
                  <a:gd name="T73" fmla="*/ 31 h 869"/>
                  <a:gd name="T74" fmla="*/ 257 w 188"/>
                  <a:gd name="T75" fmla="*/ 24 h 869"/>
                  <a:gd name="T76" fmla="*/ 239 w 188"/>
                  <a:gd name="T77" fmla="*/ 18 h 869"/>
                  <a:gd name="T78" fmla="*/ 206 w 188"/>
                  <a:gd name="T79" fmla="*/ 14 h 869"/>
                  <a:gd name="T80" fmla="*/ 175 w 188"/>
                  <a:gd name="T81" fmla="*/ 10 h 869"/>
                  <a:gd name="T82" fmla="*/ 138 w 188"/>
                  <a:gd name="T83" fmla="*/ 5 h 869"/>
                  <a:gd name="T84" fmla="*/ 106 w 188"/>
                  <a:gd name="T85" fmla="*/ 5 h 869"/>
                  <a:gd name="T86" fmla="*/ 77 w 188"/>
                  <a:gd name="T87" fmla="*/ 0 h 86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8"/>
                  <a:gd name="T133" fmla="*/ 0 h 869"/>
                  <a:gd name="T134" fmla="*/ 188 w 188"/>
                  <a:gd name="T135" fmla="*/ 869 h 86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8" h="869">
                    <a:moveTo>
                      <a:pt x="55" y="0"/>
                    </a:moveTo>
                    <a:lnTo>
                      <a:pt x="0" y="860"/>
                    </a:lnTo>
                    <a:lnTo>
                      <a:pt x="9" y="860"/>
                    </a:lnTo>
                    <a:lnTo>
                      <a:pt x="19" y="863"/>
                    </a:lnTo>
                    <a:lnTo>
                      <a:pt x="28" y="863"/>
                    </a:lnTo>
                    <a:lnTo>
                      <a:pt x="37" y="866"/>
                    </a:lnTo>
                    <a:lnTo>
                      <a:pt x="51" y="866"/>
                    </a:lnTo>
                    <a:lnTo>
                      <a:pt x="64" y="869"/>
                    </a:lnTo>
                    <a:lnTo>
                      <a:pt x="69" y="869"/>
                    </a:lnTo>
                    <a:lnTo>
                      <a:pt x="83" y="869"/>
                    </a:lnTo>
                    <a:lnTo>
                      <a:pt x="92" y="869"/>
                    </a:lnTo>
                    <a:lnTo>
                      <a:pt x="105" y="869"/>
                    </a:lnTo>
                    <a:lnTo>
                      <a:pt x="119" y="866"/>
                    </a:lnTo>
                    <a:lnTo>
                      <a:pt x="128" y="860"/>
                    </a:lnTo>
                    <a:lnTo>
                      <a:pt x="128" y="857"/>
                    </a:lnTo>
                    <a:lnTo>
                      <a:pt x="128" y="849"/>
                    </a:lnTo>
                    <a:lnTo>
                      <a:pt x="128" y="843"/>
                    </a:lnTo>
                    <a:lnTo>
                      <a:pt x="128" y="838"/>
                    </a:lnTo>
                    <a:lnTo>
                      <a:pt x="128" y="829"/>
                    </a:lnTo>
                    <a:lnTo>
                      <a:pt x="133" y="823"/>
                    </a:lnTo>
                    <a:lnTo>
                      <a:pt x="133" y="812"/>
                    </a:lnTo>
                    <a:lnTo>
                      <a:pt x="133" y="803"/>
                    </a:lnTo>
                    <a:lnTo>
                      <a:pt x="133" y="795"/>
                    </a:lnTo>
                    <a:lnTo>
                      <a:pt x="133" y="786"/>
                    </a:lnTo>
                    <a:lnTo>
                      <a:pt x="133" y="775"/>
                    </a:lnTo>
                    <a:lnTo>
                      <a:pt x="137" y="761"/>
                    </a:lnTo>
                    <a:lnTo>
                      <a:pt x="137" y="749"/>
                    </a:lnTo>
                    <a:lnTo>
                      <a:pt x="137" y="738"/>
                    </a:lnTo>
                    <a:lnTo>
                      <a:pt x="137" y="724"/>
                    </a:lnTo>
                    <a:lnTo>
                      <a:pt x="137" y="709"/>
                    </a:lnTo>
                    <a:lnTo>
                      <a:pt x="137" y="695"/>
                    </a:lnTo>
                    <a:lnTo>
                      <a:pt x="142" y="678"/>
                    </a:lnTo>
                    <a:lnTo>
                      <a:pt x="142" y="664"/>
                    </a:lnTo>
                    <a:lnTo>
                      <a:pt x="142" y="650"/>
                    </a:lnTo>
                    <a:lnTo>
                      <a:pt x="142" y="635"/>
                    </a:lnTo>
                    <a:lnTo>
                      <a:pt x="147" y="618"/>
                    </a:lnTo>
                    <a:lnTo>
                      <a:pt x="147" y="601"/>
                    </a:lnTo>
                    <a:lnTo>
                      <a:pt x="147" y="584"/>
                    </a:lnTo>
                    <a:lnTo>
                      <a:pt x="147" y="567"/>
                    </a:lnTo>
                    <a:lnTo>
                      <a:pt x="147" y="550"/>
                    </a:lnTo>
                    <a:lnTo>
                      <a:pt x="147" y="533"/>
                    </a:lnTo>
                    <a:lnTo>
                      <a:pt x="147" y="519"/>
                    </a:lnTo>
                    <a:lnTo>
                      <a:pt x="151" y="499"/>
                    </a:lnTo>
                    <a:lnTo>
                      <a:pt x="156" y="482"/>
                    </a:lnTo>
                    <a:lnTo>
                      <a:pt x="156" y="464"/>
                    </a:lnTo>
                    <a:lnTo>
                      <a:pt x="156" y="447"/>
                    </a:lnTo>
                    <a:lnTo>
                      <a:pt x="156" y="430"/>
                    </a:lnTo>
                    <a:lnTo>
                      <a:pt x="160" y="410"/>
                    </a:lnTo>
                    <a:lnTo>
                      <a:pt x="160" y="396"/>
                    </a:lnTo>
                    <a:lnTo>
                      <a:pt x="160" y="376"/>
                    </a:lnTo>
                    <a:lnTo>
                      <a:pt x="160" y="362"/>
                    </a:lnTo>
                    <a:lnTo>
                      <a:pt x="160" y="345"/>
                    </a:lnTo>
                    <a:lnTo>
                      <a:pt x="160" y="328"/>
                    </a:lnTo>
                    <a:lnTo>
                      <a:pt x="165" y="311"/>
                    </a:lnTo>
                    <a:lnTo>
                      <a:pt x="165" y="294"/>
                    </a:lnTo>
                    <a:lnTo>
                      <a:pt x="165" y="282"/>
                    </a:lnTo>
                    <a:lnTo>
                      <a:pt x="165" y="265"/>
                    </a:lnTo>
                    <a:lnTo>
                      <a:pt x="169" y="251"/>
                    </a:lnTo>
                    <a:lnTo>
                      <a:pt x="169" y="237"/>
                    </a:lnTo>
                    <a:lnTo>
                      <a:pt x="169" y="222"/>
                    </a:lnTo>
                    <a:lnTo>
                      <a:pt x="169" y="208"/>
                    </a:lnTo>
                    <a:lnTo>
                      <a:pt x="169" y="194"/>
                    </a:lnTo>
                    <a:lnTo>
                      <a:pt x="174" y="183"/>
                    </a:lnTo>
                    <a:lnTo>
                      <a:pt x="174" y="171"/>
                    </a:lnTo>
                    <a:lnTo>
                      <a:pt x="174" y="160"/>
                    </a:lnTo>
                    <a:lnTo>
                      <a:pt x="174" y="148"/>
                    </a:lnTo>
                    <a:lnTo>
                      <a:pt x="179" y="140"/>
                    </a:lnTo>
                    <a:lnTo>
                      <a:pt x="179" y="131"/>
                    </a:lnTo>
                    <a:lnTo>
                      <a:pt x="179" y="123"/>
                    </a:lnTo>
                    <a:lnTo>
                      <a:pt x="183" y="114"/>
                    </a:lnTo>
                    <a:lnTo>
                      <a:pt x="183" y="106"/>
                    </a:lnTo>
                    <a:lnTo>
                      <a:pt x="183" y="103"/>
                    </a:lnTo>
                    <a:lnTo>
                      <a:pt x="183" y="91"/>
                    </a:lnTo>
                    <a:lnTo>
                      <a:pt x="188" y="89"/>
                    </a:lnTo>
                    <a:lnTo>
                      <a:pt x="188" y="77"/>
                    </a:lnTo>
                    <a:lnTo>
                      <a:pt x="188" y="69"/>
                    </a:lnTo>
                    <a:lnTo>
                      <a:pt x="179" y="60"/>
                    </a:lnTo>
                    <a:lnTo>
                      <a:pt x="174" y="54"/>
                    </a:lnTo>
                    <a:lnTo>
                      <a:pt x="160" y="46"/>
                    </a:lnTo>
                    <a:lnTo>
                      <a:pt x="151" y="40"/>
                    </a:lnTo>
                    <a:lnTo>
                      <a:pt x="137" y="35"/>
                    </a:lnTo>
                    <a:lnTo>
                      <a:pt x="128" y="29"/>
                    </a:lnTo>
                    <a:lnTo>
                      <a:pt x="115" y="20"/>
                    </a:lnTo>
                    <a:lnTo>
                      <a:pt x="101" y="15"/>
                    </a:lnTo>
                    <a:lnTo>
                      <a:pt x="87" y="12"/>
                    </a:lnTo>
                    <a:lnTo>
                      <a:pt x="78" y="9"/>
                    </a:lnTo>
                    <a:lnTo>
                      <a:pt x="60" y="3"/>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4" name="Freeform 178"/>
              <p:cNvSpPr>
                <a:spLocks/>
              </p:cNvSpPr>
              <p:nvPr>
                <p:custDataLst>
                  <p:tags r:id="rId88"/>
                </p:custDataLst>
              </p:nvPr>
            </p:nvSpPr>
            <p:spPr bwMode="gray">
              <a:xfrm>
                <a:off x="3443" y="1961"/>
                <a:ext cx="188" cy="716"/>
              </a:xfrm>
              <a:custGeom>
                <a:avLst/>
                <a:gdLst>
                  <a:gd name="T0" fmla="*/ 190 w 183"/>
                  <a:gd name="T1" fmla="*/ 5 h 783"/>
                  <a:gd name="T2" fmla="*/ 196 w 183"/>
                  <a:gd name="T3" fmla="*/ 14 h 783"/>
                  <a:gd name="T4" fmla="*/ 208 w 183"/>
                  <a:gd name="T5" fmla="*/ 24 h 783"/>
                  <a:gd name="T6" fmla="*/ 208 w 183"/>
                  <a:gd name="T7" fmla="*/ 37 h 783"/>
                  <a:gd name="T8" fmla="*/ 221 w 183"/>
                  <a:gd name="T9" fmla="*/ 51 h 783"/>
                  <a:gd name="T10" fmla="*/ 229 w 183"/>
                  <a:gd name="T11" fmla="*/ 65 h 783"/>
                  <a:gd name="T12" fmla="*/ 234 w 183"/>
                  <a:gd name="T13" fmla="*/ 83 h 783"/>
                  <a:gd name="T14" fmla="*/ 234 w 183"/>
                  <a:gd name="T15" fmla="*/ 100 h 783"/>
                  <a:gd name="T16" fmla="*/ 240 w 183"/>
                  <a:gd name="T17" fmla="*/ 116 h 783"/>
                  <a:gd name="T18" fmla="*/ 246 w 183"/>
                  <a:gd name="T19" fmla="*/ 134 h 783"/>
                  <a:gd name="T20" fmla="*/ 253 w 183"/>
                  <a:gd name="T21" fmla="*/ 152 h 783"/>
                  <a:gd name="T22" fmla="*/ 253 w 183"/>
                  <a:gd name="T23" fmla="*/ 167 h 783"/>
                  <a:gd name="T24" fmla="*/ 253 w 183"/>
                  <a:gd name="T25" fmla="*/ 183 h 783"/>
                  <a:gd name="T26" fmla="*/ 253 w 183"/>
                  <a:gd name="T27" fmla="*/ 199 h 783"/>
                  <a:gd name="T28" fmla="*/ 253 w 183"/>
                  <a:gd name="T29" fmla="*/ 214 h 783"/>
                  <a:gd name="T30" fmla="*/ 253 w 183"/>
                  <a:gd name="T31" fmla="*/ 229 h 783"/>
                  <a:gd name="T32" fmla="*/ 253 w 183"/>
                  <a:gd name="T33" fmla="*/ 240 h 783"/>
                  <a:gd name="T34" fmla="*/ 253 w 183"/>
                  <a:gd name="T35" fmla="*/ 250 h 783"/>
                  <a:gd name="T36" fmla="*/ 253 w 183"/>
                  <a:gd name="T37" fmla="*/ 257 h 783"/>
                  <a:gd name="T38" fmla="*/ 246 w 183"/>
                  <a:gd name="T39" fmla="*/ 264 h 783"/>
                  <a:gd name="T40" fmla="*/ 240 w 183"/>
                  <a:gd name="T41" fmla="*/ 268 h 783"/>
                  <a:gd name="T42" fmla="*/ 177 w 183"/>
                  <a:gd name="T43" fmla="*/ 265 h 783"/>
                  <a:gd name="T44" fmla="*/ 107 w 183"/>
                  <a:gd name="T45" fmla="*/ 265 h 783"/>
                  <a:gd name="T46" fmla="*/ 88 w 183"/>
                  <a:gd name="T47" fmla="*/ 265 h 783"/>
                  <a:gd name="T48" fmla="*/ 88 w 183"/>
                  <a:gd name="T49" fmla="*/ 258 h 783"/>
                  <a:gd name="T50" fmla="*/ 88 w 183"/>
                  <a:gd name="T51" fmla="*/ 250 h 783"/>
                  <a:gd name="T52" fmla="*/ 88 w 183"/>
                  <a:gd name="T53" fmla="*/ 242 h 783"/>
                  <a:gd name="T54" fmla="*/ 83 w 183"/>
                  <a:gd name="T55" fmla="*/ 233 h 783"/>
                  <a:gd name="T56" fmla="*/ 83 w 183"/>
                  <a:gd name="T57" fmla="*/ 220 h 783"/>
                  <a:gd name="T58" fmla="*/ 83 w 183"/>
                  <a:gd name="T59" fmla="*/ 209 h 783"/>
                  <a:gd name="T60" fmla="*/ 79 w 183"/>
                  <a:gd name="T61" fmla="*/ 196 h 783"/>
                  <a:gd name="T62" fmla="*/ 69 w 183"/>
                  <a:gd name="T63" fmla="*/ 181 h 783"/>
                  <a:gd name="T64" fmla="*/ 69 w 183"/>
                  <a:gd name="T65" fmla="*/ 167 h 783"/>
                  <a:gd name="T66" fmla="*/ 69 w 183"/>
                  <a:gd name="T67" fmla="*/ 153 h 783"/>
                  <a:gd name="T68" fmla="*/ 61 w 183"/>
                  <a:gd name="T69" fmla="*/ 139 h 783"/>
                  <a:gd name="T70" fmla="*/ 61 w 183"/>
                  <a:gd name="T71" fmla="*/ 126 h 783"/>
                  <a:gd name="T72" fmla="*/ 61 w 183"/>
                  <a:gd name="T73" fmla="*/ 112 h 783"/>
                  <a:gd name="T74" fmla="*/ 61 w 183"/>
                  <a:gd name="T75" fmla="*/ 100 h 783"/>
                  <a:gd name="T76" fmla="*/ 61 w 183"/>
                  <a:gd name="T77" fmla="*/ 87 h 783"/>
                  <a:gd name="T78" fmla="*/ 61 w 183"/>
                  <a:gd name="T79" fmla="*/ 78 h 783"/>
                  <a:gd name="T80" fmla="*/ 61 w 183"/>
                  <a:gd name="T81" fmla="*/ 68 h 783"/>
                  <a:gd name="T82" fmla="*/ 61 w 183"/>
                  <a:gd name="T83" fmla="*/ 59 h 783"/>
                  <a:gd name="T84" fmla="*/ 61 w 183"/>
                  <a:gd name="T85" fmla="*/ 53 h 783"/>
                  <a:gd name="T86" fmla="*/ 53 w 183"/>
                  <a:gd name="T87" fmla="*/ 45 h 783"/>
                  <a:gd name="T88" fmla="*/ 49 w 183"/>
                  <a:gd name="T89" fmla="*/ 34 h 783"/>
                  <a:gd name="T90" fmla="*/ 39 w 183"/>
                  <a:gd name="T91" fmla="*/ 24 h 783"/>
                  <a:gd name="T92" fmla="*/ 14 w 183"/>
                  <a:gd name="T93" fmla="*/ 16 h 783"/>
                  <a:gd name="T94" fmla="*/ 0 w 183"/>
                  <a:gd name="T95" fmla="*/ 11 h 783"/>
                  <a:gd name="T96" fmla="*/ 185 w 183"/>
                  <a:gd name="T97" fmla="*/ 0 h 7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
                  <a:gd name="T148" fmla="*/ 0 h 783"/>
                  <a:gd name="T149" fmla="*/ 183 w 183"/>
                  <a:gd name="T150" fmla="*/ 783 h 7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 h="783">
                    <a:moveTo>
                      <a:pt x="133" y="0"/>
                    </a:moveTo>
                    <a:lnTo>
                      <a:pt x="133" y="5"/>
                    </a:lnTo>
                    <a:lnTo>
                      <a:pt x="137" y="11"/>
                    </a:lnTo>
                    <a:lnTo>
                      <a:pt x="137" y="20"/>
                    </a:lnTo>
                    <a:lnTo>
                      <a:pt x="142" y="28"/>
                    </a:lnTo>
                    <a:lnTo>
                      <a:pt x="142" y="39"/>
                    </a:lnTo>
                    <a:lnTo>
                      <a:pt x="146" y="48"/>
                    </a:lnTo>
                    <a:lnTo>
                      <a:pt x="146" y="59"/>
                    </a:lnTo>
                    <a:lnTo>
                      <a:pt x="151" y="71"/>
                    </a:lnTo>
                    <a:lnTo>
                      <a:pt x="151" y="82"/>
                    </a:lnTo>
                    <a:lnTo>
                      <a:pt x="151" y="94"/>
                    </a:lnTo>
                    <a:lnTo>
                      <a:pt x="151" y="108"/>
                    </a:lnTo>
                    <a:lnTo>
                      <a:pt x="155" y="122"/>
                    </a:lnTo>
                    <a:lnTo>
                      <a:pt x="155" y="136"/>
                    </a:lnTo>
                    <a:lnTo>
                      <a:pt x="160" y="151"/>
                    </a:lnTo>
                    <a:lnTo>
                      <a:pt x="160" y="165"/>
                    </a:lnTo>
                    <a:lnTo>
                      <a:pt x="165" y="179"/>
                    </a:lnTo>
                    <a:lnTo>
                      <a:pt x="165" y="193"/>
                    </a:lnTo>
                    <a:lnTo>
                      <a:pt x="165" y="207"/>
                    </a:lnTo>
                    <a:lnTo>
                      <a:pt x="169" y="225"/>
                    </a:lnTo>
                    <a:lnTo>
                      <a:pt x="169" y="242"/>
                    </a:lnTo>
                    <a:lnTo>
                      <a:pt x="169" y="256"/>
                    </a:lnTo>
                    <a:lnTo>
                      <a:pt x="169" y="273"/>
                    </a:lnTo>
                    <a:lnTo>
                      <a:pt x="169" y="290"/>
                    </a:lnTo>
                    <a:lnTo>
                      <a:pt x="174" y="307"/>
                    </a:lnTo>
                    <a:lnTo>
                      <a:pt x="174" y="324"/>
                    </a:lnTo>
                    <a:lnTo>
                      <a:pt x="174" y="338"/>
                    </a:lnTo>
                    <a:lnTo>
                      <a:pt x="174" y="356"/>
                    </a:lnTo>
                    <a:lnTo>
                      <a:pt x="178" y="373"/>
                    </a:lnTo>
                    <a:lnTo>
                      <a:pt x="178" y="390"/>
                    </a:lnTo>
                    <a:lnTo>
                      <a:pt x="178" y="407"/>
                    </a:lnTo>
                    <a:lnTo>
                      <a:pt x="183" y="424"/>
                    </a:lnTo>
                    <a:lnTo>
                      <a:pt x="183" y="444"/>
                    </a:lnTo>
                    <a:lnTo>
                      <a:pt x="183" y="458"/>
                    </a:lnTo>
                    <a:lnTo>
                      <a:pt x="183" y="475"/>
                    </a:lnTo>
                    <a:lnTo>
                      <a:pt x="183" y="489"/>
                    </a:lnTo>
                    <a:lnTo>
                      <a:pt x="183" y="509"/>
                    </a:lnTo>
                    <a:lnTo>
                      <a:pt x="183" y="521"/>
                    </a:lnTo>
                    <a:lnTo>
                      <a:pt x="183" y="538"/>
                    </a:lnTo>
                    <a:lnTo>
                      <a:pt x="183" y="555"/>
                    </a:lnTo>
                    <a:lnTo>
                      <a:pt x="183" y="569"/>
                    </a:lnTo>
                    <a:lnTo>
                      <a:pt x="183" y="583"/>
                    </a:lnTo>
                    <a:lnTo>
                      <a:pt x="183" y="598"/>
                    </a:lnTo>
                    <a:lnTo>
                      <a:pt x="183" y="612"/>
                    </a:lnTo>
                    <a:lnTo>
                      <a:pt x="183" y="626"/>
                    </a:lnTo>
                    <a:lnTo>
                      <a:pt x="183" y="637"/>
                    </a:lnTo>
                    <a:lnTo>
                      <a:pt x="183" y="655"/>
                    </a:lnTo>
                    <a:lnTo>
                      <a:pt x="183" y="666"/>
                    </a:lnTo>
                    <a:lnTo>
                      <a:pt x="183" y="680"/>
                    </a:lnTo>
                    <a:lnTo>
                      <a:pt x="183" y="689"/>
                    </a:lnTo>
                    <a:lnTo>
                      <a:pt x="183" y="700"/>
                    </a:lnTo>
                    <a:lnTo>
                      <a:pt x="183" y="709"/>
                    </a:lnTo>
                    <a:lnTo>
                      <a:pt x="183" y="720"/>
                    </a:lnTo>
                    <a:lnTo>
                      <a:pt x="183" y="729"/>
                    </a:lnTo>
                    <a:lnTo>
                      <a:pt x="183" y="737"/>
                    </a:lnTo>
                    <a:lnTo>
                      <a:pt x="183" y="746"/>
                    </a:lnTo>
                    <a:lnTo>
                      <a:pt x="183" y="751"/>
                    </a:lnTo>
                    <a:lnTo>
                      <a:pt x="178" y="760"/>
                    </a:lnTo>
                    <a:lnTo>
                      <a:pt x="178" y="766"/>
                    </a:lnTo>
                    <a:lnTo>
                      <a:pt x="178" y="771"/>
                    </a:lnTo>
                    <a:lnTo>
                      <a:pt x="178" y="774"/>
                    </a:lnTo>
                    <a:lnTo>
                      <a:pt x="174" y="780"/>
                    </a:lnTo>
                    <a:lnTo>
                      <a:pt x="174" y="783"/>
                    </a:lnTo>
                    <a:lnTo>
                      <a:pt x="165" y="780"/>
                    </a:lnTo>
                    <a:lnTo>
                      <a:pt x="151" y="780"/>
                    </a:lnTo>
                    <a:lnTo>
                      <a:pt x="128" y="780"/>
                    </a:lnTo>
                    <a:lnTo>
                      <a:pt x="110" y="780"/>
                    </a:lnTo>
                    <a:lnTo>
                      <a:pt x="96" y="777"/>
                    </a:lnTo>
                    <a:lnTo>
                      <a:pt x="78" y="777"/>
                    </a:lnTo>
                    <a:lnTo>
                      <a:pt x="69" y="777"/>
                    </a:lnTo>
                    <a:lnTo>
                      <a:pt x="64" y="777"/>
                    </a:lnTo>
                    <a:lnTo>
                      <a:pt x="64" y="771"/>
                    </a:lnTo>
                    <a:lnTo>
                      <a:pt x="64" y="763"/>
                    </a:lnTo>
                    <a:lnTo>
                      <a:pt x="64" y="754"/>
                    </a:lnTo>
                    <a:lnTo>
                      <a:pt x="64" y="749"/>
                    </a:lnTo>
                    <a:lnTo>
                      <a:pt x="64" y="740"/>
                    </a:lnTo>
                    <a:lnTo>
                      <a:pt x="64" y="734"/>
                    </a:lnTo>
                    <a:lnTo>
                      <a:pt x="64" y="726"/>
                    </a:lnTo>
                    <a:lnTo>
                      <a:pt x="64" y="714"/>
                    </a:lnTo>
                    <a:lnTo>
                      <a:pt x="64" y="709"/>
                    </a:lnTo>
                    <a:lnTo>
                      <a:pt x="64" y="700"/>
                    </a:lnTo>
                    <a:lnTo>
                      <a:pt x="64" y="692"/>
                    </a:lnTo>
                    <a:lnTo>
                      <a:pt x="59" y="680"/>
                    </a:lnTo>
                    <a:lnTo>
                      <a:pt x="59" y="669"/>
                    </a:lnTo>
                    <a:lnTo>
                      <a:pt x="59" y="657"/>
                    </a:lnTo>
                    <a:lnTo>
                      <a:pt x="59" y="646"/>
                    </a:lnTo>
                    <a:lnTo>
                      <a:pt x="59" y="632"/>
                    </a:lnTo>
                    <a:lnTo>
                      <a:pt x="59" y="620"/>
                    </a:lnTo>
                    <a:lnTo>
                      <a:pt x="59" y="609"/>
                    </a:lnTo>
                    <a:lnTo>
                      <a:pt x="59" y="598"/>
                    </a:lnTo>
                    <a:lnTo>
                      <a:pt x="55" y="583"/>
                    </a:lnTo>
                    <a:lnTo>
                      <a:pt x="55" y="572"/>
                    </a:lnTo>
                    <a:lnTo>
                      <a:pt x="50" y="558"/>
                    </a:lnTo>
                    <a:lnTo>
                      <a:pt x="50" y="543"/>
                    </a:lnTo>
                    <a:lnTo>
                      <a:pt x="50" y="529"/>
                    </a:lnTo>
                    <a:lnTo>
                      <a:pt x="50" y="521"/>
                    </a:lnTo>
                    <a:lnTo>
                      <a:pt x="50" y="506"/>
                    </a:lnTo>
                    <a:lnTo>
                      <a:pt x="50" y="492"/>
                    </a:lnTo>
                    <a:lnTo>
                      <a:pt x="50" y="478"/>
                    </a:lnTo>
                    <a:lnTo>
                      <a:pt x="50" y="464"/>
                    </a:lnTo>
                    <a:lnTo>
                      <a:pt x="50" y="450"/>
                    </a:lnTo>
                    <a:lnTo>
                      <a:pt x="50" y="435"/>
                    </a:lnTo>
                    <a:lnTo>
                      <a:pt x="46" y="421"/>
                    </a:lnTo>
                    <a:lnTo>
                      <a:pt x="46" y="407"/>
                    </a:lnTo>
                    <a:lnTo>
                      <a:pt x="46" y="393"/>
                    </a:lnTo>
                    <a:lnTo>
                      <a:pt x="46" y="381"/>
                    </a:lnTo>
                    <a:lnTo>
                      <a:pt x="46" y="367"/>
                    </a:lnTo>
                    <a:lnTo>
                      <a:pt x="46" y="353"/>
                    </a:lnTo>
                    <a:lnTo>
                      <a:pt x="46" y="338"/>
                    </a:lnTo>
                    <a:lnTo>
                      <a:pt x="46" y="327"/>
                    </a:lnTo>
                    <a:lnTo>
                      <a:pt x="46" y="313"/>
                    </a:lnTo>
                    <a:lnTo>
                      <a:pt x="46" y="301"/>
                    </a:lnTo>
                    <a:lnTo>
                      <a:pt x="46" y="290"/>
                    </a:lnTo>
                    <a:lnTo>
                      <a:pt x="46" y="279"/>
                    </a:lnTo>
                    <a:lnTo>
                      <a:pt x="46" y="267"/>
                    </a:lnTo>
                    <a:lnTo>
                      <a:pt x="46" y="256"/>
                    </a:lnTo>
                    <a:lnTo>
                      <a:pt x="46" y="244"/>
                    </a:lnTo>
                    <a:lnTo>
                      <a:pt x="46" y="233"/>
                    </a:lnTo>
                    <a:lnTo>
                      <a:pt x="46" y="225"/>
                    </a:lnTo>
                    <a:lnTo>
                      <a:pt x="46" y="213"/>
                    </a:lnTo>
                    <a:lnTo>
                      <a:pt x="46" y="207"/>
                    </a:lnTo>
                    <a:lnTo>
                      <a:pt x="46" y="199"/>
                    </a:lnTo>
                    <a:lnTo>
                      <a:pt x="46" y="188"/>
                    </a:lnTo>
                    <a:lnTo>
                      <a:pt x="46" y="182"/>
                    </a:lnTo>
                    <a:lnTo>
                      <a:pt x="46" y="176"/>
                    </a:lnTo>
                    <a:lnTo>
                      <a:pt x="46" y="170"/>
                    </a:lnTo>
                    <a:lnTo>
                      <a:pt x="46" y="159"/>
                    </a:lnTo>
                    <a:lnTo>
                      <a:pt x="46" y="153"/>
                    </a:lnTo>
                    <a:lnTo>
                      <a:pt x="41" y="145"/>
                    </a:lnTo>
                    <a:lnTo>
                      <a:pt x="41" y="136"/>
                    </a:lnTo>
                    <a:lnTo>
                      <a:pt x="41" y="131"/>
                    </a:lnTo>
                    <a:lnTo>
                      <a:pt x="41" y="125"/>
                    </a:lnTo>
                    <a:lnTo>
                      <a:pt x="41" y="113"/>
                    </a:lnTo>
                    <a:lnTo>
                      <a:pt x="37" y="102"/>
                    </a:lnTo>
                    <a:lnTo>
                      <a:pt x="32" y="91"/>
                    </a:lnTo>
                    <a:lnTo>
                      <a:pt x="27" y="79"/>
                    </a:lnTo>
                    <a:lnTo>
                      <a:pt x="27" y="71"/>
                    </a:lnTo>
                    <a:lnTo>
                      <a:pt x="23" y="62"/>
                    </a:lnTo>
                    <a:lnTo>
                      <a:pt x="18" y="54"/>
                    </a:lnTo>
                    <a:lnTo>
                      <a:pt x="14" y="48"/>
                    </a:lnTo>
                    <a:lnTo>
                      <a:pt x="9" y="39"/>
                    </a:lnTo>
                    <a:lnTo>
                      <a:pt x="5" y="37"/>
                    </a:lnTo>
                    <a:lnTo>
                      <a:pt x="0" y="31"/>
                    </a:lnTo>
                    <a:lnTo>
                      <a:pt x="0" y="28"/>
                    </a:lnTo>
                    <a:lnTo>
                      <a:pt x="13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5" name="Freeform 179"/>
              <p:cNvSpPr>
                <a:spLocks/>
              </p:cNvSpPr>
              <p:nvPr>
                <p:custDataLst>
                  <p:tags r:id="rId89"/>
                </p:custDataLst>
              </p:nvPr>
            </p:nvSpPr>
            <p:spPr bwMode="gray">
              <a:xfrm>
                <a:off x="1495" y="2448"/>
                <a:ext cx="168" cy="93"/>
              </a:xfrm>
              <a:custGeom>
                <a:avLst/>
                <a:gdLst>
                  <a:gd name="T0" fmla="*/ 44 w 164"/>
                  <a:gd name="T1" fmla="*/ 3 h 103"/>
                  <a:gd name="T2" fmla="*/ 35 w 164"/>
                  <a:gd name="T3" fmla="*/ 5 h 103"/>
                  <a:gd name="T4" fmla="*/ 14 w 164"/>
                  <a:gd name="T5" fmla="*/ 7 h 103"/>
                  <a:gd name="T6" fmla="*/ 9 w 164"/>
                  <a:gd name="T7" fmla="*/ 10 h 103"/>
                  <a:gd name="T8" fmla="*/ 4 w 164"/>
                  <a:gd name="T9" fmla="*/ 12 h 103"/>
                  <a:gd name="T10" fmla="*/ 0 w 164"/>
                  <a:gd name="T11" fmla="*/ 14 h 103"/>
                  <a:gd name="T12" fmla="*/ 0 w 164"/>
                  <a:gd name="T13" fmla="*/ 15 h 103"/>
                  <a:gd name="T14" fmla="*/ 0 w 164"/>
                  <a:gd name="T15" fmla="*/ 17 h 103"/>
                  <a:gd name="T16" fmla="*/ 4 w 164"/>
                  <a:gd name="T17" fmla="*/ 20 h 103"/>
                  <a:gd name="T18" fmla="*/ 4 w 164"/>
                  <a:gd name="T19" fmla="*/ 22 h 103"/>
                  <a:gd name="T20" fmla="*/ 14 w 164"/>
                  <a:gd name="T21" fmla="*/ 25 h 103"/>
                  <a:gd name="T22" fmla="*/ 35 w 164"/>
                  <a:gd name="T23" fmla="*/ 27 h 103"/>
                  <a:gd name="T24" fmla="*/ 44 w 164"/>
                  <a:gd name="T25" fmla="*/ 28 h 103"/>
                  <a:gd name="T26" fmla="*/ 58 w 164"/>
                  <a:gd name="T27" fmla="*/ 30 h 103"/>
                  <a:gd name="T28" fmla="*/ 80 w 164"/>
                  <a:gd name="T29" fmla="*/ 30 h 103"/>
                  <a:gd name="T30" fmla="*/ 97 w 164"/>
                  <a:gd name="T31" fmla="*/ 30 h 103"/>
                  <a:gd name="T32" fmla="*/ 121 w 164"/>
                  <a:gd name="T33" fmla="*/ 31 h 103"/>
                  <a:gd name="T34" fmla="*/ 141 w 164"/>
                  <a:gd name="T35" fmla="*/ 30 h 103"/>
                  <a:gd name="T36" fmla="*/ 152 w 164"/>
                  <a:gd name="T37" fmla="*/ 30 h 103"/>
                  <a:gd name="T38" fmla="*/ 164 w 164"/>
                  <a:gd name="T39" fmla="*/ 28 h 103"/>
                  <a:gd name="T40" fmla="*/ 182 w 164"/>
                  <a:gd name="T41" fmla="*/ 28 h 103"/>
                  <a:gd name="T42" fmla="*/ 202 w 164"/>
                  <a:gd name="T43" fmla="*/ 25 h 103"/>
                  <a:gd name="T44" fmla="*/ 207 w 164"/>
                  <a:gd name="T45" fmla="*/ 22 h 103"/>
                  <a:gd name="T46" fmla="*/ 213 w 164"/>
                  <a:gd name="T47" fmla="*/ 20 h 103"/>
                  <a:gd name="T48" fmla="*/ 218 w 164"/>
                  <a:gd name="T49" fmla="*/ 17 h 103"/>
                  <a:gd name="T50" fmla="*/ 213 w 164"/>
                  <a:gd name="T51" fmla="*/ 14 h 103"/>
                  <a:gd name="T52" fmla="*/ 213 w 164"/>
                  <a:gd name="T53" fmla="*/ 11 h 103"/>
                  <a:gd name="T54" fmla="*/ 207 w 164"/>
                  <a:gd name="T55" fmla="*/ 8 h 103"/>
                  <a:gd name="T56" fmla="*/ 202 w 164"/>
                  <a:gd name="T57" fmla="*/ 5 h 103"/>
                  <a:gd name="T58" fmla="*/ 182 w 164"/>
                  <a:gd name="T59" fmla="*/ 5 h 103"/>
                  <a:gd name="T60" fmla="*/ 158 w 164"/>
                  <a:gd name="T61" fmla="*/ 5 h 103"/>
                  <a:gd name="T62" fmla="*/ 146 w 164"/>
                  <a:gd name="T63" fmla="*/ 5 h 103"/>
                  <a:gd name="T64" fmla="*/ 134 w 164"/>
                  <a:gd name="T65" fmla="*/ 3 h 103"/>
                  <a:gd name="T66" fmla="*/ 121 w 164"/>
                  <a:gd name="T67" fmla="*/ 3 h 103"/>
                  <a:gd name="T68" fmla="*/ 107 w 164"/>
                  <a:gd name="T69" fmla="*/ 3 h 103"/>
                  <a:gd name="T70" fmla="*/ 80 w 164"/>
                  <a:gd name="T71" fmla="*/ 0 h 103"/>
                  <a:gd name="T72" fmla="*/ 58 w 164"/>
                  <a:gd name="T73" fmla="*/ 0 h 103"/>
                  <a:gd name="T74" fmla="*/ 48 w 164"/>
                  <a:gd name="T75" fmla="*/ 0 h 103"/>
                  <a:gd name="T76" fmla="*/ 44 w 164"/>
                  <a:gd name="T77" fmla="*/ 3 h 103"/>
                  <a:gd name="T78" fmla="*/ 44 w 164"/>
                  <a:gd name="T79" fmla="*/ 3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103"/>
                  <a:gd name="T122" fmla="*/ 164 w 164"/>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103">
                    <a:moveTo>
                      <a:pt x="32" y="3"/>
                    </a:moveTo>
                    <a:lnTo>
                      <a:pt x="23" y="11"/>
                    </a:lnTo>
                    <a:lnTo>
                      <a:pt x="14" y="23"/>
                    </a:lnTo>
                    <a:lnTo>
                      <a:pt x="9" y="31"/>
                    </a:lnTo>
                    <a:lnTo>
                      <a:pt x="4" y="40"/>
                    </a:lnTo>
                    <a:lnTo>
                      <a:pt x="0" y="46"/>
                    </a:lnTo>
                    <a:lnTo>
                      <a:pt x="0" y="51"/>
                    </a:lnTo>
                    <a:lnTo>
                      <a:pt x="0" y="57"/>
                    </a:lnTo>
                    <a:lnTo>
                      <a:pt x="4" y="66"/>
                    </a:lnTo>
                    <a:lnTo>
                      <a:pt x="4" y="74"/>
                    </a:lnTo>
                    <a:lnTo>
                      <a:pt x="14" y="86"/>
                    </a:lnTo>
                    <a:lnTo>
                      <a:pt x="23" y="91"/>
                    </a:lnTo>
                    <a:lnTo>
                      <a:pt x="32" y="97"/>
                    </a:lnTo>
                    <a:lnTo>
                      <a:pt x="46" y="100"/>
                    </a:lnTo>
                    <a:lnTo>
                      <a:pt x="59" y="100"/>
                    </a:lnTo>
                    <a:lnTo>
                      <a:pt x="73" y="100"/>
                    </a:lnTo>
                    <a:lnTo>
                      <a:pt x="91" y="103"/>
                    </a:lnTo>
                    <a:lnTo>
                      <a:pt x="105" y="100"/>
                    </a:lnTo>
                    <a:lnTo>
                      <a:pt x="114" y="100"/>
                    </a:lnTo>
                    <a:lnTo>
                      <a:pt x="123" y="94"/>
                    </a:lnTo>
                    <a:lnTo>
                      <a:pt x="137" y="94"/>
                    </a:lnTo>
                    <a:lnTo>
                      <a:pt x="151" y="86"/>
                    </a:lnTo>
                    <a:lnTo>
                      <a:pt x="155" y="74"/>
                    </a:lnTo>
                    <a:lnTo>
                      <a:pt x="160" y="66"/>
                    </a:lnTo>
                    <a:lnTo>
                      <a:pt x="164" y="57"/>
                    </a:lnTo>
                    <a:lnTo>
                      <a:pt x="160" y="46"/>
                    </a:lnTo>
                    <a:lnTo>
                      <a:pt x="160" y="34"/>
                    </a:lnTo>
                    <a:lnTo>
                      <a:pt x="155" y="26"/>
                    </a:lnTo>
                    <a:lnTo>
                      <a:pt x="151" y="20"/>
                    </a:lnTo>
                    <a:lnTo>
                      <a:pt x="137" y="9"/>
                    </a:lnTo>
                    <a:lnTo>
                      <a:pt x="119" y="9"/>
                    </a:lnTo>
                    <a:lnTo>
                      <a:pt x="110" y="6"/>
                    </a:lnTo>
                    <a:lnTo>
                      <a:pt x="100" y="3"/>
                    </a:lnTo>
                    <a:lnTo>
                      <a:pt x="91" y="3"/>
                    </a:lnTo>
                    <a:lnTo>
                      <a:pt x="82" y="3"/>
                    </a:lnTo>
                    <a:lnTo>
                      <a:pt x="59" y="0"/>
                    </a:lnTo>
                    <a:lnTo>
                      <a:pt x="46" y="0"/>
                    </a:lnTo>
                    <a:lnTo>
                      <a:pt x="36"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6" name="Freeform 180"/>
              <p:cNvSpPr>
                <a:spLocks/>
              </p:cNvSpPr>
              <p:nvPr>
                <p:custDataLst>
                  <p:tags r:id="rId90"/>
                </p:custDataLst>
              </p:nvPr>
            </p:nvSpPr>
            <p:spPr bwMode="gray">
              <a:xfrm>
                <a:off x="1382" y="1589"/>
                <a:ext cx="1064" cy="63"/>
              </a:xfrm>
              <a:custGeom>
                <a:avLst/>
                <a:gdLst>
                  <a:gd name="T0" fmla="*/ 116 w 1038"/>
                  <a:gd name="T1" fmla="*/ 5 h 69"/>
                  <a:gd name="T2" fmla="*/ 192 w 1038"/>
                  <a:gd name="T3" fmla="*/ 5 h 69"/>
                  <a:gd name="T4" fmla="*/ 270 w 1038"/>
                  <a:gd name="T5" fmla="*/ 5 h 69"/>
                  <a:gd name="T6" fmla="*/ 352 w 1038"/>
                  <a:gd name="T7" fmla="*/ 5 h 69"/>
                  <a:gd name="T8" fmla="*/ 437 w 1038"/>
                  <a:gd name="T9" fmla="*/ 8 h 69"/>
                  <a:gd name="T10" fmla="*/ 523 w 1038"/>
                  <a:gd name="T11" fmla="*/ 9 h 69"/>
                  <a:gd name="T12" fmla="*/ 611 w 1038"/>
                  <a:gd name="T13" fmla="*/ 10 h 69"/>
                  <a:gd name="T14" fmla="*/ 696 w 1038"/>
                  <a:gd name="T15" fmla="*/ 12 h 69"/>
                  <a:gd name="T16" fmla="*/ 782 w 1038"/>
                  <a:gd name="T17" fmla="*/ 12 h 69"/>
                  <a:gd name="T18" fmla="*/ 862 w 1038"/>
                  <a:gd name="T19" fmla="*/ 13 h 69"/>
                  <a:gd name="T20" fmla="*/ 947 w 1038"/>
                  <a:gd name="T21" fmla="*/ 15 h 69"/>
                  <a:gd name="T22" fmla="*/ 1014 w 1038"/>
                  <a:gd name="T23" fmla="*/ 15 h 69"/>
                  <a:gd name="T24" fmla="*/ 1088 w 1038"/>
                  <a:gd name="T25" fmla="*/ 15 h 69"/>
                  <a:gd name="T26" fmla="*/ 1157 w 1038"/>
                  <a:gd name="T27" fmla="*/ 15 h 69"/>
                  <a:gd name="T28" fmla="*/ 1218 w 1038"/>
                  <a:gd name="T29" fmla="*/ 16 h 69"/>
                  <a:gd name="T30" fmla="*/ 1267 w 1038"/>
                  <a:gd name="T31" fmla="*/ 16 h 69"/>
                  <a:gd name="T32" fmla="*/ 1310 w 1038"/>
                  <a:gd name="T33" fmla="*/ 16 h 69"/>
                  <a:gd name="T34" fmla="*/ 1359 w 1038"/>
                  <a:gd name="T35" fmla="*/ 16 h 69"/>
                  <a:gd name="T36" fmla="*/ 1396 w 1038"/>
                  <a:gd name="T37" fmla="*/ 18 h 69"/>
                  <a:gd name="T38" fmla="*/ 1383 w 1038"/>
                  <a:gd name="T39" fmla="*/ 18 h 69"/>
                  <a:gd name="T40" fmla="*/ 1335 w 1038"/>
                  <a:gd name="T41" fmla="*/ 18 h 69"/>
                  <a:gd name="T42" fmla="*/ 1280 w 1038"/>
                  <a:gd name="T43" fmla="*/ 19 h 69"/>
                  <a:gd name="T44" fmla="*/ 1199 w 1038"/>
                  <a:gd name="T45" fmla="*/ 20 h 69"/>
                  <a:gd name="T46" fmla="*/ 1143 w 1038"/>
                  <a:gd name="T47" fmla="*/ 20 h 69"/>
                  <a:gd name="T48" fmla="*/ 1101 w 1038"/>
                  <a:gd name="T49" fmla="*/ 20 h 69"/>
                  <a:gd name="T50" fmla="*/ 1053 w 1038"/>
                  <a:gd name="T51" fmla="*/ 22 h 69"/>
                  <a:gd name="T52" fmla="*/ 1004 w 1038"/>
                  <a:gd name="T53" fmla="*/ 22 h 69"/>
                  <a:gd name="T54" fmla="*/ 955 w 1038"/>
                  <a:gd name="T55" fmla="*/ 22 h 69"/>
                  <a:gd name="T56" fmla="*/ 897 w 1038"/>
                  <a:gd name="T57" fmla="*/ 24 h 69"/>
                  <a:gd name="T58" fmla="*/ 849 w 1038"/>
                  <a:gd name="T59" fmla="*/ 24 h 69"/>
                  <a:gd name="T60" fmla="*/ 800 w 1038"/>
                  <a:gd name="T61" fmla="*/ 24 h 69"/>
                  <a:gd name="T62" fmla="*/ 756 w 1038"/>
                  <a:gd name="T63" fmla="*/ 24 h 69"/>
                  <a:gd name="T64" fmla="*/ 708 w 1038"/>
                  <a:gd name="T65" fmla="*/ 24 h 69"/>
                  <a:gd name="T66" fmla="*/ 659 w 1038"/>
                  <a:gd name="T67" fmla="*/ 24 h 69"/>
                  <a:gd name="T68" fmla="*/ 615 w 1038"/>
                  <a:gd name="T69" fmla="*/ 22 h 69"/>
                  <a:gd name="T70" fmla="*/ 547 w 1038"/>
                  <a:gd name="T71" fmla="*/ 22 h 69"/>
                  <a:gd name="T72" fmla="*/ 504 w 1038"/>
                  <a:gd name="T73" fmla="*/ 20 h 69"/>
                  <a:gd name="T74" fmla="*/ 437 w 1038"/>
                  <a:gd name="T75" fmla="*/ 20 h 69"/>
                  <a:gd name="T76" fmla="*/ 363 w 1038"/>
                  <a:gd name="T77" fmla="*/ 18 h 69"/>
                  <a:gd name="T78" fmla="*/ 290 w 1038"/>
                  <a:gd name="T79" fmla="*/ 16 h 69"/>
                  <a:gd name="T80" fmla="*/ 221 w 1038"/>
                  <a:gd name="T81" fmla="*/ 15 h 69"/>
                  <a:gd name="T82" fmla="*/ 166 w 1038"/>
                  <a:gd name="T83" fmla="*/ 15 h 69"/>
                  <a:gd name="T84" fmla="*/ 109 w 1038"/>
                  <a:gd name="T85" fmla="*/ 13 h 69"/>
                  <a:gd name="T86" fmla="*/ 64 w 1038"/>
                  <a:gd name="T87" fmla="*/ 12 h 69"/>
                  <a:gd name="T88" fmla="*/ 18 w 1038"/>
                  <a:gd name="T89" fmla="*/ 11 h 69"/>
                  <a:gd name="T90" fmla="*/ 74 w 1038"/>
                  <a:gd name="T91" fmla="*/ 0 h 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8"/>
                  <a:gd name="T139" fmla="*/ 0 h 69"/>
                  <a:gd name="T140" fmla="*/ 1038 w 1038"/>
                  <a:gd name="T141" fmla="*/ 69 h 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8" h="69">
                    <a:moveTo>
                      <a:pt x="55" y="0"/>
                    </a:moveTo>
                    <a:lnTo>
                      <a:pt x="69" y="3"/>
                    </a:lnTo>
                    <a:lnTo>
                      <a:pt x="87" y="6"/>
                    </a:lnTo>
                    <a:lnTo>
                      <a:pt x="105" y="6"/>
                    </a:lnTo>
                    <a:lnTo>
                      <a:pt x="124" y="9"/>
                    </a:lnTo>
                    <a:lnTo>
                      <a:pt x="142" y="9"/>
                    </a:lnTo>
                    <a:lnTo>
                      <a:pt x="160" y="12"/>
                    </a:lnTo>
                    <a:lnTo>
                      <a:pt x="178" y="15"/>
                    </a:lnTo>
                    <a:lnTo>
                      <a:pt x="201" y="15"/>
                    </a:lnTo>
                    <a:lnTo>
                      <a:pt x="220" y="15"/>
                    </a:lnTo>
                    <a:lnTo>
                      <a:pt x="242" y="17"/>
                    </a:lnTo>
                    <a:lnTo>
                      <a:pt x="261" y="17"/>
                    </a:lnTo>
                    <a:lnTo>
                      <a:pt x="284" y="20"/>
                    </a:lnTo>
                    <a:lnTo>
                      <a:pt x="302" y="20"/>
                    </a:lnTo>
                    <a:lnTo>
                      <a:pt x="325" y="23"/>
                    </a:lnTo>
                    <a:lnTo>
                      <a:pt x="348" y="23"/>
                    </a:lnTo>
                    <a:lnTo>
                      <a:pt x="370" y="26"/>
                    </a:lnTo>
                    <a:lnTo>
                      <a:pt x="389" y="26"/>
                    </a:lnTo>
                    <a:lnTo>
                      <a:pt x="407" y="26"/>
                    </a:lnTo>
                    <a:lnTo>
                      <a:pt x="430" y="26"/>
                    </a:lnTo>
                    <a:lnTo>
                      <a:pt x="453" y="29"/>
                    </a:lnTo>
                    <a:lnTo>
                      <a:pt x="471" y="32"/>
                    </a:lnTo>
                    <a:lnTo>
                      <a:pt x="494" y="32"/>
                    </a:lnTo>
                    <a:lnTo>
                      <a:pt x="517" y="35"/>
                    </a:lnTo>
                    <a:lnTo>
                      <a:pt x="539" y="35"/>
                    </a:lnTo>
                    <a:lnTo>
                      <a:pt x="558" y="35"/>
                    </a:lnTo>
                    <a:lnTo>
                      <a:pt x="581" y="35"/>
                    </a:lnTo>
                    <a:lnTo>
                      <a:pt x="599" y="37"/>
                    </a:lnTo>
                    <a:lnTo>
                      <a:pt x="622" y="37"/>
                    </a:lnTo>
                    <a:lnTo>
                      <a:pt x="640" y="37"/>
                    </a:lnTo>
                    <a:lnTo>
                      <a:pt x="658" y="37"/>
                    </a:lnTo>
                    <a:lnTo>
                      <a:pt x="681" y="40"/>
                    </a:lnTo>
                    <a:lnTo>
                      <a:pt x="704" y="43"/>
                    </a:lnTo>
                    <a:lnTo>
                      <a:pt x="718" y="43"/>
                    </a:lnTo>
                    <a:lnTo>
                      <a:pt x="736" y="43"/>
                    </a:lnTo>
                    <a:lnTo>
                      <a:pt x="754" y="43"/>
                    </a:lnTo>
                    <a:lnTo>
                      <a:pt x="773" y="43"/>
                    </a:lnTo>
                    <a:lnTo>
                      <a:pt x="791" y="43"/>
                    </a:lnTo>
                    <a:lnTo>
                      <a:pt x="809" y="43"/>
                    </a:lnTo>
                    <a:lnTo>
                      <a:pt x="827" y="43"/>
                    </a:lnTo>
                    <a:lnTo>
                      <a:pt x="846" y="46"/>
                    </a:lnTo>
                    <a:lnTo>
                      <a:pt x="859" y="46"/>
                    </a:lnTo>
                    <a:lnTo>
                      <a:pt x="873" y="46"/>
                    </a:lnTo>
                    <a:lnTo>
                      <a:pt x="887" y="46"/>
                    </a:lnTo>
                    <a:lnTo>
                      <a:pt x="905" y="49"/>
                    </a:lnTo>
                    <a:lnTo>
                      <a:pt x="914" y="49"/>
                    </a:lnTo>
                    <a:lnTo>
                      <a:pt x="928" y="49"/>
                    </a:lnTo>
                    <a:lnTo>
                      <a:pt x="942" y="49"/>
                    </a:lnTo>
                    <a:lnTo>
                      <a:pt x="955" y="49"/>
                    </a:lnTo>
                    <a:lnTo>
                      <a:pt x="964" y="49"/>
                    </a:lnTo>
                    <a:lnTo>
                      <a:pt x="974" y="49"/>
                    </a:lnTo>
                    <a:lnTo>
                      <a:pt x="987" y="49"/>
                    </a:lnTo>
                    <a:lnTo>
                      <a:pt x="992" y="49"/>
                    </a:lnTo>
                    <a:lnTo>
                      <a:pt x="1010" y="49"/>
                    </a:lnTo>
                    <a:lnTo>
                      <a:pt x="1028" y="52"/>
                    </a:lnTo>
                    <a:lnTo>
                      <a:pt x="1033" y="52"/>
                    </a:lnTo>
                    <a:lnTo>
                      <a:pt x="1038" y="54"/>
                    </a:lnTo>
                    <a:lnTo>
                      <a:pt x="1033" y="54"/>
                    </a:lnTo>
                    <a:lnTo>
                      <a:pt x="1028" y="54"/>
                    </a:lnTo>
                    <a:lnTo>
                      <a:pt x="1015" y="54"/>
                    </a:lnTo>
                    <a:lnTo>
                      <a:pt x="1006" y="54"/>
                    </a:lnTo>
                    <a:lnTo>
                      <a:pt x="992" y="54"/>
                    </a:lnTo>
                    <a:lnTo>
                      <a:pt x="978" y="54"/>
                    </a:lnTo>
                    <a:lnTo>
                      <a:pt x="964" y="57"/>
                    </a:lnTo>
                    <a:lnTo>
                      <a:pt x="951" y="57"/>
                    </a:lnTo>
                    <a:lnTo>
                      <a:pt x="932" y="57"/>
                    </a:lnTo>
                    <a:lnTo>
                      <a:pt x="914" y="60"/>
                    </a:lnTo>
                    <a:lnTo>
                      <a:pt x="891" y="60"/>
                    </a:lnTo>
                    <a:lnTo>
                      <a:pt x="873" y="60"/>
                    </a:lnTo>
                    <a:lnTo>
                      <a:pt x="864" y="60"/>
                    </a:lnTo>
                    <a:lnTo>
                      <a:pt x="850" y="60"/>
                    </a:lnTo>
                    <a:lnTo>
                      <a:pt x="837" y="60"/>
                    </a:lnTo>
                    <a:lnTo>
                      <a:pt x="827" y="60"/>
                    </a:lnTo>
                    <a:lnTo>
                      <a:pt x="818" y="60"/>
                    </a:lnTo>
                    <a:lnTo>
                      <a:pt x="805" y="63"/>
                    </a:lnTo>
                    <a:lnTo>
                      <a:pt x="795" y="63"/>
                    </a:lnTo>
                    <a:lnTo>
                      <a:pt x="782" y="66"/>
                    </a:lnTo>
                    <a:lnTo>
                      <a:pt x="773" y="66"/>
                    </a:lnTo>
                    <a:lnTo>
                      <a:pt x="759" y="66"/>
                    </a:lnTo>
                    <a:lnTo>
                      <a:pt x="745" y="66"/>
                    </a:lnTo>
                    <a:lnTo>
                      <a:pt x="736" y="66"/>
                    </a:lnTo>
                    <a:lnTo>
                      <a:pt x="722" y="66"/>
                    </a:lnTo>
                    <a:lnTo>
                      <a:pt x="709" y="66"/>
                    </a:lnTo>
                    <a:lnTo>
                      <a:pt x="695" y="66"/>
                    </a:lnTo>
                    <a:lnTo>
                      <a:pt x="686" y="69"/>
                    </a:lnTo>
                    <a:lnTo>
                      <a:pt x="667" y="69"/>
                    </a:lnTo>
                    <a:lnTo>
                      <a:pt x="658" y="69"/>
                    </a:lnTo>
                    <a:lnTo>
                      <a:pt x="649" y="69"/>
                    </a:lnTo>
                    <a:lnTo>
                      <a:pt x="631" y="69"/>
                    </a:lnTo>
                    <a:lnTo>
                      <a:pt x="622" y="69"/>
                    </a:lnTo>
                    <a:lnTo>
                      <a:pt x="613" y="69"/>
                    </a:lnTo>
                    <a:lnTo>
                      <a:pt x="594" y="69"/>
                    </a:lnTo>
                    <a:lnTo>
                      <a:pt x="585" y="69"/>
                    </a:lnTo>
                    <a:lnTo>
                      <a:pt x="571" y="69"/>
                    </a:lnTo>
                    <a:lnTo>
                      <a:pt x="562" y="69"/>
                    </a:lnTo>
                    <a:lnTo>
                      <a:pt x="544" y="69"/>
                    </a:lnTo>
                    <a:lnTo>
                      <a:pt x="535" y="69"/>
                    </a:lnTo>
                    <a:lnTo>
                      <a:pt x="526" y="69"/>
                    </a:lnTo>
                    <a:lnTo>
                      <a:pt x="512" y="69"/>
                    </a:lnTo>
                    <a:lnTo>
                      <a:pt x="503" y="69"/>
                    </a:lnTo>
                    <a:lnTo>
                      <a:pt x="489" y="69"/>
                    </a:lnTo>
                    <a:lnTo>
                      <a:pt x="480" y="66"/>
                    </a:lnTo>
                    <a:lnTo>
                      <a:pt x="471" y="66"/>
                    </a:lnTo>
                    <a:lnTo>
                      <a:pt x="457" y="66"/>
                    </a:lnTo>
                    <a:lnTo>
                      <a:pt x="443" y="66"/>
                    </a:lnTo>
                    <a:lnTo>
                      <a:pt x="425" y="66"/>
                    </a:lnTo>
                    <a:lnTo>
                      <a:pt x="407" y="66"/>
                    </a:lnTo>
                    <a:lnTo>
                      <a:pt x="393" y="63"/>
                    </a:lnTo>
                    <a:lnTo>
                      <a:pt x="384" y="60"/>
                    </a:lnTo>
                    <a:lnTo>
                      <a:pt x="375" y="60"/>
                    </a:lnTo>
                    <a:lnTo>
                      <a:pt x="366" y="60"/>
                    </a:lnTo>
                    <a:lnTo>
                      <a:pt x="343" y="60"/>
                    </a:lnTo>
                    <a:lnTo>
                      <a:pt x="325" y="60"/>
                    </a:lnTo>
                    <a:lnTo>
                      <a:pt x="302" y="57"/>
                    </a:lnTo>
                    <a:lnTo>
                      <a:pt x="288" y="57"/>
                    </a:lnTo>
                    <a:lnTo>
                      <a:pt x="270" y="54"/>
                    </a:lnTo>
                    <a:lnTo>
                      <a:pt x="252" y="54"/>
                    </a:lnTo>
                    <a:lnTo>
                      <a:pt x="233" y="52"/>
                    </a:lnTo>
                    <a:lnTo>
                      <a:pt x="215" y="49"/>
                    </a:lnTo>
                    <a:lnTo>
                      <a:pt x="197" y="49"/>
                    </a:lnTo>
                    <a:lnTo>
                      <a:pt x="183" y="49"/>
                    </a:lnTo>
                    <a:lnTo>
                      <a:pt x="165" y="46"/>
                    </a:lnTo>
                    <a:lnTo>
                      <a:pt x="151" y="46"/>
                    </a:lnTo>
                    <a:lnTo>
                      <a:pt x="137" y="43"/>
                    </a:lnTo>
                    <a:lnTo>
                      <a:pt x="124" y="43"/>
                    </a:lnTo>
                    <a:lnTo>
                      <a:pt x="110" y="40"/>
                    </a:lnTo>
                    <a:lnTo>
                      <a:pt x="96" y="37"/>
                    </a:lnTo>
                    <a:lnTo>
                      <a:pt x="82" y="37"/>
                    </a:lnTo>
                    <a:lnTo>
                      <a:pt x="73" y="37"/>
                    </a:lnTo>
                    <a:lnTo>
                      <a:pt x="64" y="35"/>
                    </a:lnTo>
                    <a:lnTo>
                      <a:pt x="50" y="35"/>
                    </a:lnTo>
                    <a:lnTo>
                      <a:pt x="41" y="35"/>
                    </a:lnTo>
                    <a:lnTo>
                      <a:pt x="37" y="35"/>
                    </a:lnTo>
                    <a:lnTo>
                      <a:pt x="18" y="32"/>
                    </a:lnTo>
                    <a:lnTo>
                      <a:pt x="14" y="29"/>
                    </a:lnTo>
                    <a:lnTo>
                      <a:pt x="0" y="29"/>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7" name="Freeform 181"/>
              <p:cNvSpPr>
                <a:spLocks/>
              </p:cNvSpPr>
              <p:nvPr>
                <p:custDataLst>
                  <p:tags r:id="rId91"/>
                </p:custDataLst>
              </p:nvPr>
            </p:nvSpPr>
            <p:spPr bwMode="gray">
              <a:xfrm>
                <a:off x="2900" y="1545"/>
                <a:ext cx="1387" cy="114"/>
              </a:xfrm>
              <a:custGeom>
                <a:avLst/>
                <a:gdLst>
                  <a:gd name="T0" fmla="*/ 320 w 1353"/>
                  <a:gd name="T1" fmla="*/ 36 h 125"/>
                  <a:gd name="T2" fmla="*/ 419 w 1353"/>
                  <a:gd name="T3" fmla="*/ 34 h 125"/>
                  <a:gd name="T4" fmla="*/ 524 w 1353"/>
                  <a:gd name="T5" fmla="*/ 33 h 125"/>
                  <a:gd name="T6" fmla="*/ 615 w 1353"/>
                  <a:gd name="T7" fmla="*/ 31 h 125"/>
                  <a:gd name="T8" fmla="*/ 720 w 1353"/>
                  <a:gd name="T9" fmla="*/ 30 h 125"/>
                  <a:gd name="T10" fmla="*/ 824 w 1353"/>
                  <a:gd name="T11" fmla="*/ 27 h 125"/>
                  <a:gd name="T12" fmla="*/ 925 w 1353"/>
                  <a:gd name="T13" fmla="*/ 25 h 125"/>
                  <a:gd name="T14" fmla="*/ 1023 w 1353"/>
                  <a:gd name="T15" fmla="*/ 23 h 125"/>
                  <a:gd name="T16" fmla="*/ 1114 w 1353"/>
                  <a:gd name="T17" fmla="*/ 21 h 125"/>
                  <a:gd name="T18" fmla="*/ 1213 w 1353"/>
                  <a:gd name="T19" fmla="*/ 18 h 125"/>
                  <a:gd name="T20" fmla="*/ 1298 w 1353"/>
                  <a:gd name="T21" fmla="*/ 16 h 125"/>
                  <a:gd name="T22" fmla="*/ 1379 w 1353"/>
                  <a:gd name="T23" fmla="*/ 15 h 125"/>
                  <a:gd name="T24" fmla="*/ 1452 w 1353"/>
                  <a:gd name="T25" fmla="*/ 12 h 125"/>
                  <a:gd name="T26" fmla="*/ 1525 w 1353"/>
                  <a:gd name="T27" fmla="*/ 9 h 125"/>
                  <a:gd name="T28" fmla="*/ 1600 w 1353"/>
                  <a:gd name="T29" fmla="*/ 8 h 125"/>
                  <a:gd name="T30" fmla="*/ 1657 w 1353"/>
                  <a:gd name="T31" fmla="*/ 5 h 125"/>
                  <a:gd name="T32" fmla="*/ 1706 w 1353"/>
                  <a:gd name="T33" fmla="*/ 5 h 125"/>
                  <a:gd name="T34" fmla="*/ 1760 w 1353"/>
                  <a:gd name="T35" fmla="*/ 5 h 125"/>
                  <a:gd name="T36" fmla="*/ 1814 w 1353"/>
                  <a:gd name="T37" fmla="*/ 0 h 125"/>
                  <a:gd name="T38" fmla="*/ 1827 w 1353"/>
                  <a:gd name="T39" fmla="*/ 13 h 125"/>
                  <a:gd name="T40" fmla="*/ 1787 w 1353"/>
                  <a:gd name="T41" fmla="*/ 14 h 125"/>
                  <a:gd name="T42" fmla="*/ 1728 w 1353"/>
                  <a:gd name="T43" fmla="*/ 15 h 125"/>
                  <a:gd name="T44" fmla="*/ 1663 w 1353"/>
                  <a:gd name="T45" fmla="*/ 16 h 125"/>
                  <a:gd name="T46" fmla="*/ 1620 w 1353"/>
                  <a:gd name="T47" fmla="*/ 18 h 125"/>
                  <a:gd name="T48" fmla="*/ 1570 w 1353"/>
                  <a:gd name="T49" fmla="*/ 18 h 125"/>
                  <a:gd name="T50" fmla="*/ 1520 w 1353"/>
                  <a:gd name="T51" fmla="*/ 21 h 125"/>
                  <a:gd name="T52" fmla="*/ 1465 w 1353"/>
                  <a:gd name="T53" fmla="*/ 22 h 125"/>
                  <a:gd name="T54" fmla="*/ 1404 w 1353"/>
                  <a:gd name="T55" fmla="*/ 23 h 125"/>
                  <a:gd name="T56" fmla="*/ 1347 w 1353"/>
                  <a:gd name="T57" fmla="*/ 25 h 125"/>
                  <a:gd name="T58" fmla="*/ 1288 w 1353"/>
                  <a:gd name="T59" fmla="*/ 25 h 125"/>
                  <a:gd name="T60" fmla="*/ 1213 w 1353"/>
                  <a:gd name="T61" fmla="*/ 27 h 125"/>
                  <a:gd name="T62" fmla="*/ 1157 w 1353"/>
                  <a:gd name="T63" fmla="*/ 28 h 125"/>
                  <a:gd name="T64" fmla="*/ 1083 w 1353"/>
                  <a:gd name="T65" fmla="*/ 30 h 125"/>
                  <a:gd name="T66" fmla="*/ 1015 w 1353"/>
                  <a:gd name="T67" fmla="*/ 33 h 125"/>
                  <a:gd name="T68" fmla="*/ 950 w 1353"/>
                  <a:gd name="T69" fmla="*/ 33 h 125"/>
                  <a:gd name="T70" fmla="*/ 881 w 1353"/>
                  <a:gd name="T71" fmla="*/ 34 h 125"/>
                  <a:gd name="T72" fmla="*/ 812 w 1353"/>
                  <a:gd name="T73" fmla="*/ 36 h 125"/>
                  <a:gd name="T74" fmla="*/ 749 w 1353"/>
                  <a:gd name="T75" fmla="*/ 36 h 125"/>
                  <a:gd name="T76" fmla="*/ 678 w 1353"/>
                  <a:gd name="T77" fmla="*/ 38 h 125"/>
                  <a:gd name="T78" fmla="*/ 615 w 1353"/>
                  <a:gd name="T79" fmla="*/ 39 h 125"/>
                  <a:gd name="T80" fmla="*/ 560 w 1353"/>
                  <a:gd name="T81" fmla="*/ 39 h 125"/>
                  <a:gd name="T82" fmla="*/ 499 w 1353"/>
                  <a:gd name="T83" fmla="*/ 39 h 125"/>
                  <a:gd name="T84" fmla="*/ 436 w 1353"/>
                  <a:gd name="T85" fmla="*/ 39 h 125"/>
                  <a:gd name="T86" fmla="*/ 387 w 1353"/>
                  <a:gd name="T87" fmla="*/ 40 h 125"/>
                  <a:gd name="T88" fmla="*/ 337 w 1353"/>
                  <a:gd name="T89" fmla="*/ 40 h 125"/>
                  <a:gd name="T90" fmla="*/ 290 w 1353"/>
                  <a:gd name="T91" fmla="*/ 42 h 125"/>
                  <a:gd name="T92" fmla="*/ 227 w 1353"/>
                  <a:gd name="T93" fmla="*/ 42 h 125"/>
                  <a:gd name="T94" fmla="*/ 153 w 1353"/>
                  <a:gd name="T95" fmla="*/ 42 h 125"/>
                  <a:gd name="T96" fmla="*/ 92 w 1353"/>
                  <a:gd name="T97" fmla="*/ 42 h 125"/>
                  <a:gd name="T98" fmla="*/ 44 w 1353"/>
                  <a:gd name="T99" fmla="*/ 42 h 125"/>
                  <a:gd name="T100" fmla="*/ 0 w 1353"/>
                  <a:gd name="T101" fmla="*/ 42 h 125"/>
                  <a:gd name="T102" fmla="*/ 35 w 1353"/>
                  <a:gd name="T103" fmla="*/ 42 h 125"/>
                  <a:gd name="T104" fmla="*/ 82 w 1353"/>
                  <a:gd name="T105" fmla="*/ 39 h 125"/>
                  <a:gd name="T106" fmla="*/ 153 w 1353"/>
                  <a:gd name="T107" fmla="*/ 39 h 125"/>
                  <a:gd name="T108" fmla="*/ 203 w 1353"/>
                  <a:gd name="T109" fmla="*/ 36 h 125"/>
                  <a:gd name="T110" fmla="*/ 247 w 1353"/>
                  <a:gd name="T111" fmla="*/ 36 h 125"/>
                  <a:gd name="T112" fmla="*/ 252 w 1353"/>
                  <a:gd name="T113" fmla="*/ 36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53"/>
                  <a:gd name="T172" fmla="*/ 0 h 125"/>
                  <a:gd name="T173" fmla="*/ 1353 w 1353"/>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53" h="125">
                    <a:moveTo>
                      <a:pt x="187" y="108"/>
                    </a:moveTo>
                    <a:lnTo>
                      <a:pt x="210" y="108"/>
                    </a:lnTo>
                    <a:lnTo>
                      <a:pt x="238" y="108"/>
                    </a:lnTo>
                    <a:lnTo>
                      <a:pt x="260" y="105"/>
                    </a:lnTo>
                    <a:lnTo>
                      <a:pt x="283" y="105"/>
                    </a:lnTo>
                    <a:lnTo>
                      <a:pt x="311" y="102"/>
                    </a:lnTo>
                    <a:lnTo>
                      <a:pt x="334" y="102"/>
                    </a:lnTo>
                    <a:lnTo>
                      <a:pt x="361" y="102"/>
                    </a:lnTo>
                    <a:lnTo>
                      <a:pt x="388" y="100"/>
                    </a:lnTo>
                    <a:lnTo>
                      <a:pt x="407" y="97"/>
                    </a:lnTo>
                    <a:lnTo>
                      <a:pt x="434" y="97"/>
                    </a:lnTo>
                    <a:lnTo>
                      <a:pt x="457" y="94"/>
                    </a:lnTo>
                    <a:lnTo>
                      <a:pt x="484" y="94"/>
                    </a:lnTo>
                    <a:lnTo>
                      <a:pt x="512" y="91"/>
                    </a:lnTo>
                    <a:lnTo>
                      <a:pt x="535" y="91"/>
                    </a:lnTo>
                    <a:lnTo>
                      <a:pt x="562" y="85"/>
                    </a:lnTo>
                    <a:lnTo>
                      <a:pt x="589" y="85"/>
                    </a:lnTo>
                    <a:lnTo>
                      <a:pt x="612" y="83"/>
                    </a:lnTo>
                    <a:lnTo>
                      <a:pt x="635" y="83"/>
                    </a:lnTo>
                    <a:lnTo>
                      <a:pt x="658" y="77"/>
                    </a:lnTo>
                    <a:lnTo>
                      <a:pt x="685" y="74"/>
                    </a:lnTo>
                    <a:lnTo>
                      <a:pt x="708" y="74"/>
                    </a:lnTo>
                    <a:lnTo>
                      <a:pt x="736" y="71"/>
                    </a:lnTo>
                    <a:lnTo>
                      <a:pt x="759" y="68"/>
                    </a:lnTo>
                    <a:lnTo>
                      <a:pt x="781" y="68"/>
                    </a:lnTo>
                    <a:lnTo>
                      <a:pt x="804" y="65"/>
                    </a:lnTo>
                    <a:lnTo>
                      <a:pt x="827" y="63"/>
                    </a:lnTo>
                    <a:lnTo>
                      <a:pt x="850" y="60"/>
                    </a:lnTo>
                    <a:lnTo>
                      <a:pt x="877" y="60"/>
                    </a:lnTo>
                    <a:lnTo>
                      <a:pt x="900" y="54"/>
                    </a:lnTo>
                    <a:lnTo>
                      <a:pt x="919" y="54"/>
                    </a:lnTo>
                    <a:lnTo>
                      <a:pt x="941" y="51"/>
                    </a:lnTo>
                    <a:lnTo>
                      <a:pt x="964" y="48"/>
                    </a:lnTo>
                    <a:lnTo>
                      <a:pt x="982" y="46"/>
                    </a:lnTo>
                    <a:lnTo>
                      <a:pt x="1005" y="43"/>
                    </a:lnTo>
                    <a:lnTo>
                      <a:pt x="1024" y="43"/>
                    </a:lnTo>
                    <a:lnTo>
                      <a:pt x="1042" y="40"/>
                    </a:lnTo>
                    <a:lnTo>
                      <a:pt x="1060" y="34"/>
                    </a:lnTo>
                    <a:lnTo>
                      <a:pt x="1078" y="34"/>
                    </a:lnTo>
                    <a:lnTo>
                      <a:pt x="1101" y="31"/>
                    </a:lnTo>
                    <a:lnTo>
                      <a:pt x="1120" y="31"/>
                    </a:lnTo>
                    <a:lnTo>
                      <a:pt x="1133" y="26"/>
                    </a:lnTo>
                    <a:lnTo>
                      <a:pt x="1152" y="26"/>
                    </a:lnTo>
                    <a:lnTo>
                      <a:pt x="1170" y="23"/>
                    </a:lnTo>
                    <a:lnTo>
                      <a:pt x="1188" y="23"/>
                    </a:lnTo>
                    <a:lnTo>
                      <a:pt x="1202" y="20"/>
                    </a:lnTo>
                    <a:lnTo>
                      <a:pt x="1216" y="20"/>
                    </a:lnTo>
                    <a:lnTo>
                      <a:pt x="1229" y="14"/>
                    </a:lnTo>
                    <a:lnTo>
                      <a:pt x="1243" y="14"/>
                    </a:lnTo>
                    <a:lnTo>
                      <a:pt x="1257" y="11"/>
                    </a:lnTo>
                    <a:lnTo>
                      <a:pt x="1266" y="11"/>
                    </a:lnTo>
                    <a:lnTo>
                      <a:pt x="1280" y="9"/>
                    </a:lnTo>
                    <a:lnTo>
                      <a:pt x="1289" y="9"/>
                    </a:lnTo>
                    <a:lnTo>
                      <a:pt x="1307" y="6"/>
                    </a:lnTo>
                    <a:lnTo>
                      <a:pt x="1325" y="6"/>
                    </a:lnTo>
                    <a:lnTo>
                      <a:pt x="1334" y="0"/>
                    </a:lnTo>
                    <a:lnTo>
                      <a:pt x="1348" y="0"/>
                    </a:lnTo>
                    <a:lnTo>
                      <a:pt x="1353" y="0"/>
                    </a:lnTo>
                    <a:lnTo>
                      <a:pt x="1353" y="37"/>
                    </a:lnTo>
                    <a:lnTo>
                      <a:pt x="1348" y="37"/>
                    </a:lnTo>
                    <a:lnTo>
                      <a:pt x="1334" y="40"/>
                    </a:lnTo>
                    <a:lnTo>
                      <a:pt x="1325" y="40"/>
                    </a:lnTo>
                    <a:lnTo>
                      <a:pt x="1316" y="43"/>
                    </a:lnTo>
                    <a:lnTo>
                      <a:pt x="1298" y="43"/>
                    </a:lnTo>
                    <a:lnTo>
                      <a:pt x="1284" y="46"/>
                    </a:lnTo>
                    <a:lnTo>
                      <a:pt x="1266" y="46"/>
                    </a:lnTo>
                    <a:lnTo>
                      <a:pt x="1243" y="48"/>
                    </a:lnTo>
                    <a:lnTo>
                      <a:pt x="1234" y="48"/>
                    </a:lnTo>
                    <a:lnTo>
                      <a:pt x="1225" y="48"/>
                    </a:lnTo>
                    <a:lnTo>
                      <a:pt x="1211" y="51"/>
                    </a:lnTo>
                    <a:lnTo>
                      <a:pt x="1202" y="54"/>
                    </a:lnTo>
                    <a:lnTo>
                      <a:pt x="1188" y="54"/>
                    </a:lnTo>
                    <a:lnTo>
                      <a:pt x="1179" y="54"/>
                    </a:lnTo>
                    <a:lnTo>
                      <a:pt x="1165" y="54"/>
                    </a:lnTo>
                    <a:lnTo>
                      <a:pt x="1152" y="57"/>
                    </a:lnTo>
                    <a:lnTo>
                      <a:pt x="1138" y="60"/>
                    </a:lnTo>
                    <a:lnTo>
                      <a:pt x="1129" y="63"/>
                    </a:lnTo>
                    <a:lnTo>
                      <a:pt x="1115" y="63"/>
                    </a:lnTo>
                    <a:lnTo>
                      <a:pt x="1101" y="65"/>
                    </a:lnTo>
                    <a:lnTo>
                      <a:pt x="1088" y="65"/>
                    </a:lnTo>
                    <a:lnTo>
                      <a:pt x="1074" y="68"/>
                    </a:lnTo>
                    <a:lnTo>
                      <a:pt x="1060" y="68"/>
                    </a:lnTo>
                    <a:lnTo>
                      <a:pt x="1042" y="68"/>
                    </a:lnTo>
                    <a:lnTo>
                      <a:pt x="1024" y="71"/>
                    </a:lnTo>
                    <a:lnTo>
                      <a:pt x="1010" y="71"/>
                    </a:lnTo>
                    <a:lnTo>
                      <a:pt x="1001" y="74"/>
                    </a:lnTo>
                    <a:lnTo>
                      <a:pt x="982" y="74"/>
                    </a:lnTo>
                    <a:lnTo>
                      <a:pt x="969" y="74"/>
                    </a:lnTo>
                    <a:lnTo>
                      <a:pt x="955" y="77"/>
                    </a:lnTo>
                    <a:lnTo>
                      <a:pt x="937" y="80"/>
                    </a:lnTo>
                    <a:lnTo>
                      <a:pt x="919" y="83"/>
                    </a:lnTo>
                    <a:lnTo>
                      <a:pt x="900" y="83"/>
                    </a:lnTo>
                    <a:lnTo>
                      <a:pt x="887" y="83"/>
                    </a:lnTo>
                    <a:lnTo>
                      <a:pt x="868" y="85"/>
                    </a:lnTo>
                    <a:lnTo>
                      <a:pt x="859" y="85"/>
                    </a:lnTo>
                    <a:lnTo>
                      <a:pt x="841" y="85"/>
                    </a:lnTo>
                    <a:lnTo>
                      <a:pt x="823" y="91"/>
                    </a:lnTo>
                    <a:lnTo>
                      <a:pt x="804" y="91"/>
                    </a:lnTo>
                    <a:lnTo>
                      <a:pt x="791" y="94"/>
                    </a:lnTo>
                    <a:lnTo>
                      <a:pt x="772" y="94"/>
                    </a:lnTo>
                    <a:lnTo>
                      <a:pt x="754" y="97"/>
                    </a:lnTo>
                    <a:lnTo>
                      <a:pt x="736" y="97"/>
                    </a:lnTo>
                    <a:lnTo>
                      <a:pt x="722" y="97"/>
                    </a:lnTo>
                    <a:lnTo>
                      <a:pt x="704" y="97"/>
                    </a:lnTo>
                    <a:lnTo>
                      <a:pt x="690" y="102"/>
                    </a:lnTo>
                    <a:lnTo>
                      <a:pt x="672" y="102"/>
                    </a:lnTo>
                    <a:lnTo>
                      <a:pt x="653" y="102"/>
                    </a:lnTo>
                    <a:lnTo>
                      <a:pt x="635" y="105"/>
                    </a:lnTo>
                    <a:lnTo>
                      <a:pt x="621" y="105"/>
                    </a:lnTo>
                    <a:lnTo>
                      <a:pt x="603" y="108"/>
                    </a:lnTo>
                    <a:lnTo>
                      <a:pt x="589" y="108"/>
                    </a:lnTo>
                    <a:lnTo>
                      <a:pt x="571" y="108"/>
                    </a:lnTo>
                    <a:lnTo>
                      <a:pt x="557" y="108"/>
                    </a:lnTo>
                    <a:lnTo>
                      <a:pt x="539" y="111"/>
                    </a:lnTo>
                    <a:lnTo>
                      <a:pt x="521" y="114"/>
                    </a:lnTo>
                    <a:lnTo>
                      <a:pt x="503" y="114"/>
                    </a:lnTo>
                    <a:lnTo>
                      <a:pt x="493" y="114"/>
                    </a:lnTo>
                    <a:lnTo>
                      <a:pt x="475" y="117"/>
                    </a:lnTo>
                    <a:lnTo>
                      <a:pt x="457" y="117"/>
                    </a:lnTo>
                    <a:lnTo>
                      <a:pt x="443" y="117"/>
                    </a:lnTo>
                    <a:lnTo>
                      <a:pt x="425" y="117"/>
                    </a:lnTo>
                    <a:lnTo>
                      <a:pt x="416" y="117"/>
                    </a:lnTo>
                    <a:lnTo>
                      <a:pt x="398" y="117"/>
                    </a:lnTo>
                    <a:lnTo>
                      <a:pt x="384" y="117"/>
                    </a:lnTo>
                    <a:lnTo>
                      <a:pt x="370" y="117"/>
                    </a:lnTo>
                    <a:lnTo>
                      <a:pt x="352" y="120"/>
                    </a:lnTo>
                    <a:lnTo>
                      <a:pt x="343" y="120"/>
                    </a:lnTo>
                    <a:lnTo>
                      <a:pt x="324" y="120"/>
                    </a:lnTo>
                    <a:lnTo>
                      <a:pt x="315" y="120"/>
                    </a:lnTo>
                    <a:lnTo>
                      <a:pt x="297" y="120"/>
                    </a:lnTo>
                    <a:lnTo>
                      <a:pt x="288" y="122"/>
                    </a:lnTo>
                    <a:lnTo>
                      <a:pt x="274" y="122"/>
                    </a:lnTo>
                    <a:lnTo>
                      <a:pt x="260" y="122"/>
                    </a:lnTo>
                    <a:lnTo>
                      <a:pt x="251" y="122"/>
                    </a:lnTo>
                    <a:lnTo>
                      <a:pt x="238" y="125"/>
                    </a:lnTo>
                    <a:lnTo>
                      <a:pt x="224" y="125"/>
                    </a:lnTo>
                    <a:lnTo>
                      <a:pt x="215" y="125"/>
                    </a:lnTo>
                    <a:lnTo>
                      <a:pt x="201" y="125"/>
                    </a:lnTo>
                    <a:lnTo>
                      <a:pt x="192" y="125"/>
                    </a:lnTo>
                    <a:lnTo>
                      <a:pt x="169" y="125"/>
                    </a:lnTo>
                    <a:lnTo>
                      <a:pt x="151" y="125"/>
                    </a:lnTo>
                    <a:lnTo>
                      <a:pt x="132" y="125"/>
                    </a:lnTo>
                    <a:lnTo>
                      <a:pt x="114" y="125"/>
                    </a:lnTo>
                    <a:lnTo>
                      <a:pt x="96" y="125"/>
                    </a:lnTo>
                    <a:lnTo>
                      <a:pt x="78" y="125"/>
                    </a:lnTo>
                    <a:lnTo>
                      <a:pt x="68" y="125"/>
                    </a:lnTo>
                    <a:lnTo>
                      <a:pt x="55" y="125"/>
                    </a:lnTo>
                    <a:lnTo>
                      <a:pt x="46" y="125"/>
                    </a:lnTo>
                    <a:lnTo>
                      <a:pt x="32" y="125"/>
                    </a:lnTo>
                    <a:lnTo>
                      <a:pt x="14" y="125"/>
                    </a:lnTo>
                    <a:lnTo>
                      <a:pt x="9" y="125"/>
                    </a:lnTo>
                    <a:lnTo>
                      <a:pt x="0" y="125"/>
                    </a:lnTo>
                    <a:lnTo>
                      <a:pt x="9" y="125"/>
                    </a:lnTo>
                    <a:lnTo>
                      <a:pt x="23" y="125"/>
                    </a:lnTo>
                    <a:lnTo>
                      <a:pt x="32" y="125"/>
                    </a:lnTo>
                    <a:lnTo>
                      <a:pt x="46" y="122"/>
                    </a:lnTo>
                    <a:lnTo>
                      <a:pt x="59" y="120"/>
                    </a:lnTo>
                    <a:lnTo>
                      <a:pt x="78" y="120"/>
                    </a:lnTo>
                    <a:lnTo>
                      <a:pt x="96" y="117"/>
                    </a:lnTo>
                    <a:lnTo>
                      <a:pt x="114" y="117"/>
                    </a:lnTo>
                    <a:lnTo>
                      <a:pt x="123" y="117"/>
                    </a:lnTo>
                    <a:lnTo>
                      <a:pt x="137" y="114"/>
                    </a:lnTo>
                    <a:lnTo>
                      <a:pt x="151" y="111"/>
                    </a:lnTo>
                    <a:lnTo>
                      <a:pt x="164" y="111"/>
                    </a:lnTo>
                    <a:lnTo>
                      <a:pt x="174" y="108"/>
                    </a:lnTo>
                    <a:lnTo>
                      <a:pt x="183" y="108"/>
                    </a:lnTo>
                    <a:lnTo>
                      <a:pt x="187" y="108"/>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8" name="Freeform 182"/>
              <p:cNvSpPr>
                <a:spLocks/>
              </p:cNvSpPr>
              <p:nvPr>
                <p:custDataLst>
                  <p:tags r:id="rId92"/>
                </p:custDataLst>
              </p:nvPr>
            </p:nvSpPr>
            <p:spPr bwMode="gray">
              <a:xfrm>
                <a:off x="1265" y="1784"/>
                <a:ext cx="1077" cy="162"/>
              </a:xfrm>
              <a:custGeom>
                <a:avLst/>
                <a:gdLst>
                  <a:gd name="T0" fmla="*/ 9 w 1051"/>
                  <a:gd name="T1" fmla="*/ 29 h 177"/>
                  <a:gd name="T2" fmla="*/ 48 w 1051"/>
                  <a:gd name="T3" fmla="*/ 26 h 177"/>
                  <a:gd name="T4" fmla="*/ 92 w 1051"/>
                  <a:gd name="T5" fmla="*/ 23 h 177"/>
                  <a:gd name="T6" fmla="*/ 121 w 1051"/>
                  <a:gd name="T7" fmla="*/ 19 h 177"/>
                  <a:gd name="T8" fmla="*/ 147 w 1051"/>
                  <a:gd name="T9" fmla="*/ 16 h 177"/>
                  <a:gd name="T10" fmla="*/ 176 w 1051"/>
                  <a:gd name="T11" fmla="*/ 14 h 177"/>
                  <a:gd name="T12" fmla="*/ 214 w 1051"/>
                  <a:gd name="T13" fmla="*/ 12 h 177"/>
                  <a:gd name="T14" fmla="*/ 239 w 1051"/>
                  <a:gd name="T15" fmla="*/ 9 h 177"/>
                  <a:gd name="T16" fmla="*/ 281 w 1051"/>
                  <a:gd name="T17" fmla="*/ 5 h 177"/>
                  <a:gd name="T18" fmla="*/ 324 w 1051"/>
                  <a:gd name="T19" fmla="*/ 3 h 177"/>
                  <a:gd name="T20" fmla="*/ 356 w 1051"/>
                  <a:gd name="T21" fmla="*/ 0 h 177"/>
                  <a:gd name="T22" fmla="*/ 692 w 1051"/>
                  <a:gd name="T23" fmla="*/ 48 h 177"/>
                  <a:gd name="T24" fmla="*/ 704 w 1051"/>
                  <a:gd name="T25" fmla="*/ 46 h 177"/>
                  <a:gd name="T26" fmla="*/ 747 w 1051"/>
                  <a:gd name="T27" fmla="*/ 41 h 177"/>
                  <a:gd name="T28" fmla="*/ 773 w 1051"/>
                  <a:gd name="T29" fmla="*/ 38 h 177"/>
                  <a:gd name="T30" fmla="*/ 809 w 1051"/>
                  <a:gd name="T31" fmla="*/ 35 h 177"/>
                  <a:gd name="T32" fmla="*/ 838 w 1051"/>
                  <a:gd name="T33" fmla="*/ 32 h 177"/>
                  <a:gd name="T34" fmla="*/ 882 w 1051"/>
                  <a:gd name="T35" fmla="*/ 27 h 177"/>
                  <a:gd name="T36" fmla="*/ 915 w 1051"/>
                  <a:gd name="T37" fmla="*/ 24 h 177"/>
                  <a:gd name="T38" fmla="*/ 949 w 1051"/>
                  <a:gd name="T39" fmla="*/ 21 h 177"/>
                  <a:gd name="T40" fmla="*/ 974 w 1051"/>
                  <a:gd name="T41" fmla="*/ 16 h 177"/>
                  <a:gd name="T42" fmla="*/ 1012 w 1051"/>
                  <a:gd name="T43" fmla="*/ 14 h 177"/>
                  <a:gd name="T44" fmla="*/ 1042 w 1051"/>
                  <a:gd name="T45" fmla="*/ 12 h 177"/>
                  <a:gd name="T46" fmla="*/ 1067 w 1051"/>
                  <a:gd name="T47" fmla="*/ 10 h 177"/>
                  <a:gd name="T48" fmla="*/ 1096 w 1051"/>
                  <a:gd name="T49" fmla="*/ 9 h 177"/>
                  <a:gd name="T50" fmla="*/ 1116 w 1051"/>
                  <a:gd name="T51" fmla="*/ 12 h 177"/>
                  <a:gd name="T52" fmla="*/ 1158 w 1051"/>
                  <a:gd name="T53" fmla="*/ 17 h 177"/>
                  <a:gd name="T54" fmla="*/ 1206 w 1051"/>
                  <a:gd name="T55" fmla="*/ 25 h 177"/>
                  <a:gd name="T56" fmla="*/ 1232 w 1051"/>
                  <a:gd name="T57" fmla="*/ 29 h 177"/>
                  <a:gd name="T58" fmla="*/ 1261 w 1051"/>
                  <a:gd name="T59" fmla="*/ 35 h 177"/>
                  <a:gd name="T60" fmla="*/ 1318 w 1051"/>
                  <a:gd name="T61" fmla="*/ 42 h 177"/>
                  <a:gd name="T62" fmla="*/ 1365 w 1051"/>
                  <a:gd name="T63" fmla="*/ 49 h 177"/>
                  <a:gd name="T64" fmla="*/ 1391 w 1051"/>
                  <a:gd name="T65" fmla="*/ 54 h 177"/>
                  <a:gd name="T66" fmla="*/ 1409 w 1051"/>
                  <a:gd name="T67" fmla="*/ 55 h 177"/>
                  <a:gd name="T68" fmla="*/ 1062 w 1051"/>
                  <a:gd name="T69" fmla="*/ 23 h 177"/>
                  <a:gd name="T70" fmla="*/ 337 w 1051"/>
                  <a:gd name="T71" fmla="*/ 14 h 177"/>
                  <a:gd name="T72" fmla="*/ 0 w 1051"/>
                  <a:gd name="T73" fmla="*/ 32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1"/>
                  <a:gd name="T112" fmla="*/ 0 h 177"/>
                  <a:gd name="T113" fmla="*/ 1051 w 1051"/>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1" h="177">
                    <a:moveTo>
                      <a:pt x="0" y="91"/>
                    </a:moveTo>
                    <a:lnTo>
                      <a:pt x="9" y="85"/>
                    </a:lnTo>
                    <a:lnTo>
                      <a:pt x="23" y="80"/>
                    </a:lnTo>
                    <a:lnTo>
                      <a:pt x="36" y="74"/>
                    </a:lnTo>
                    <a:lnTo>
                      <a:pt x="55" y="68"/>
                    </a:lnTo>
                    <a:lnTo>
                      <a:pt x="68" y="63"/>
                    </a:lnTo>
                    <a:lnTo>
                      <a:pt x="73" y="60"/>
                    </a:lnTo>
                    <a:lnTo>
                      <a:pt x="91" y="54"/>
                    </a:lnTo>
                    <a:lnTo>
                      <a:pt x="96" y="51"/>
                    </a:lnTo>
                    <a:lnTo>
                      <a:pt x="110" y="48"/>
                    </a:lnTo>
                    <a:lnTo>
                      <a:pt x="123" y="46"/>
                    </a:lnTo>
                    <a:lnTo>
                      <a:pt x="132" y="40"/>
                    </a:lnTo>
                    <a:lnTo>
                      <a:pt x="146" y="37"/>
                    </a:lnTo>
                    <a:lnTo>
                      <a:pt x="160" y="34"/>
                    </a:lnTo>
                    <a:lnTo>
                      <a:pt x="169" y="28"/>
                    </a:lnTo>
                    <a:lnTo>
                      <a:pt x="178" y="26"/>
                    </a:lnTo>
                    <a:lnTo>
                      <a:pt x="192" y="23"/>
                    </a:lnTo>
                    <a:lnTo>
                      <a:pt x="210" y="14"/>
                    </a:lnTo>
                    <a:lnTo>
                      <a:pt x="228" y="8"/>
                    </a:lnTo>
                    <a:lnTo>
                      <a:pt x="242" y="3"/>
                    </a:lnTo>
                    <a:lnTo>
                      <a:pt x="256" y="3"/>
                    </a:lnTo>
                    <a:lnTo>
                      <a:pt x="265" y="0"/>
                    </a:lnTo>
                    <a:lnTo>
                      <a:pt x="516" y="139"/>
                    </a:lnTo>
                    <a:lnTo>
                      <a:pt x="516" y="137"/>
                    </a:lnTo>
                    <a:lnTo>
                      <a:pt x="525" y="134"/>
                    </a:lnTo>
                    <a:lnTo>
                      <a:pt x="539" y="125"/>
                    </a:lnTo>
                    <a:lnTo>
                      <a:pt x="557" y="120"/>
                    </a:lnTo>
                    <a:lnTo>
                      <a:pt x="567" y="114"/>
                    </a:lnTo>
                    <a:lnTo>
                      <a:pt x="576" y="111"/>
                    </a:lnTo>
                    <a:lnTo>
                      <a:pt x="585" y="105"/>
                    </a:lnTo>
                    <a:lnTo>
                      <a:pt x="603" y="100"/>
                    </a:lnTo>
                    <a:lnTo>
                      <a:pt x="612" y="94"/>
                    </a:lnTo>
                    <a:lnTo>
                      <a:pt x="626" y="91"/>
                    </a:lnTo>
                    <a:lnTo>
                      <a:pt x="640" y="85"/>
                    </a:lnTo>
                    <a:lnTo>
                      <a:pt x="658" y="80"/>
                    </a:lnTo>
                    <a:lnTo>
                      <a:pt x="663" y="71"/>
                    </a:lnTo>
                    <a:lnTo>
                      <a:pt x="681" y="68"/>
                    </a:lnTo>
                    <a:lnTo>
                      <a:pt x="695" y="63"/>
                    </a:lnTo>
                    <a:lnTo>
                      <a:pt x="708" y="60"/>
                    </a:lnTo>
                    <a:lnTo>
                      <a:pt x="717" y="51"/>
                    </a:lnTo>
                    <a:lnTo>
                      <a:pt x="727" y="48"/>
                    </a:lnTo>
                    <a:lnTo>
                      <a:pt x="745" y="46"/>
                    </a:lnTo>
                    <a:lnTo>
                      <a:pt x="754" y="40"/>
                    </a:lnTo>
                    <a:lnTo>
                      <a:pt x="763" y="37"/>
                    </a:lnTo>
                    <a:lnTo>
                      <a:pt x="777" y="34"/>
                    </a:lnTo>
                    <a:lnTo>
                      <a:pt x="781" y="28"/>
                    </a:lnTo>
                    <a:lnTo>
                      <a:pt x="795" y="28"/>
                    </a:lnTo>
                    <a:lnTo>
                      <a:pt x="804" y="26"/>
                    </a:lnTo>
                    <a:lnTo>
                      <a:pt x="818" y="26"/>
                    </a:lnTo>
                    <a:lnTo>
                      <a:pt x="818" y="28"/>
                    </a:lnTo>
                    <a:lnTo>
                      <a:pt x="832" y="34"/>
                    </a:lnTo>
                    <a:lnTo>
                      <a:pt x="845" y="40"/>
                    </a:lnTo>
                    <a:lnTo>
                      <a:pt x="864" y="51"/>
                    </a:lnTo>
                    <a:lnTo>
                      <a:pt x="877" y="60"/>
                    </a:lnTo>
                    <a:lnTo>
                      <a:pt x="900" y="71"/>
                    </a:lnTo>
                    <a:lnTo>
                      <a:pt x="909" y="80"/>
                    </a:lnTo>
                    <a:lnTo>
                      <a:pt x="919" y="85"/>
                    </a:lnTo>
                    <a:lnTo>
                      <a:pt x="932" y="91"/>
                    </a:lnTo>
                    <a:lnTo>
                      <a:pt x="941" y="100"/>
                    </a:lnTo>
                    <a:lnTo>
                      <a:pt x="964" y="111"/>
                    </a:lnTo>
                    <a:lnTo>
                      <a:pt x="983" y="122"/>
                    </a:lnTo>
                    <a:lnTo>
                      <a:pt x="1001" y="134"/>
                    </a:lnTo>
                    <a:lnTo>
                      <a:pt x="1019" y="142"/>
                    </a:lnTo>
                    <a:lnTo>
                      <a:pt x="1028" y="151"/>
                    </a:lnTo>
                    <a:lnTo>
                      <a:pt x="1037" y="157"/>
                    </a:lnTo>
                    <a:lnTo>
                      <a:pt x="1051" y="162"/>
                    </a:lnTo>
                    <a:lnTo>
                      <a:pt x="992" y="171"/>
                    </a:lnTo>
                    <a:lnTo>
                      <a:pt x="791" y="63"/>
                    </a:lnTo>
                    <a:lnTo>
                      <a:pt x="489" y="177"/>
                    </a:lnTo>
                    <a:lnTo>
                      <a:pt x="251" y="40"/>
                    </a:lnTo>
                    <a:lnTo>
                      <a:pt x="0" y="9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29" name="Freeform 183"/>
              <p:cNvSpPr>
                <a:spLocks/>
              </p:cNvSpPr>
              <p:nvPr>
                <p:custDataLst>
                  <p:tags r:id="rId93"/>
                </p:custDataLst>
              </p:nvPr>
            </p:nvSpPr>
            <p:spPr bwMode="gray">
              <a:xfrm>
                <a:off x="3448" y="1776"/>
                <a:ext cx="890" cy="193"/>
              </a:xfrm>
              <a:custGeom>
                <a:avLst/>
                <a:gdLst>
                  <a:gd name="T0" fmla="*/ 13 w 868"/>
                  <a:gd name="T1" fmla="*/ 45 h 211"/>
                  <a:gd name="T2" fmla="*/ 53 w 868"/>
                  <a:gd name="T3" fmla="*/ 38 h 211"/>
                  <a:gd name="T4" fmla="*/ 88 w 868"/>
                  <a:gd name="T5" fmla="*/ 32 h 211"/>
                  <a:gd name="T6" fmla="*/ 123 w 868"/>
                  <a:gd name="T7" fmla="*/ 26 h 211"/>
                  <a:gd name="T8" fmla="*/ 147 w 868"/>
                  <a:gd name="T9" fmla="*/ 20 h 211"/>
                  <a:gd name="T10" fmla="*/ 177 w 868"/>
                  <a:gd name="T11" fmla="*/ 15 h 211"/>
                  <a:gd name="T12" fmla="*/ 215 w 868"/>
                  <a:gd name="T13" fmla="*/ 11 h 211"/>
                  <a:gd name="T14" fmla="*/ 242 w 868"/>
                  <a:gd name="T15" fmla="*/ 11 h 211"/>
                  <a:gd name="T16" fmla="*/ 271 w 868"/>
                  <a:gd name="T17" fmla="*/ 13 h 211"/>
                  <a:gd name="T18" fmla="*/ 315 w 868"/>
                  <a:gd name="T19" fmla="*/ 20 h 211"/>
                  <a:gd name="T20" fmla="*/ 358 w 868"/>
                  <a:gd name="T21" fmla="*/ 27 h 211"/>
                  <a:gd name="T22" fmla="*/ 413 w 868"/>
                  <a:gd name="T23" fmla="*/ 35 h 211"/>
                  <a:gd name="T24" fmla="*/ 462 w 868"/>
                  <a:gd name="T25" fmla="*/ 43 h 211"/>
                  <a:gd name="T26" fmla="*/ 492 w 868"/>
                  <a:gd name="T27" fmla="*/ 49 h 211"/>
                  <a:gd name="T28" fmla="*/ 524 w 868"/>
                  <a:gd name="T29" fmla="*/ 50 h 211"/>
                  <a:gd name="T30" fmla="*/ 530 w 868"/>
                  <a:gd name="T31" fmla="*/ 49 h 211"/>
                  <a:gd name="T32" fmla="*/ 549 w 868"/>
                  <a:gd name="T33" fmla="*/ 43 h 211"/>
                  <a:gd name="T34" fmla="*/ 585 w 868"/>
                  <a:gd name="T35" fmla="*/ 35 h 211"/>
                  <a:gd name="T36" fmla="*/ 616 w 868"/>
                  <a:gd name="T37" fmla="*/ 29 h 211"/>
                  <a:gd name="T38" fmla="*/ 636 w 868"/>
                  <a:gd name="T39" fmla="*/ 25 h 211"/>
                  <a:gd name="T40" fmla="*/ 660 w 868"/>
                  <a:gd name="T41" fmla="*/ 21 h 211"/>
                  <a:gd name="T42" fmla="*/ 673 w 868"/>
                  <a:gd name="T43" fmla="*/ 16 h 211"/>
                  <a:gd name="T44" fmla="*/ 709 w 868"/>
                  <a:gd name="T45" fmla="*/ 11 h 211"/>
                  <a:gd name="T46" fmla="*/ 740 w 868"/>
                  <a:gd name="T47" fmla="*/ 5 h 211"/>
                  <a:gd name="T48" fmla="*/ 764 w 868"/>
                  <a:gd name="T49" fmla="*/ 0 h 211"/>
                  <a:gd name="T50" fmla="*/ 783 w 868"/>
                  <a:gd name="T51" fmla="*/ 3 h 211"/>
                  <a:gd name="T52" fmla="*/ 808 w 868"/>
                  <a:gd name="T53" fmla="*/ 5 h 211"/>
                  <a:gd name="T54" fmla="*/ 839 w 868"/>
                  <a:gd name="T55" fmla="*/ 5 h 211"/>
                  <a:gd name="T56" fmla="*/ 862 w 868"/>
                  <a:gd name="T57" fmla="*/ 9 h 211"/>
                  <a:gd name="T58" fmla="*/ 901 w 868"/>
                  <a:gd name="T59" fmla="*/ 13 h 211"/>
                  <a:gd name="T60" fmla="*/ 930 w 868"/>
                  <a:gd name="T61" fmla="*/ 17 h 211"/>
                  <a:gd name="T62" fmla="*/ 963 w 868"/>
                  <a:gd name="T63" fmla="*/ 21 h 211"/>
                  <a:gd name="T64" fmla="*/ 1005 w 868"/>
                  <a:gd name="T65" fmla="*/ 26 h 211"/>
                  <a:gd name="T66" fmla="*/ 1035 w 868"/>
                  <a:gd name="T67" fmla="*/ 29 h 211"/>
                  <a:gd name="T68" fmla="*/ 1067 w 868"/>
                  <a:gd name="T69" fmla="*/ 34 h 211"/>
                  <a:gd name="T70" fmla="*/ 1098 w 868"/>
                  <a:gd name="T71" fmla="*/ 38 h 211"/>
                  <a:gd name="T72" fmla="*/ 1135 w 868"/>
                  <a:gd name="T73" fmla="*/ 42 h 211"/>
                  <a:gd name="T74" fmla="*/ 1165 w 868"/>
                  <a:gd name="T75" fmla="*/ 46 h 211"/>
                  <a:gd name="T76" fmla="*/ 1019 w 868"/>
                  <a:gd name="T77" fmla="*/ 49 h 211"/>
                  <a:gd name="T78" fmla="*/ 783 w 868"/>
                  <a:gd name="T79" fmla="*/ 19 h 211"/>
                  <a:gd name="T80" fmla="*/ 764 w 868"/>
                  <a:gd name="T81" fmla="*/ 21 h 211"/>
                  <a:gd name="T82" fmla="*/ 752 w 868"/>
                  <a:gd name="T83" fmla="*/ 25 h 211"/>
                  <a:gd name="T84" fmla="*/ 733 w 868"/>
                  <a:gd name="T85" fmla="*/ 29 h 211"/>
                  <a:gd name="T86" fmla="*/ 709 w 868"/>
                  <a:gd name="T87" fmla="*/ 35 h 211"/>
                  <a:gd name="T88" fmla="*/ 678 w 868"/>
                  <a:gd name="T89" fmla="*/ 39 h 211"/>
                  <a:gd name="T90" fmla="*/ 654 w 868"/>
                  <a:gd name="T91" fmla="*/ 45 h 211"/>
                  <a:gd name="T92" fmla="*/ 629 w 868"/>
                  <a:gd name="T93" fmla="*/ 50 h 211"/>
                  <a:gd name="T94" fmla="*/ 598 w 868"/>
                  <a:gd name="T95" fmla="*/ 55 h 211"/>
                  <a:gd name="T96" fmla="*/ 567 w 868"/>
                  <a:gd name="T97" fmla="*/ 59 h 211"/>
                  <a:gd name="T98" fmla="*/ 542 w 868"/>
                  <a:gd name="T99" fmla="*/ 64 h 211"/>
                  <a:gd name="T100" fmla="*/ 518 w 868"/>
                  <a:gd name="T101" fmla="*/ 71 h 211"/>
                  <a:gd name="T102" fmla="*/ 492 w 868"/>
                  <a:gd name="T103" fmla="*/ 72 h 211"/>
                  <a:gd name="T104" fmla="*/ 480 w 868"/>
                  <a:gd name="T105" fmla="*/ 67 h 211"/>
                  <a:gd name="T106" fmla="*/ 450 w 868"/>
                  <a:gd name="T107" fmla="*/ 61 h 211"/>
                  <a:gd name="T108" fmla="*/ 413 w 868"/>
                  <a:gd name="T109" fmla="*/ 54 h 211"/>
                  <a:gd name="T110" fmla="*/ 358 w 868"/>
                  <a:gd name="T111" fmla="*/ 46 h 211"/>
                  <a:gd name="T112" fmla="*/ 339 w 868"/>
                  <a:gd name="T113" fmla="*/ 41 h 211"/>
                  <a:gd name="T114" fmla="*/ 315 w 868"/>
                  <a:gd name="T115" fmla="*/ 38 h 211"/>
                  <a:gd name="T116" fmla="*/ 271 w 868"/>
                  <a:gd name="T117" fmla="*/ 31 h 211"/>
                  <a:gd name="T118" fmla="*/ 247 w 868"/>
                  <a:gd name="T119" fmla="*/ 26 h 211"/>
                  <a:gd name="T120" fmla="*/ 0 w 868"/>
                  <a:gd name="T121" fmla="*/ 48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8"/>
                  <a:gd name="T184" fmla="*/ 0 h 211"/>
                  <a:gd name="T185" fmla="*/ 868 w 868"/>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8" h="211">
                    <a:moveTo>
                      <a:pt x="0" y="140"/>
                    </a:moveTo>
                    <a:lnTo>
                      <a:pt x="13" y="131"/>
                    </a:lnTo>
                    <a:lnTo>
                      <a:pt x="27" y="123"/>
                    </a:lnTo>
                    <a:lnTo>
                      <a:pt x="41" y="111"/>
                    </a:lnTo>
                    <a:lnTo>
                      <a:pt x="54" y="103"/>
                    </a:lnTo>
                    <a:lnTo>
                      <a:pt x="64" y="92"/>
                    </a:lnTo>
                    <a:lnTo>
                      <a:pt x="77" y="83"/>
                    </a:lnTo>
                    <a:lnTo>
                      <a:pt x="91" y="74"/>
                    </a:lnTo>
                    <a:lnTo>
                      <a:pt x="105" y="66"/>
                    </a:lnTo>
                    <a:lnTo>
                      <a:pt x="109" y="57"/>
                    </a:lnTo>
                    <a:lnTo>
                      <a:pt x="123" y="49"/>
                    </a:lnTo>
                    <a:lnTo>
                      <a:pt x="132" y="43"/>
                    </a:lnTo>
                    <a:lnTo>
                      <a:pt x="146" y="37"/>
                    </a:lnTo>
                    <a:lnTo>
                      <a:pt x="160" y="29"/>
                    </a:lnTo>
                    <a:lnTo>
                      <a:pt x="173" y="26"/>
                    </a:lnTo>
                    <a:lnTo>
                      <a:pt x="178" y="29"/>
                    </a:lnTo>
                    <a:lnTo>
                      <a:pt x="187" y="35"/>
                    </a:lnTo>
                    <a:lnTo>
                      <a:pt x="201" y="37"/>
                    </a:lnTo>
                    <a:lnTo>
                      <a:pt x="214" y="49"/>
                    </a:lnTo>
                    <a:lnTo>
                      <a:pt x="233" y="57"/>
                    </a:lnTo>
                    <a:lnTo>
                      <a:pt x="251" y="69"/>
                    </a:lnTo>
                    <a:lnTo>
                      <a:pt x="265" y="80"/>
                    </a:lnTo>
                    <a:lnTo>
                      <a:pt x="288" y="94"/>
                    </a:lnTo>
                    <a:lnTo>
                      <a:pt x="306" y="103"/>
                    </a:lnTo>
                    <a:lnTo>
                      <a:pt x="324" y="114"/>
                    </a:lnTo>
                    <a:lnTo>
                      <a:pt x="342" y="126"/>
                    </a:lnTo>
                    <a:lnTo>
                      <a:pt x="356" y="134"/>
                    </a:lnTo>
                    <a:lnTo>
                      <a:pt x="365" y="143"/>
                    </a:lnTo>
                    <a:lnTo>
                      <a:pt x="379" y="146"/>
                    </a:lnTo>
                    <a:lnTo>
                      <a:pt x="388" y="148"/>
                    </a:lnTo>
                    <a:lnTo>
                      <a:pt x="393" y="148"/>
                    </a:lnTo>
                    <a:lnTo>
                      <a:pt x="393" y="143"/>
                    </a:lnTo>
                    <a:lnTo>
                      <a:pt x="402" y="134"/>
                    </a:lnTo>
                    <a:lnTo>
                      <a:pt x="406" y="126"/>
                    </a:lnTo>
                    <a:lnTo>
                      <a:pt x="420" y="114"/>
                    </a:lnTo>
                    <a:lnTo>
                      <a:pt x="434" y="103"/>
                    </a:lnTo>
                    <a:lnTo>
                      <a:pt x="447" y="92"/>
                    </a:lnTo>
                    <a:lnTo>
                      <a:pt x="457" y="86"/>
                    </a:lnTo>
                    <a:lnTo>
                      <a:pt x="466" y="80"/>
                    </a:lnTo>
                    <a:lnTo>
                      <a:pt x="470" y="72"/>
                    </a:lnTo>
                    <a:lnTo>
                      <a:pt x="479" y="69"/>
                    </a:lnTo>
                    <a:lnTo>
                      <a:pt x="489" y="60"/>
                    </a:lnTo>
                    <a:lnTo>
                      <a:pt x="493" y="55"/>
                    </a:lnTo>
                    <a:lnTo>
                      <a:pt x="498" y="46"/>
                    </a:lnTo>
                    <a:lnTo>
                      <a:pt x="507" y="40"/>
                    </a:lnTo>
                    <a:lnTo>
                      <a:pt x="525" y="29"/>
                    </a:lnTo>
                    <a:lnTo>
                      <a:pt x="539" y="20"/>
                    </a:lnTo>
                    <a:lnTo>
                      <a:pt x="548" y="12"/>
                    </a:lnTo>
                    <a:lnTo>
                      <a:pt x="562" y="3"/>
                    </a:lnTo>
                    <a:lnTo>
                      <a:pt x="566" y="0"/>
                    </a:lnTo>
                    <a:lnTo>
                      <a:pt x="580" y="0"/>
                    </a:lnTo>
                    <a:lnTo>
                      <a:pt x="580" y="3"/>
                    </a:lnTo>
                    <a:lnTo>
                      <a:pt x="594" y="6"/>
                    </a:lnTo>
                    <a:lnTo>
                      <a:pt x="598" y="9"/>
                    </a:lnTo>
                    <a:lnTo>
                      <a:pt x="612" y="12"/>
                    </a:lnTo>
                    <a:lnTo>
                      <a:pt x="621" y="17"/>
                    </a:lnTo>
                    <a:lnTo>
                      <a:pt x="630" y="23"/>
                    </a:lnTo>
                    <a:lnTo>
                      <a:pt x="639" y="26"/>
                    </a:lnTo>
                    <a:lnTo>
                      <a:pt x="653" y="32"/>
                    </a:lnTo>
                    <a:lnTo>
                      <a:pt x="667" y="37"/>
                    </a:lnTo>
                    <a:lnTo>
                      <a:pt x="676" y="43"/>
                    </a:lnTo>
                    <a:lnTo>
                      <a:pt x="690" y="49"/>
                    </a:lnTo>
                    <a:lnTo>
                      <a:pt x="703" y="57"/>
                    </a:lnTo>
                    <a:lnTo>
                      <a:pt x="713" y="60"/>
                    </a:lnTo>
                    <a:lnTo>
                      <a:pt x="731" y="69"/>
                    </a:lnTo>
                    <a:lnTo>
                      <a:pt x="745" y="74"/>
                    </a:lnTo>
                    <a:lnTo>
                      <a:pt x="754" y="80"/>
                    </a:lnTo>
                    <a:lnTo>
                      <a:pt x="767" y="86"/>
                    </a:lnTo>
                    <a:lnTo>
                      <a:pt x="781" y="92"/>
                    </a:lnTo>
                    <a:lnTo>
                      <a:pt x="790" y="97"/>
                    </a:lnTo>
                    <a:lnTo>
                      <a:pt x="799" y="103"/>
                    </a:lnTo>
                    <a:lnTo>
                      <a:pt x="813" y="109"/>
                    </a:lnTo>
                    <a:lnTo>
                      <a:pt x="822" y="114"/>
                    </a:lnTo>
                    <a:lnTo>
                      <a:pt x="841" y="123"/>
                    </a:lnTo>
                    <a:lnTo>
                      <a:pt x="854" y="131"/>
                    </a:lnTo>
                    <a:lnTo>
                      <a:pt x="863" y="134"/>
                    </a:lnTo>
                    <a:lnTo>
                      <a:pt x="868" y="134"/>
                    </a:lnTo>
                    <a:lnTo>
                      <a:pt x="754" y="143"/>
                    </a:lnTo>
                    <a:lnTo>
                      <a:pt x="585" y="52"/>
                    </a:lnTo>
                    <a:lnTo>
                      <a:pt x="580" y="55"/>
                    </a:lnTo>
                    <a:lnTo>
                      <a:pt x="575" y="57"/>
                    </a:lnTo>
                    <a:lnTo>
                      <a:pt x="566" y="60"/>
                    </a:lnTo>
                    <a:lnTo>
                      <a:pt x="562" y="69"/>
                    </a:lnTo>
                    <a:lnTo>
                      <a:pt x="557" y="72"/>
                    </a:lnTo>
                    <a:lnTo>
                      <a:pt x="548" y="80"/>
                    </a:lnTo>
                    <a:lnTo>
                      <a:pt x="543" y="86"/>
                    </a:lnTo>
                    <a:lnTo>
                      <a:pt x="530" y="92"/>
                    </a:lnTo>
                    <a:lnTo>
                      <a:pt x="525" y="100"/>
                    </a:lnTo>
                    <a:lnTo>
                      <a:pt x="511" y="109"/>
                    </a:lnTo>
                    <a:lnTo>
                      <a:pt x="502" y="114"/>
                    </a:lnTo>
                    <a:lnTo>
                      <a:pt x="489" y="123"/>
                    </a:lnTo>
                    <a:lnTo>
                      <a:pt x="484" y="131"/>
                    </a:lnTo>
                    <a:lnTo>
                      <a:pt x="475" y="137"/>
                    </a:lnTo>
                    <a:lnTo>
                      <a:pt x="466" y="146"/>
                    </a:lnTo>
                    <a:lnTo>
                      <a:pt x="452" y="154"/>
                    </a:lnTo>
                    <a:lnTo>
                      <a:pt x="443" y="160"/>
                    </a:lnTo>
                    <a:lnTo>
                      <a:pt x="434" y="168"/>
                    </a:lnTo>
                    <a:lnTo>
                      <a:pt x="420" y="174"/>
                    </a:lnTo>
                    <a:lnTo>
                      <a:pt x="415" y="183"/>
                    </a:lnTo>
                    <a:lnTo>
                      <a:pt x="402" y="186"/>
                    </a:lnTo>
                    <a:lnTo>
                      <a:pt x="402" y="194"/>
                    </a:lnTo>
                    <a:lnTo>
                      <a:pt x="384" y="205"/>
                    </a:lnTo>
                    <a:lnTo>
                      <a:pt x="374" y="208"/>
                    </a:lnTo>
                    <a:lnTo>
                      <a:pt x="365" y="211"/>
                    </a:lnTo>
                    <a:lnTo>
                      <a:pt x="365" y="205"/>
                    </a:lnTo>
                    <a:lnTo>
                      <a:pt x="356" y="197"/>
                    </a:lnTo>
                    <a:lnTo>
                      <a:pt x="347" y="191"/>
                    </a:lnTo>
                    <a:lnTo>
                      <a:pt x="333" y="180"/>
                    </a:lnTo>
                    <a:lnTo>
                      <a:pt x="320" y="168"/>
                    </a:lnTo>
                    <a:lnTo>
                      <a:pt x="306" y="157"/>
                    </a:lnTo>
                    <a:lnTo>
                      <a:pt x="288" y="143"/>
                    </a:lnTo>
                    <a:lnTo>
                      <a:pt x="265" y="134"/>
                    </a:lnTo>
                    <a:lnTo>
                      <a:pt x="256" y="126"/>
                    </a:lnTo>
                    <a:lnTo>
                      <a:pt x="251" y="120"/>
                    </a:lnTo>
                    <a:lnTo>
                      <a:pt x="237" y="114"/>
                    </a:lnTo>
                    <a:lnTo>
                      <a:pt x="233" y="109"/>
                    </a:lnTo>
                    <a:lnTo>
                      <a:pt x="214" y="97"/>
                    </a:lnTo>
                    <a:lnTo>
                      <a:pt x="201" y="89"/>
                    </a:lnTo>
                    <a:lnTo>
                      <a:pt x="187" y="80"/>
                    </a:lnTo>
                    <a:lnTo>
                      <a:pt x="182" y="74"/>
                    </a:lnTo>
                    <a:lnTo>
                      <a:pt x="173" y="69"/>
                    </a:lnTo>
                    <a:lnTo>
                      <a:pt x="0" y="1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30" name="Freeform 184"/>
              <p:cNvSpPr>
                <a:spLocks/>
              </p:cNvSpPr>
              <p:nvPr>
                <p:custDataLst>
                  <p:tags r:id="rId94"/>
                </p:custDataLst>
              </p:nvPr>
            </p:nvSpPr>
            <p:spPr bwMode="gray">
              <a:xfrm>
                <a:off x="2468" y="1772"/>
                <a:ext cx="980" cy="129"/>
              </a:xfrm>
              <a:custGeom>
                <a:avLst/>
                <a:gdLst>
                  <a:gd name="T0" fmla="*/ 49 w 956"/>
                  <a:gd name="T1" fmla="*/ 31 h 142"/>
                  <a:gd name="T2" fmla="*/ 93 w 956"/>
                  <a:gd name="T3" fmla="*/ 25 h 142"/>
                  <a:gd name="T4" fmla="*/ 137 w 956"/>
                  <a:gd name="T5" fmla="*/ 22 h 142"/>
                  <a:gd name="T6" fmla="*/ 178 w 956"/>
                  <a:gd name="T7" fmla="*/ 18 h 142"/>
                  <a:gd name="T8" fmla="*/ 228 w 956"/>
                  <a:gd name="T9" fmla="*/ 14 h 142"/>
                  <a:gd name="T10" fmla="*/ 284 w 956"/>
                  <a:gd name="T11" fmla="*/ 12 h 142"/>
                  <a:gd name="T12" fmla="*/ 333 w 956"/>
                  <a:gd name="T13" fmla="*/ 9 h 142"/>
                  <a:gd name="T14" fmla="*/ 387 w 956"/>
                  <a:gd name="T15" fmla="*/ 6 h 142"/>
                  <a:gd name="T16" fmla="*/ 449 w 956"/>
                  <a:gd name="T17" fmla="*/ 5 h 142"/>
                  <a:gd name="T18" fmla="*/ 504 w 956"/>
                  <a:gd name="T19" fmla="*/ 5 h 142"/>
                  <a:gd name="T20" fmla="*/ 568 w 956"/>
                  <a:gd name="T21" fmla="*/ 5 h 142"/>
                  <a:gd name="T22" fmla="*/ 623 w 956"/>
                  <a:gd name="T23" fmla="*/ 3 h 142"/>
                  <a:gd name="T24" fmla="*/ 673 w 956"/>
                  <a:gd name="T25" fmla="*/ 3 h 142"/>
                  <a:gd name="T26" fmla="*/ 732 w 956"/>
                  <a:gd name="T27" fmla="*/ 0 h 142"/>
                  <a:gd name="T28" fmla="*/ 787 w 956"/>
                  <a:gd name="T29" fmla="*/ 0 h 142"/>
                  <a:gd name="T30" fmla="*/ 839 w 956"/>
                  <a:gd name="T31" fmla="*/ 3 h 142"/>
                  <a:gd name="T32" fmla="*/ 882 w 956"/>
                  <a:gd name="T33" fmla="*/ 3 h 142"/>
                  <a:gd name="T34" fmla="*/ 931 w 956"/>
                  <a:gd name="T35" fmla="*/ 5 h 142"/>
                  <a:gd name="T36" fmla="*/ 989 w 956"/>
                  <a:gd name="T37" fmla="*/ 5 h 142"/>
                  <a:gd name="T38" fmla="*/ 1039 w 956"/>
                  <a:gd name="T39" fmla="*/ 6 h 142"/>
                  <a:gd name="T40" fmla="*/ 1089 w 956"/>
                  <a:gd name="T41" fmla="*/ 10 h 142"/>
                  <a:gd name="T42" fmla="*/ 1139 w 956"/>
                  <a:gd name="T43" fmla="*/ 13 h 142"/>
                  <a:gd name="T44" fmla="*/ 1194 w 956"/>
                  <a:gd name="T45" fmla="*/ 19 h 142"/>
                  <a:gd name="T46" fmla="*/ 1249 w 956"/>
                  <a:gd name="T47" fmla="*/ 25 h 142"/>
                  <a:gd name="T48" fmla="*/ 1280 w 956"/>
                  <a:gd name="T49" fmla="*/ 30 h 142"/>
                  <a:gd name="T50" fmla="*/ 1280 w 956"/>
                  <a:gd name="T51" fmla="*/ 31 h 142"/>
                  <a:gd name="T52" fmla="*/ 1231 w 956"/>
                  <a:gd name="T53" fmla="*/ 27 h 142"/>
                  <a:gd name="T54" fmla="*/ 1183 w 956"/>
                  <a:gd name="T55" fmla="*/ 23 h 142"/>
                  <a:gd name="T56" fmla="*/ 1128 w 956"/>
                  <a:gd name="T57" fmla="*/ 20 h 142"/>
                  <a:gd name="T58" fmla="*/ 1064 w 956"/>
                  <a:gd name="T59" fmla="*/ 16 h 142"/>
                  <a:gd name="T60" fmla="*/ 989 w 956"/>
                  <a:gd name="T61" fmla="*/ 14 h 142"/>
                  <a:gd name="T62" fmla="*/ 911 w 956"/>
                  <a:gd name="T63" fmla="*/ 10 h 142"/>
                  <a:gd name="T64" fmla="*/ 856 w 956"/>
                  <a:gd name="T65" fmla="*/ 9 h 142"/>
                  <a:gd name="T66" fmla="*/ 814 w 956"/>
                  <a:gd name="T67" fmla="*/ 8 h 142"/>
                  <a:gd name="T68" fmla="*/ 769 w 956"/>
                  <a:gd name="T69" fmla="*/ 8 h 142"/>
                  <a:gd name="T70" fmla="*/ 728 w 956"/>
                  <a:gd name="T71" fmla="*/ 8 h 142"/>
                  <a:gd name="T72" fmla="*/ 684 w 956"/>
                  <a:gd name="T73" fmla="*/ 8 h 142"/>
                  <a:gd name="T74" fmla="*/ 634 w 956"/>
                  <a:gd name="T75" fmla="*/ 8 h 142"/>
                  <a:gd name="T76" fmla="*/ 585 w 956"/>
                  <a:gd name="T77" fmla="*/ 9 h 142"/>
                  <a:gd name="T78" fmla="*/ 535 w 956"/>
                  <a:gd name="T79" fmla="*/ 10 h 142"/>
                  <a:gd name="T80" fmla="*/ 492 w 956"/>
                  <a:gd name="T81" fmla="*/ 12 h 142"/>
                  <a:gd name="T82" fmla="*/ 444 w 956"/>
                  <a:gd name="T83" fmla="*/ 14 h 142"/>
                  <a:gd name="T84" fmla="*/ 401 w 956"/>
                  <a:gd name="T85" fmla="*/ 16 h 142"/>
                  <a:gd name="T86" fmla="*/ 359 w 956"/>
                  <a:gd name="T87" fmla="*/ 18 h 142"/>
                  <a:gd name="T88" fmla="*/ 309 w 956"/>
                  <a:gd name="T89" fmla="*/ 21 h 142"/>
                  <a:gd name="T90" fmla="*/ 253 w 956"/>
                  <a:gd name="T91" fmla="*/ 25 h 142"/>
                  <a:gd name="T92" fmla="*/ 186 w 956"/>
                  <a:gd name="T93" fmla="*/ 31 h 142"/>
                  <a:gd name="T94" fmla="*/ 116 w 956"/>
                  <a:gd name="T95" fmla="*/ 37 h 142"/>
                  <a:gd name="T96" fmla="*/ 58 w 956"/>
                  <a:gd name="T97" fmla="*/ 41 h 142"/>
                  <a:gd name="T98" fmla="*/ 0 w 956"/>
                  <a:gd name="T99" fmla="*/ 45 h 142"/>
                  <a:gd name="T100" fmla="*/ 5 w 956"/>
                  <a:gd name="T101" fmla="*/ 40 h 142"/>
                  <a:gd name="T102" fmla="*/ 5 w 956"/>
                  <a:gd name="T103" fmla="*/ 37 h 1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6"/>
                  <a:gd name="T157" fmla="*/ 0 h 142"/>
                  <a:gd name="T158" fmla="*/ 956 w 956"/>
                  <a:gd name="T159" fmla="*/ 142 h 1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6" h="142">
                    <a:moveTo>
                      <a:pt x="5" y="119"/>
                    </a:moveTo>
                    <a:lnTo>
                      <a:pt x="19" y="108"/>
                    </a:lnTo>
                    <a:lnTo>
                      <a:pt x="37" y="97"/>
                    </a:lnTo>
                    <a:lnTo>
                      <a:pt x="46" y="91"/>
                    </a:lnTo>
                    <a:lnTo>
                      <a:pt x="55" y="85"/>
                    </a:lnTo>
                    <a:lnTo>
                      <a:pt x="69" y="79"/>
                    </a:lnTo>
                    <a:lnTo>
                      <a:pt x="78" y="77"/>
                    </a:lnTo>
                    <a:lnTo>
                      <a:pt x="87" y="74"/>
                    </a:lnTo>
                    <a:lnTo>
                      <a:pt x="101" y="68"/>
                    </a:lnTo>
                    <a:lnTo>
                      <a:pt x="110" y="62"/>
                    </a:lnTo>
                    <a:lnTo>
                      <a:pt x="119" y="60"/>
                    </a:lnTo>
                    <a:lnTo>
                      <a:pt x="133" y="57"/>
                    </a:lnTo>
                    <a:lnTo>
                      <a:pt x="147" y="51"/>
                    </a:lnTo>
                    <a:lnTo>
                      <a:pt x="156" y="51"/>
                    </a:lnTo>
                    <a:lnTo>
                      <a:pt x="170" y="45"/>
                    </a:lnTo>
                    <a:lnTo>
                      <a:pt x="183" y="42"/>
                    </a:lnTo>
                    <a:lnTo>
                      <a:pt x="192" y="40"/>
                    </a:lnTo>
                    <a:lnTo>
                      <a:pt x="211" y="37"/>
                    </a:lnTo>
                    <a:lnTo>
                      <a:pt x="224" y="31"/>
                    </a:lnTo>
                    <a:lnTo>
                      <a:pt x="234" y="31"/>
                    </a:lnTo>
                    <a:lnTo>
                      <a:pt x="247" y="28"/>
                    </a:lnTo>
                    <a:lnTo>
                      <a:pt x="261" y="25"/>
                    </a:lnTo>
                    <a:lnTo>
                      <a:pt x="279" y="22"/>
                    </a:lnTo>
                    <a:lnTo>
                      <a:pt x="288" y="20"/>
                    </a:lnTo>
                    <a:lnTo>
                      <a:pt x="307" y="20"/>
                    </a:lnTo>
                    <a:lnTo>
                      <a:pt x="320" y="17"/>
                    </a:lnTo>
                    <a:lnTo>
                      <a:pt x="334" y="17"/>
                    </a:lnTo>
                    <a:lnTo>
                      <a:pt x="343" y="14"/>
                    </a:lnTo>
                    <a:lnTo>
                      <a:pt x="361" y="11"/>
                    </a:lnTo>
                    <a:lnTo>
                      <a:pt x="375" y="8"/>
                    </a:lnTo>
                    <a:lnTo>
                      <a:pt x="393" y="8"/>
                    </a:lnTo>
                    <a:lnTo>
                      <a:pt x="403" y="8"/>
                    </a:lnTo>
                    <a:lnTo>
                      <a:pt x="421" y="5"/>
                    </a:lnTo>
                    <a:lnTo>
                      <a:pt x="430" y="5"/>
                    </a:lnTo>
                    <a:lnTo>
                      <a:pt x="448" y="5"/>
                    </a:lnTo>
                    <a:lnTo>
                      <a:pt x="462" y="3"/>
                    </a:lnTo>
                    <a:lnTo>
                      <a:pt x="476" y="3"/>
                    </a:lnTo>
                    <a:lnTo>
                      <a:pt x="489" y="3"/>
                    </a:lnTo>
                    <a:lnTo>
                      <a:pt x="499" y="3"/>
                    </a:lnTo>
                    <a:lnTo>
                      <a:pt x="517" y="0"/>
                    </a:lnTo>
                    <a:lnTo>
                      <a:pt x="531" y="0"/>
                    </a:lnTo>
                    <a:lnTo>
                      <a:pt x="544" y="0"/>
                    </a:lnTo>
                    <a:lnTo>
                      <a:pt x="553" y="0"/>
                    </a:lnTo>
                    <a:lnTo>
                      <a:pt x="567" y="0"/>
                    </a:lnTo>
                    <a:lnTo>
                      <a:pt x="585" y="0"/>
                    </a:lnTo>
                    <a:lnTo>
                      <a:pt x="595" y="0"/>
                    </a:lnTo>
                    <a:lnTo>
                      <a:pt x="608" y="3"/>
                    </a:lnTo>
                    <a:lnTo>
                      <a:pt x="622" y="3"/>
                    </a:lnTo>
                    <a:lnTo>
                      <a:pt x="631" y="3"/>
                    </a:lnTo>
                    <a:lnTo>
                      <a:pt x="645" y="3"/>
                    </a:lnTo>
                    <a:lnTo>
                      <a:pt x="654" y="3"/>
                    </a:lnTo>
                    <a:lnTo>
                      <a:pt x="668" y="3"/>
                    </a:lnTo>
                    <a:lnTo>
                      <a:pt x="677" y="3"/>
                    </a:lnTo>
                    <a:lnTo>
                      <a:pt x="691" y="5"/>
                    </a:lnTo>
                    <a:lnTo>
                      <a:pt x="700" y="5"/>
                    </a:lnTo>
                    <a:lnTo>
                      <a:pt x="718" y="8"/>
                    </a:lnTo>
                    <a:lnTo>
                      <a:pt x="736" y="8"/>
                    </a:lnTo>
                    <a:lnTo>
                      <a:pt x="750" y="14"/>
                    </a:lnTo>
                    <a:lnTo>
                      <a:pt x="764" y="17"/>
                    </a:lnTo>
                    <a:lnTo>
                      <a:pt x="773" y="20"/>
                    </a:lnTo>
                    <a:lnTo>
                      <a:pt x="791" y="22"/>
                    </a:lnTo>
                    <a:lnTo>
                      <a:pt x="800" y="25"/>
                    </a:lnTo>
                    <a:lnTo>
                      <a:pt x="809" y="31"/>
                    </a:lnTo>
                    <a:lnTo>
                      <a:pt x="823" y="31"/>
                    </a:lnTo>
                    <a:lnTo>
                      <a:pt x="837" y="37"/>
                    </a:lnTo>
                    <a:lnTo>
                      <a:pt x="846" y="40"/>
                    </a:lnTo>
                    <a:lnTo>
                      <a:pt x="855" y="42"/>
                    </a:lnTo>
                    <a:lnTo>
                      <a:pt x="873" y="51"/>
                    </a:lnTo>
                    <a:lnTo>
                      <a:pt x="887" y="60"/>
                    </a:lnTo>
                    <a:lnTo>
                      <a:pt x="905" y="65"/>
                    </a:lnTo>
                    <a:lnTo>
                      <a:pt x="919" y="74"/>
                    </a:lnTo>
                    <a:lnTo>
                      <a:pt x="928" y="77"/>
                    </a:lnTo>
                    <a:lnTo>
                      <a:pt x="937" y="85"/>
                    </a:lnTo>
                    <a:lnTo>
                      <a:pt x="946" y="88"/>
                    </a:lnTo>
                    <a:lnTo>
                      <a:pt x="951" y="94"/>
                    </a:lnTo>
                    <a:lnTo>
                      <a:pt x="956" y="97"/>
                    </a:lnTo>
                    <a:lnTo>
                      <a:pt x="956" y="99"/>
                    </a:lnTo>
                    <a:lnTo>
                      <a:pt x="951" y="97"/>
                    </a:lnTo>
                    <a:lnTo>
                      <a:pt x="942" y="94"/>
                    </a:lnTo>
                    <a:lnTo>
                      <a:pt x="928" y="88"/>
                    </a:lnTo>
                    <a:lnTo>
                      <a:pt x="914" y="85"/>
                    </a:lnTo>
                    <a:lnTo>
                      <a:pt x="901" y="79"/>
                    </a:lnTo>
                    <a:lnTo>
                      <a:pt x="887" y="77"/>
                    </a:lnTo>
                    <a:lnTo>
                      <a:pt x="878" y="74"/>
                    </a:lnTo>
                    <a:lnTo>
                      <a:pt x="864" y="68"/>
                    </a:lnTo>
                    <a:lnTo>
                      <a:pt x="846" y="65"/>
                    </a:lnTo>
                    <a:lnTo>
                      <a:pt x="837" y="62"/>
                    </a:lnTo>
                    <a:lnTo>
                      <a:pt x="823" y="60"/>
                    </a:lnTo>
                    <a:lnTo>
                      <a:pt x="809" y="57"/>
                    </a:lnTo>
                    <a:lnTo>
                      <a:pt x="791" y="51"/>
                    </a:lnTo>
                    <a:lnTo>
                      <a:pt x="773" y="51"/>
                    </a:lnTo>
                    <a:lnTo>
                      <a:pt x="755" y="45"/>
                    </a:lnTo>
                    <a:lnTo>
                      <a:pt x="736" y="42"/>
                    </a:lnTo>
                    <a:lnTo>
                      <a:pt x="718" y="40"/>
                    </a:lnTo>
                    <a:lnTo>
                      <a:pt x="700" y="37"/>
                    </a:lnTo>
                    <a:lnTo>
                      <a:pt x="677" y="31"/>
                    </a:lnTo>
                    <a:lnTo>
                      <a:pt x="659" y="31"/>
                    </a:lnTo>
                    <a:lnTo>
                      <a:pt x="649" y="31"/>
                    </a:lnTo>
                    <a:lnTo>
                      <a:pt x="636" y="28"/>
                    </a:lnTo>
                    <a:lnTo>
                      <a:pt x="627" y="28"/>
                    </a:lnTo>
                    <a:lnTo>
                      <a:pt x="617" y="28"/>
                    </a:lnTo>
                    <a:lnTo>
                      <a:pt x="604" y="25"/>
                    </a:lnTo>
                    <a:lnTo>
                      <a:pt x="595" y="25"/>
                    </a:lnTo>
                    <a:lnTo>
                      <a:pt x="585" y="25"/>
                    </a:lnTo>
                    <a:lnTo>
                      <a:pt x="572" y="25"/>
                    </a:lnTo>
                    <a:lnTo>
                      <a:pt x="563" y="25"/>
                    </a:lnTo>
                    <a:lnTo>
                      <a:pt x="553" y="25"/>
                    </a:lnTo>
                    <a:lnTo>
                      <a:pt x="540" y="25"/>
                    </a:lnTo>
                    <a:lnTo>
                      <a:pt x="531" y="25"/>
                    </a:lnTo>
                    <a:lnTo>
                      <a:pt x="517" y="25"/>
                    </a:lnTo>
                    <a:lnTo>
                      <a:pt x="508" y="25"/>
                    </a:lnTo>
                    <a:lnTo>
                      <a:pt x="499" y="25"/>
                    </a:lnTo>
                    <a:lnTo>
                      <a:pt x="485" y="25"/>
                    </a:lnTo>
                    <a:lnTo>
                      <a:pt x="471" y="25"/>
                    </a:lnTo>
                    <a:lnTo>
                      <a:pt x="462" y="25"/>
                    </a:lnTo>
                    <a:lnTo>
                      <a:pt x="448" y="25"/>
                    </a:lnTo>
                    <a:lnTo>
                      <a:pt x="435" y="28"/>
                    </a:lnTo>
                    <a:lnTo>
                      <a:pt x="421" y="28"/>
                    </a:lnTo>
                    <a:lnTo>
                      <a:pt x="412" y="31"/>
                    </a:lnTo>
                    <a:lnTo>
                      <a:pt x="398" y="31"/>
                    </a:lnTo>
                    <a:lnTo>
                      <a:pt x="389" y="31"/>
                    </a:lnTo>
                    <a:lnTo>
                      <a:pt x="375" y="34"/>
                    </a:lnTo>
                    <a:lnTo>
                      <a:pt x="366" y="37"/>
                    </a:lnTo>
                    <a:lnTo>
                      <a:pt x="352" y="37"/>
                    </a:lnTo>
                    <a:lnTo>
                      <a:pt x="343" y="40"/>
                    </a:lnTo>
                    <a:lnTo>
                      <a:pt x="330" y="42"/>
                    </a:lnTo>
                    <a:lnTo>
                      <a:pt x="320" y="42"/>
                    </a:lnTo>
                    <a:lnTo>
                      <a:pt x="311" y="48"/>
                    </a:lnTo>
                    <a:lnTo>
                      <a:pt x="298" y="51"/>
                    </a:lnTo>
                    <a:lnTo>
                      <a:pt x="288" y="51"/>
                    </a:lnTo>
                    <a:lnTo>
                      <a:pt x="275" y="54"/>
                    </a:lnTo>
                    <a:lnTo>
                      <a:pt x="266" y="57"/>
                    </a:lnTo>
                    <a:lnTo>
                      <a:pt x="252" y="60"/>
                    </a:lnTo>
                    <a:lnTo>
                      <a:pt x="243" y="62"/>
                    </a:lnTo>
                    <a:lnTo>
                      <a:pt x="229" y="65"/>
                    </a:lnTo>
                    <a:lnTo>
                      <a:pt x="224" y="68"/>
                    </a:lnTo>
                    <a:lnTo>
                      <a:pt x="211" y="74"/>
                    </a:lnTo>
                    <a:lnTo>
                      <a:pt x="188" y="79"/>
                    </a:lnTo>
                    <a:lnTo>
                      <a:pt x="174" y="85"/>
                    </a:lnTo>
                    <a:lnTo>
                      <a:pt x="156" y="91"/>
                    </a:lnTo>
                    <a:lnTo>
                      <a:pt x="138" y="99"/>
                    </a:lnTo>
                    <a:lnTo>
                      <a:pt x="119" y="105"/>
                    </a:lnTo>
                    <a:lnTo>
                      <a:pt x="101" y="108"/>
                    </a:lnTo>
                    <a:lnTo>
                      <a:pt x="87" y="116"/>
                    </a:lnTo>
                    <a:lnTo>
                      <a:pt x="69" y="119"/>
                    </a:lnTo>
                    <a:lnTo>
                      <a:pt x="55" y="128"/>
                    </a:lnTo>
                    <a:lnTo>
                      <a:pt x="46" y="131"/>
                    </a:lnTo>
                    <a:lnTo>
                      <a:pt x="32" y="136"/>
                    </a:lnTo>
                    <a:lnTo>
                      <a:pt x="23" y="142"/>
                    </a:lnTo>
                    <a:lnTo>
                      <a:pt x="0" y="142"/>
                    </a:lnTo>
                    <a:lnTo>
                      <a:pt x="0" y="136"/>
                    </a:lnTo>
                    <a:lnTo>
                      <a:pt x="0" y="128"/>
                    </a:lnTo>
                    <a:lnTo>
                      <a:pt x="5" y="125"/>
                    </a:lnTo>
                    <a:lnTo>
                      <a:pt x="5" y="11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grpSp>
        <p:grpSp>
          <p:nvGrpSpPr>
            <p:cNvPr id="131" name="Group 185"/>
            <p:cNvGrpSpPr>
              <a:grpSpLocks/>
            </p:cNvGrpSpPr>
            <p:nvPr/>
          </p:nvGrpSpPr>
          <p:grpSpPr bwMode="gray">
            <a:xfrm>
              <a:off x="4140394" y="4675175"/>
              <a:ext cx="819679" cy="481686"/>
              <a:chOff x="0" y="402"/>
              <a:chExt cx="5645" cy="2423"/>
            </a:xfrm>
          </p:grpSpPr>
          <p:sp>
            <p:nvSpPr>
              <p:cNvPr id="132" name="Freeform 186"/>
              <p:cNvSpPr>
                <a:spLocks/>
              </p:cNvSpPr>
              <p:nvPr>
                <p:custDataLst>
                  <p:tags r:id="rId17"/>
                </p:custDataLst>
              </p:nvPr>
            </p:nvSpPr>
            <p:spPr bwMode="gray">
              <a:xfrm>
                <a:off x="0" y="402"/>
                <a:ext cx="5645" cy="831"/>
              </a:xfrm>
              <a:custGeom>
                <a:avLst/>
                <a:gdLst>
                  <a:gd name="T0" fmla="*/ 148 w 5507"/>
                  <a:gd name="T1" fmla="*/ 5 h 1310"/>
                  <a:gd name="T2" fmla="*/ 449 w 5507"/>
                  <a:gd name="T3" fmla="*/ 4 h 1310"/>
                  <a:gd name="T4" fmla="*/ 854 w 5507"/>
                  <a:gd name="T5" fmla="*/ 4 h 1310"/>
                  <a:gd name="T6" fmla="*/ 1316 w 5507"/>
                  <a:gd name="T7" fmla="*/ 3 h 1310"/>
                  <a:gd name="T8" fmla="*/ 1808 w 5507"/>
                  <a:gd name="T9" fmla="*/ 2 h 1310"/>
                  <a:gd name="T10" fmla="*/ 2312 w 5507"/>
                  <a:gd name="T11" fmla="*/ 1 h 1310"/>
                  <a:gd name="T12" fmla="*/ 2786 w 5507"/>
                  <a:gd name="T13" fmla="*/ 1 h 1310"/>
                  <a:gd name="T14" fmla="*/ 3198 w 5507"/>
                  <a:gd name="T15" fmla="*/ 1 h 1310"/>
                  <a:gd name="T16" fmla="*/ 3529 w 5507"/>
                  <a:gd name="T17" fmla="*/ 1 h 1310"/>
                  <a:gd name="T18" fmla="*/ 3721 w 5507"/>
                  <a:gd name="T19" fmla="*/ 1 h 1310"/>
                  <a:gd name="T20" fmla="*/ 3828 w 5507"/>
                  <a:gd name="T21" fmla="*/ 1 h 1310"/>
                  <a:gd name="T22" fmla="*/ 3940 w 5507"/>
                  <a:gd name="T23" fmla="*/ 1 h 1310"/>
                  <a:gd name="T24" fmla="*/ 4079 w 5507"/>
                  <a:gd name="T25" fmla="*/ 1 h 1310"/>
                  <a:gd name="T26" fmla="*/ 4212 w 5507"/>
                  <a:gd name="T27" fmla="*/ 1 h 1310"/>
                  <a:gd name="T28" fmla="*/ 4367 w 5507"/>
                  <a:gd name="T29" fmla="*/ 1 h 1310"/>
                  <a:gd name="T30" fmla="*/ 4527 w 5507"/>
                  <a:gd name="T31" fmla="*/ 1 h 1310"/>
                  <a:gd name="T32" fmla="*/ 4701 w 5507"/>
                  <a:gd name="T33" fmla="*/ 1 h 1310"/>
                  <a:gd name="T34" fmla="*/ 4907 w 5507"/>
                  <a:gd name="T35" fmla="*/ 1 h 1310"/>
                  <a:gd name="T36" fmla="*/ 5308 w 5507"/>
                  <a:gd name="T37" fmla="*/ 2 h 1310"/>
                  <a:gd name="T38" fmla="*/ 5701 w 5507"/>
                  <a:gd name="T39" fmla="*/ 3 h 1310"/>
                  <a:gd name="T40" fmla="*/ 6087 w 5507"/>
                  <a:gd name="T41" fmla="*/ 3 h 1310"/>
                  <a:gd name="T42" fmla="*/ 6451 w 5507"/>
                  <a:gd name="T43" fmla="*/ 3 h 1310"/>
                  <a:gd name="T44" fmla="*/ 6778 w 5507"/>
                  <a:gd name="T45" fmla="*/ 4 h 1310"/>
                  <a:gd name="T46" fmla="*/ 7042 w 5507"/>
                  <a:gd name="T47" fmla="*/ 4 h 1310"/>
                  <a:gd name="T48" fmla="*/ 7252 w 5507"/>
                  <a:gd name="T49" fmla="*/ 4 h 1310"/>
                  <a:gd name="T50" fmla="*/ 7374 w 5507"/>
                  <a:gd name="T51" fmla="*/ 4 h 1310"/>
                  <a:gd name="T52" fmla="*/ 7367 w 5507"/>
                  <a:gd name="T53" fmla="*/ 5 h 1310"/>
                  <a:gd name="T54" fmla="*/ 7246 w 5507"/>
                  <a:gd name="T55" fmla="*/ 5 h 1310"/>
                  <a:gd name="T56" fmla="*/ 7096 w 5507"/>
                  <a:gd name="T57" fmla="*/ 5 h 1310"/>
                  <a:gd name="T58" fmla="*/ 7042 w 5507"/>
                  <a:gd name="T59" fmla="*/ 5 h 1310"/>
                  <a:gd name="T60" fmla="*/ 6937 w 5507"/>
                  <a:gd name="T61" fmla="*/ 4 h 1310"/>
                  <a:gd name="T62" fmla="*/ 6802 w 5507"/>
                  <a:gd name="T63" fmla="*/ 4 h 1310"/>
                  <a:gd name="T64" fmla="*/ 6624 w 5507"/>
                  <a:gd name="T65" fmla="*/ 4 h 1310"/>
                  <a:gd name="T66" fmla="*/ 6415 w 5507"/>
                  <a:gd name="T67" fmla="*/ 4 h 1310"/>
                  <a:gd name="T68" fmla="*/ 6181 w 5507"/>
                  <a:gd name="T69" fmla="*/ 4 h 1310"/>
                  <a:gd name="T70" fmla="*/ 5923 w 5507"/>
                  <a:gd name="T71" fmla="*/ 3 h 1310"/>
                  <a:gd name="T72" fmla="*/ 5645 w 5507"/>
                  <a:gd name="T73" fmla="*/ 3 h 1310"/>
                  <a:gd name="T74" fmla="*/ 5375 w 5507"/>
                  <a:gd name="T75" fmla="*/ 3 h 1310"/>
                  <a:gd name="T76" fmla="*/ 5144 w 5507"/>
                  <a:gd name="T77" fmla="*/ 3 h 1310"/>
                  <a:gd name="T78" fmla="*/ 4902 w 5507"/>
                  <a:gd name="T79" fmla="*/ 2 h 1310"/>
                  <a:gd name="T80" fmla="*/ 4672 w 5507"/>
                  <a:gd name="T81" fmla="*/ 2 h 1310"/>
                  <a:gd name="T82" fmla="*/ 4458 w 5507"/>
                  <a:gd name="T83" fmla="*/ 2 h 1310"/>
                  <a:gd name="T84" fmla="*/ 4255 w 5507"/>
                  <a:gd name="T85" fmla="*/ 1 h 1310"/>
                  <a:gd name="T86" fmla="*/ 4073 w 5507"/>
                  <a:gd name="T87" fmla="*/ 1 h 1310"/>
                  <a:gd name="T88" fmla="*/ 3912 w 5507"/>
                  <a:gd name="T89" fmla="*/ 1 h 1310"/>
                  <a:gd name="T90" fmla="*/ 3783 w 5507"/>
                  <a:gd name="T91" fmla="*/ 1 h 1310"/>
                  <a:gd name="T92" fmla="*/ 3644 w 5507"/>
                  <a:gd name="T93" fmla="*/ 1 h 1310"/>
                  <a:gd name="T94" fmla="*/ 3321 w 5507"/>
                  <a:gd name="T95" fmla="*/ 1 h 1310"/>
                  <a:gd name="T96" fmla="*/ 2909 w 5507"/>
                  <a:gd name="T97" fmla="*/ 1 h 1310"/>
                  <a:gd name="T98" fmla="*/ 2423 w 5507"/>
                  <a:gd name="T99" fmla="*/ 2 h 1310"/>
                  <a:gd name="T100" fmla="*/ 1911 w 5507"/>
                  <a:gd name="T101" fmla="*/ 3 h 1310"/>
                  <a:gd name="T102" fmla="*/ 1409 w 5507"/>
                  <a:gd name="T103" fmla="*/ 4 h 1310"/>
                  <a:gd name="T104" fmla="*/ 954 w 5507"/>
                  <a:gd name="T105" fmla="*/ 4 h 1310"/>
                  <a:gd name="T106" fmla="*/ 579 w 5507"/>
                  <a:gd name="T107" fmla="*/ 5 h 1310"/>
                  <a:gd name="T108" fmla="*/ 326 w 5507"/>
                  <a:gd name="T109" fmla="*/ 6 h 1310"/>
                  <a:gd name="T110" fmla="*/ 221 w 5507"/>
                  <a:gd name="T111" fmla="*/ 6 h 1310"/>
                  <a:gd name="T112" fmla="*/ 88 w 5507"/>
                  <a:gd name="T113" fmla="*/ 6 h 13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07"/>
                  <a:gd name="T172" fmla="*/ 0 h 1310"/>
                  <a:gd name="T173" fmla="*/ 5507 w 5507"/>
                  <a:gd name="T174" fmla="*/ 1310 h 13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07" h="1310">
                    <a:moveTo>
                      <a:pt x="0" y="1281"/>
                    </a:moveTo>
                    <a:lnTo>
                      <a:pt x="0" y="1264"/>
                    </a:lnTo>
                    <a:lnTo>
                      <a:pt x="18" y="1253"/>
                    </a:lnTo>
                    <a:lnTo>
                      <a:pt x="41" y="1236"/>
                    </a:lnTo>
                    <a:lnTo>
                      <a:pt x="64" y="1219"/>
                    </a:lnTo>
                    <a:lnTo>
                      <a:pt x="87" y="1205"/>
                    </a:lnTo>
                    <a:lnTo>
                      <a:pt x="110" y="1185"/>
                    </a:lnTo>
                    <a:lnTo>
                      <a:pt x="137" y="1165"/>
                    </a:lnTo>
                    <a:lnTo>
                      <a:pt x="165" y="1148"/>
                    </a:lnTo>
                    <a:lnTo>
                      <a:pt x="197" y="1125"/>
                    </a:lnTo>
                    <a:lnTo>
                      <a:pt x="229" y="1105"/>
                    </a:lnTo>
                    <a:lnTo>
                      <a:pt x="260" y="1082"/>
                    </a:lnTo>
                    <a:lnTo>
                      <a:pt x="297" y="1062"/>
                    </a:lnTo>
                    <a:lnTo>
                      <a:pt x="334" y="1039"/>
                    </a:lnTo>
                    <a:lnTo>
                      <a:pt x="379" y="1017"/>
                    </a:lnTo>
                    <a:lnTo>
                      <a:pt x="416" y="991"/>
                    </a:lnTo>
                    <a:lnTo>
                      <a:pt x="457" y="965"/>
                    </a:lnTo>
                    <a:lnTo>
                      <a:pt x="498" y="943"/>
                    </a:lnTo>
                    <a:lnTo>
                      <a:pt x="544" y="917"/>
                    </a:lnTo>
                    <a:lnTo>
                      <a:pt x="585" y="891"/>
                    </a:lnTo>
                    <a:lnTo>
                      <a:pt x="635" y="866"/>
                    </a:lnTo>
                    <a:lnTo>
                      <a:pt x="681" y="837"/>
                    </a:lnTo>
                    <a:lnTo>
                      <a:pt x="727" y="814"/>
                    </a:lnTo>
                    <a:lnTo>
                      <a:pt x="777" y="786"/>
                    </a:lnTo>
                    <a:lnTo>
                      <a:pt x="827" y="760"/>
                    </a:lnTo>
                    <a:lnTo>
                      <a:pt x="873" y="732"/>
                    </a:lnTo>
                    <a:lnTo>
                      <a:pt x="928" y="706"/>
                    </a:lnTo>
                    <a:lnTo>
                      <a:pt x="978" y="678"/>
                    </a:lnTo>
                    <a:lnTo>
                      <a:pt x="1028" y="652"/>
                    </a:lnTo>
                    <a:lnTo>
                      <a:pt x="1083" y="624"/>
                    </a:lnTo>
                    <a:lnTo>
                      <a:pt x="1133" y="598"/>
                    </a:lnTo>
                    <a:lnTo>
                      <a:pt x="1188" y="570"/>
                    </a:lnTo>
                    <a:lnTo>
                      <a:pt x="1239" y="547"/>
                    </a:lnTo>
                    <a:lnTo>
                      <a:pt x="1289" y="518"/>
                    </a:lnTo>
                    <a:lnTo>
                      <a:pt x="1344" y="493"/>
                    </a:lnTo>
                    <a:lnTo>
                      <a:pt x="1398" y="464"/>
                    </a:lnTo>
                    <a:lnTo>
                      <a:pt x="1453" y="439"/>
                    </a:lnTo>
                    <a:lnTo>
                      <a:pt x="1508" y="416"/>
                    </a:lnTo>
                    <a:lnTo>
                      <a:pt x="1563" y="387"/>
                    </a:lnTo>
                    <a:lnTo>
                      <a:pt x="1613" y="364"/>
                    </a:lnTo>
                    <a:lnTo>
                      <a:pt x="1668" y="342"/>
                    </a:lnTo>
                    <a:lnTo>
                      <a:pt x="1718" y="316"/>
                    </a:lnTo>
                    <a:lnTo>
                      <a:pt x="1769" y="293"/>
                    </a:lnTo>
                    <a:lnTo>
                      <a:pt x="1819" y="268"/>
                    </a:lnTo>
                    <a:lnTo>
                      <a:pt x="1874" y="248"/>
                    </a:lnTo>
                    <a:lnTo>
                      <a:pt x="1919" y="228"/>
                    </a:lnTo>
                    <a:lnTo>
                      <a:pt x="1970" y="208"/>
                    </a:lnTo>
                    <a:lnTo>
                      <a:pt x="2015" y="185"/>
                    </a:lnTo>
                    <a:lnTo>
                      <a:pt x="2070" y="171"/>
                    </a:lnTo>
                    <a:lnTo>
                      <a:pt x="2116" y="151"/>
                    </a:lnTo>
                    <a:lnTo>
                      <a:pt x="2162" y="134"/>
                    </a:lnTo>
                    <a:lnTo>
                      <a:pt x="2207" y="117"/>
                    </a:lnTo>
                    <a:lnTo>
                      <a:pt x="2253" y="103"/>
                    </a:lnTo>
                    <a:lnTo>
                      <a:pt x="2294" y="85"/>
                    </a:lnTo>
                    <a:lnTo>
                      <a:pt x="2340" y="74"/>
                    </a:lnTo>
                    <a:lnTo>
                      <a:pt x="2376" y="60"/>
                    </a:lnTo>
                    <a:lnTo>
                      <a:pt x="2418" y="48"/>
                    </a:lnTo>
                    <a:lnTo>
                      <a:pt x="2454" y="37"/>
                    </a:lnTo>
                    <a:lnTo>
                      <a:pt x="2495" y="28"/>
                    </a:lnTo>
                    <a:lnTo>
                      <a:pt x="2527" y="20"/>
                    </a:lnTo>
                    <a:lnTo>
                      <a:pt x="2564" y="14"/>
                    </a:lnTo>
                    <a:lnTo>
                      <a:pt x="2596" y="9"/>
                    </a:lnTo>
                    <a:lnTo>
                      <a:pt x="2623" y="3"/>
                    </a:lnTo>
                    <a:lnTo>
                      <a:pt x="2651" y="0"/>
                    </a:lnTo>
                    <a:lnTo>
                      <a:pt x="2683" y="0"/>
                    </a:lnTo>
                    <a:lnTo>
                      <a:pt x="2701" y="0"/>
                    </a:lnTo>
                    <a:lnTo>
                      <a:pt x="2719" y="0"/>
                    </a:lnTo>
                    <a:lnTo>
                      <a:pt x="2738" y="0"/>
                    </a:lnTo>
                    <a:lnTo>
                      <a:pt x="2756" y="3"/>
                    </a:lnTo>
                    <a:lnTo>
                      <a:pt x="2765" y="3"/>
                    </a:lnTo>
                    <a:lnTo>
                      <a:pt x="2774" y="6"/>
                    </a:lnTo>
                    <a:lnTo>
                      <a:pt x="2783" y="9"/>
                    </a:lnTo>
                    <a:lnTo>
                      <a:pt x="2797" y="11"/>
                    </a:lnTo>
                    <a:lnTo>
                      <a:pt x="2806" y="11"/>
                    </a:lnTo>
                    <a:lnTo>
                      <a:pt x="2820" y="11"/>
                    </a:lnTo>
                    <a:lnTo>
                      <a:pt x="2829" y="14"/>
                    </a:lnTo>
                    <a:lnTo>
                      <a:pt x="2843" y="20"/>
                    </a:lnTo>
                    <a:lnTo>
                      <a:pt x="2856" y="23"/>
                    </a:lnTo>
                    <a:lnTo>
                      <a:pt x="2865" y="23"/>
                    </a:lnTo>
                    <a:lnTo>
                      <a:pt x="2879" y="26"/>
                    </a:lnTo>
                    <a:lnTo>
                      <a:pt x="2893" y="31"/>
                    </a:lnTo>
                    <a:lnTo>
                      <a:pt x="2907" y="31"/>
                    </a:lnTo>
                    <a:lnTo>
                      <a:pt x="2916" y="37"/>
                    </a:lnTo>
                    <a:lnTo>
                      <a:pt x="2929" y="40"/>
                    </a:lnTo>
                    <a:lnTo>
                      <a:pt x="2943" y="46"/>
                    </a:lnTo>
                    <a:lnTo>
                      <a:pt x="2957" y="48"/>
                    </a:lnTo>
                    <a:lnTo>
                      <a:pt x="2971" y="51"/>
                    </a:lnTo>
                    <a:lnTo>
                      <a:pt x="2984" y="57"/>
                    </a:lnTo>
                    <a:lnTo>
                      <a:pt x="2998" y="60"/>
                    </a:lnTo>
                    <a:lnTo>
                      <a:pt x="3012" y="65"/>
                    </a:lnTo>
                    <a:lnTo>
                      <a:pt x="3030" y="71"/>
                    </a:lnTo>
                    <a:lnTo>
                      <a:pt x="3039" y="74"/>
                    </a:lnTo>
                    <a:lnTo>
                      <a:pt x="3057" y="80"/>
                    </a:lnTo>
                    <a:lnTo>
                      <a:pt x="3071" y="83"/>
                    </a:lnTo>
                    <a:lnTo>
                      <a:pt x="3085" y="88"/>
                    </a:lnTo>
                    <a:lnTo>
                      <a:pt x="3099" y="94"/>
                    </a:lnTo>
                    <a:lnTo>
                      <a:pt x="3117" y="100"/>
                    </a:lnTo>
                    <a:lnTo>
                      <a:pt x="3131" y="105"/>
                    </a:lnTo>
                    <a:lnTo>
                      <a:pt x="3144" y="108"/>
                    </a:lnTo>
                    <a:lnTo>
                      <a:pt x="3163" y="117"/>
                    </a:lnTo>
                    <a:lnTo>
                      <a:pt x="3181" y="120"/>
                    </a:lnTo>
                    <a:lnTo>
                      <a:pt x="3195" y="125"/>
                    </a:lnTo>
                    <a:lnTo>
                      <a:pt x="3208" y="131"/>
                    </a:lnTo>
                    <a:lnTo>
                      <a:pt x="3227" y="137"/>
                    </a:lnTo>
                    <a:lnTo>
                      <a:pt x="3245" y="142"/>
                    </a:lnTo>
                    <a:lnTo>
                      <a:pt x="3263" y="151"/>
                    </a:lnTo>
                    <a:lnTo>
                      <a:pt x="3277" y="157"/>
                    </a:lnTo>
                    <a:lnTo>
                      <a:pt x="3295" y="162"/>
                    </a:lnTo>
                    <a:lnTo>
                      <a:pt x="3313" y="171"/>
                    </a:lnTo>
                    <a:lnTo>
                      <a:pt x="3332" y="174"/>
                    </a:lnTo>
                    <a:lnTo>
                      <a:pt x="3345" y="182"/>
                    </a:lnTo>
                    <a:lnTo>
                      <a:pt x="3364" y="185"/>
                    </a:lnTo>
                    <a:lnTo>
                      <a:pt x="3382" y="194"/>
                    </a:lnTo>
                    <a:lnTo>
                      <a:pt x="3400" y="202"/>
                    </a:lnTo>
                    <a:lnTo>
                      <a:pt x="3418" y="208"/>
                    </a:lnTo>
                    <a:lnTo>
                      <a:pt x="3437" y="214"/>
                    </a:lnTo>
                    <a:lnTo>
                      <a:pt x="3455" y="222"/>
                    </a:lnTo>
                    <a:lnTo>
                      <a:pt x="3473" y="228"/>
                    </a:lnTo>
                    <a:lnTo>
                      <a:pt x="3492" y="236"/>
                    </a:lnTo>
                    <a:lnTo>
                      <a:pt x="3510" y="242"/>
                    </a:lnTo>
                    <a:lnTo>
                      <a:pt x="3528" y="251"/>
                    </a:lnTo>
                    <a:lnTo>
                      <a:pt x="3546" y="256"/>
                    </a:lnTo>
                    <a:lnTo>
                      <a:pt x="3569" y="265"/>
                    </a:lnTo>
                    <a:lnTo>
                      <a:pt x="3588" y="273"/>
                    </a:lnTo>
                    <a:lnTo>
                      <a:pt x="3610" y="279"/>
                    </a:lnTo>
                    <a:lnTo>
                      <a:pt x="3647" y="296"/>
                    </a:lnTo>
                    <a:lnTo>
                      <a:pt x="3688" y="310"/>
                    </a:lnTo>
                    <a:lnTo>
                      <a:pt x="3729" y="325"/>
                    </a:lnTo>
                    <a:lnTo>
                      <a:pt x="3770" y="342"/>
                    </a:lnTo>
                    <a:lnTo>
                      <a:pt x="3816" y="356"/>
                    </a:lnTo>
                    <a:lnTo>
                      <a:pt x="3853" y="376"/>
                    </a:lnTo>
                    <a:lnTo>
                      <a:pt x="3898" y="390"/>
                    </a:lnTo>
                    <a:lnTo>
                      <a:pt x="3944" y="407"/>
                    </a:lnTo>
                    <a:lnTo>
                      <a:pt x="3981" y="424"/>
                    </a:lnTo>
                    <a:lnTo>
                      <a:pt x="4026" y="441"/>
                    </a:lnTo>
                    <a:lnTo>
                      <a:pt x="4067" y="461"/>
                    </a:lnTo>
                    <a:lnTo>
                      <a:pt x="4109" y="476"/>
                    </a:lnTo>
                    <a:lnTo>
                      <a:pt x="4150" y="493"/>
                    </a:lnTo>
                    <a:lnTo>
                      <a:pt x="4195" y="510"/>
                    </a:lnTo>
                    <a:lnTo>
                      <a:pt x="4237" y="527"/>
                    </a:lnTo>
                    <a:lnTo>
                      <a:pt x="4278" y="547"/>
                    </a:lnTo>
                    <a:lnTo>
                      <a:pt x="4319" y="564"/>
                    </a:lnTo>
                    <a:lnTo>
                      <a:pt x="4364" y="578"/>
                    </a:lnTo>
                    <a:lnTo>
                      <a:pt x="4401" y="598"/>
                    </a:lnTo>
                    <a:lnTo>
                      <a:pt x="4442" y="615"/>
                    </a:lnTo>
                    <a:lnTo>
                      <a:pt x="4483" y="632"/>
                    </a:lnTo>
                    <a:lnTo>
                      <a:pt x="4524" y="649"/>
                    </a:lnTo>
                    <a:lnTo>
                      <a:pt x="4561" y="666"/>
                    </a:lnTo>
                    <a:lnTo>
                      <a:pt x="4607" y="686"/>
                    </a:lnTo>
                    <a:lnTo>
                      <a:pt x="4639" y="701"/>
                    </a:lnTo>
                    <a:lnTo>
                      <a:pt x="4680" y="718"/>
                    </a:lnTo>
                    <a:lnTo>
                      <a:pt x="4721" y="735"/>
                    </a:lnTo>
                    <a:lnTo>
                      <a:pt x="4757" y="752"/>
                    </a:lnTo>
                    <a:lnTo>
                      <a:pt x="4794" y="769"/>
                    </a:lnTo>
                    <a:lnTo>
                      <a:pt x="4831" y="786"/>
                    </a:lnTo>
                    <a:lnTo>
                      <a:pt x="4867" y="803"/>
                    </a:lnTo>
                    <a:lnTo>
                      <a:pt x="4904" y="817"/>
                    </a:lnTo>
                    <a:lnTo>
                      <a:pt x="4936" y="834"/>
                    </a:lnTo>
                    <a:lnTo>
                      <a:pt x="4968" y="849"/>
                    </a:lnTo>
                    <a:lnTo>
                      <a:pt x="5000" y="863"/>
                    </a:lnTo>
                    <a:lnTo>
                      <a:pt x="5036" y="880"/>
                    </a:lnTo>
                    <a:lnTo>
                      <a:pt x="5064" y="894"/>
                    </a:lnTo>
                    <a:lnTo>
                      <a:pt x="5096" y="908"/>
                    </a:lnTo>
                    <a:lnTo>
                      <a:pt x="5128" y="923"/>
                    </a:lnTo>
                    <a:lnTo>
                      <a:pt x="5155" y="937"/>
                    </a:lnTo>
                    <a:lnTo>
                      <a:pt x="5183" y="951"/>
                    </a:lnTo>
                    <a:lnTo>
                      <a:pt x="5210" y="965"/>
                    </a:lnTo>
                    <a:lnTo>
                      <a:pt x="5233" y="977"/>
                    </a:lnTo>
                    <a:lnTo>
                      <a:pt x="5260" y="988"/>
                    </a:lnTo>
                    <a:lnTo>
                      <a:pt x="5283" y="1002"/>
                    </a:lnTo>
                    <a:lnTo>
                      <a:pt x="5310" y="1011"/>
                    </a:lnTo>
                    <a:lnTo>
                      <a:pt x="5329" y="1022"/>
                    </a:lnTo>
                    <a:lnTo>
                      <a:pt x="5352" y="1037"/>
                    </a:lnTo>
                    <a:lnTo>
                      <a:pt x="5370" y="1045"/>
                    </a:lnTo>
                    <a:lnTo>
                      <a:pt x="5388" y="1056"/>
                    </a:lnTo>
                    <a:lnTo>
                      <a:pt x="5406" y="1065"/>
                    </a:lnTo>
                    <a:lnTo>
                      <a:pt x="5420" y="1071"/>
                    </a:lnTo>
                    <a:lnTo>
                      <a:pt x="5438" y="1082"/>
                    </a:lnTo>
                    <a:lnTo>
                      <a:pt x="5452" y="1091"/>
                    </a:lnTo>
                    <a:lnTo>
                      <a:pt x="5461" y="1096"/>
                    </a:lnTo>
                    <a:lnTo>
                      <a:pt x="5475" y="1105"/>
                    </a:lnTo>
                    <a:lnTo>
                      <a:pt x="5480" y="1111"/>
                    </a:lnTo>
                    <a:lnTo>
                      <a:pt x="5489" y="1116"/>
                    </a:lnTo>
                    <a:lnTo>
                      <a:pt x="5498" y="1122"/>
                    </a:lnTo>
                    <a:lnTo>
                      <a:pt x="5502" y="1128"/>
                    </a:lnTo>
                    <a:lnTo>
                      <a:pt x="5507" y="1136"/>
                    </a:lnTo>
                    <a:lnTo>
                      <a:pt x="5507" y="1139"/>
                    </a:lnTo>
                    <a:lnTo>
                      <a:pt x="5493" y="1148"/>
                    </a:lnTo>
                    <a:lnTo>
                      <a:pt x="5475" y="1156"/>
                    </a:lnTo>
                    <a:lnTo>
                      <a:pt x="5457" y="1165"/>
                    </a:lnTo>
                    <a:lnTo>
                      <a:pt x="5443" y="1170"/>
                    </a:lnTo>
                    <a:lnTo>
                      <a:pt x="5434" y="1170"/>
                    </a:lnTo>
                    <a:lnTo>
                      <a:pt x="5420" y="1176"/>
                    </a:lnTo>
                    <a:lnTo>
                      <a:pt x="5411" y="1179"/>
                    </a:lnTo>
                    <a:lnTo>
                      <a:pt x="5402" y="1179"/>
                    </a:lnTo>
                    <a:lnTo>
                      <a:pt x="5384" y="1185"/>
                    </a:lnTo>
                    <a:lnTo>
                      <a:pt x="5365" y="1187"/>
                    </a:lnTo>
                    <a:lnTo>
                      <a:pt x="5342" y="1187"/>
                    </a:lnTo>
                    <a:lnTo>
                      <a:pt x="5324" y="1190"/>
                    </a:lnTo>
                    <a:lnTo>
                      <a:pt x="5310" y="1190"/>
                    </a:lnTo>
                    <a:lnTo>
                      <a:pt x="5297" y="1190"/>
                    </a:lnTo>
                    <a:lnTo>
                      <a:pt x="5283" y="1187"/>
                    </a:lnTo>
                    <a:lnTo>
                      <a:pt x="5274" y="1185"/>
                    </a:lnTo>
                    <a:lnTo>
                      <a:pt x="5269" y="1182"/>
                    </a:lnTo>
                    <a:lnTo>
                      <a:pt x="5274" y="1179"/>
                    </a:lnTo>
                    <a:lnTo>
                      <a:pt x="5269" y="1176"/>
                    </a:lnTo>
                    <a:lnTo>
                      <a:pt x="5265" y="1170"/>
                    </a:lnTo>
                    <a:lnTo>
                      <a:pt x="5256" y="1165"/>
                    </a:lnTo>
                    <a:lnTo>
                      <a:pt x="5247" y="1159"/>
                    </a:lnTo>
                    <a:lnTo>
                      <a:pt x="5233" y="1150"/>
                    </a:lnTo>
                    <a:lnTo>
                      <a:pt x="5219" y="1142"/>
                    </a:lnTo>
                    <a:lnTo>
                      <a:pt x="5210" y="1136"/>
                    </a:lnTo>
                    <a:lnTo>
                      <a:pt x="5201" y="1131"/>
                    </a:lnTo>
                    <a:lnTo>
                      <a:pt x="5187" y="1125"/>
                    </a:lnTo>
                    <a:lnTo>
                      <a:pt x="5178" y="1122"/>
                    </a:lnTo>
                    <a:lnTo>
                      <a:pt x="5164" y="1116"/>
                    </a:lnTo>
                    <a:lnTo>
                      <a:pt x="5155" y="1108"/>
                    </a:lnTo>
                    <a:lnTo>
                      <a:pt x="5141" y="1102"/>
                    </a:lnTo>
                    <a:lnTo>
                      <a:pt x="5128" y="1093"/>
                    </a:lnTo>
                    <a:lnTo>
                      <a:pt x="5114" y="1088"/>
                    </a:lnTo>
                    <a:lnTo>
                      <a:pt x="5100" y="1079"/>
                    </a:lnTo>
                    <a:lnTo>
                      <a:pt x="5087" y="1071"/>
                    </a:lnTo>
                    <a:lnTo>
                      <a:pt x="5073" y="1065"/>
                    </a:lnTo>
                    <a:lnTo>
                      <a:pt x="5055" y="1054"/>
                    </a:lnTo>
                    <a:lnTo>
                      <a:pt x="5036" y="1045"/>
                    </a:lnTo>
                    <a:lnTo>
                      <a:pt x="5018" y="1039"/>
                    </a:lnTo>
                    <a:lnTo>
                      <a:pt x="5000" y="1028"/>
                    </a:lnTo>
                    <a:lnTo>
                      <a:pt x="4981" y="1019"/>
                    </a:lnTo>
                    <a:lnTo>
                      <a:pt x="4963" y="1011"/>
                    </a:lnTo>
                    <a:lnTo>
                      <a:pt x="4940" y="1002"/>
                    </a:lnTo>
                    <a:lnTo>
                      <a:pt x="4922" y="994"/>
                    </a:lnTo>
                    <a:lnTo>
                      <a:pt x="4904" y="982"/>
                    </a:lnTo>
                    <a:lnTo>
                      <a:pt x="4881" y="971"/>
                    </a:lnTo>
                    <a:lnTo>
                      <a:pt x="4858" y="962"/>
                    </a:lnTo>
                    <a:lnTo>
                      <a:pt x="4835" y="951"/>
                    </a:lnTo>
                    <a:lnTo>
                      <a:pt x="4817" y="940"/>
                    </a:lnTo>
                    <a:lnTo>
                      <a:pt x="4794" y="931"/>
                    </a:lnTo>
                    <a:lnTo>
                      <a:pt x="4767" y="920"/>
                    </a:lnTo>
                    <a:lnTo>
                      <a:pt x="4744" y="908"/>
                    </a:lnTo>
                    <a:lnTo>
                      <a:pt x="4721" y="897"/>
                    </a:lnTo>
                    <a:lnTo>
                      <a:pt x="4694" y="886"/>
                    </a:lnTo>
                    <a:lnTo>
                      <a:pt x="4671" y="874"/>
                    </a:lnTo>
                    <a:lnTo>
                      <a:pt x="4643" y="863"/>
                    </a:lnTo>
                    <a:lnTo>
                      <a:pt x="4620" y="851"/>
                    </a:lnTo>
                    <a:lnTo>
                      <a:pt x="4593" y="840"/>
                    </a:lnTo>
                    <a:lnTo>
                      <a:pt x="4561" y="829"/>
                    </a:lnTo>
                    <a:lnTo>
                      <a:pt x="4543" y="817"/>
                    </a:lnTo>
                    <a:lnTo>
                      <a:pt x="4511" y="803"/>
                    </a:lnTo>
                    <a:lnTo>
                      <a:pt x="4488" y="794"/>
                    </a:lnTo>
                    <a:lnTo>
                      <a:pt x="4456" y="777"/>
                    </a:lnTo>
                    <a:lnTo>
                      <a:pt x="4428" y="766"/>
                    </a:lnTo>
                    <a:lnTo>
                      <a:pt x="4401" y="755"/>
                    </a:lnTo>
                    <a:lnTo>
                      <a:pt x="4369" y="743"/>
                    </a:lnTo>
                    <a:lnTo>
                      <a:pt x="4342" y="729"/>
                    </a:lnTo>
                    <a:lnTo>
                      <a:pt x="4314" y="718"/>
                    </a:lnTo>
                    <a:lnTo>
                      <a:pt x="4282" y="706"/>
                    </a:lnTo>
                    <a:lnTo>
                      <a:pt x="4250" y="692"/>
                    </a:lnTo>
                    <a:lnTo>
                      <a:pt x="4223" y="681"/>
                    </a:lnTo>
                    <a:lnTo>
                      <a:pt x="4195" y="666"/>
                    </a:lnTo>
                    <a:lnTo>
                      <a:pt x="4163" y="655"/>
                    </a:lnTo>
                    <a:lnTo>
                      <a:pt x="4131" y="644"/>
                    </a:lnTo>
                    <a:lnTo>
                      <a:pt x="4099" y="629"/>
                    </a:lnTo>
                    <a:lnTo>
                      <a:pt x="4072" y="618"/>
                    </a:lnTo>
                    <a:lnTo>
                      <a:pt x="4045" y="609"/>
                    </a:lnTo>
                    <a:lnTo>
                      <a:pt x="4017" y="598"/>
                    </a:lnTo>
                    <a:lnTo>
                      <a:pt x="3994" y="587"/>
                    </a:lnTo>
                    <a:lnTo>
                      <a:pt x="3967" y="575"/>
                    </a:lnTo>
                    <a:lnTo>
                      <a:pt x="3944" y="564"/>
                    </a:lnTo>
                    <a:lnTo>
                      <a:pt x="3921" y="555"/>
                    </a:lnTo>
                    <a:lnTo>
                      <a:pt x="3889" y="547"/>
                    </a:lnTo>
                    <a:lnTo>
                      <a:pt x="3871" y="535"/>
                    </a:lnTo>
                    <a:lnTo>
                      <a:pt x="3839" y="527"/>
                    </a:lnTo>
                    <a:lnTo>
                      <a:pt x="3821" y="515"/>
                    </a:lnTo>
                    <a:lnTo>
                      <a:pt x="3789" y="507"/>
                    </a:lnTo>
                    <a:lnTo>
                      <a:pt x="3766" y="495"/>
                    </a:lnTo>
                    <a:lnTo>
                      <a:pt x="3743" y="484"/>
                    </a:lnTo>
                    <a:lnTo>
                      <a:pt x="3720" y="476"/>
                    </a:lnTo>
                    <a:lnTo>
                      <a:pt x="3693" y="467"/>
                    </a:lnTo>
                    <a:lnTo>
                      <a:pt x="3670" y="461"/>
                    </a:lnTo>
                    <a:lnTo>
                      <a:pt x="3642" y="450"/>
                    </a:lnTo>
                    <a:lnTo>
                      <a:pt x="3620" y="439"/>
                    </a:lnTo>
                    <a:lnTo>
                      <a:pt x="3597" y="430"/>
                    </a:lnTo>
                    <a:lnTo>
                      <a:pt x="3569" y="421"/>
                    </a:lnTo>
                    <a:lnTo>
                      <a:pt x="3546" y="413"/>
                    </a:lnTo>
                    <a:lnTo>
                      <a:pt x="3519" y="404"/>
                    </a:lnTo>
                    <a:lnTo>
                      <a:pt x="3496" y="396"/>
                    </a:lnTo>
                    <a:lnTo>
                      <a:pt x="3473" y="387"/>
                    </a:lnTo>
                    <a:lnTo>
                      <a:pt x="3455" y="376"/>
                    </a:lnTo>
                    <a:lnTo>
                      <a:pt x="3428" y="367"/>
                    </a:lnTo>
                    <a:lnTo>
                      <a:pt x="3405" y="362"/>
                    </a:lnTo>
                    <a:lnTo>
                      <a:pt x="3382" y="353"/>
                    </a:lnTo>
                    <a:lnTo>
                      <a:pt x="3359" y="345"/>
                    </a:lnTo>
                    <a:lnTo>
                      <a:pt x="3336" y="336"/>
                    </a:lnTo>
                    <a:lnTo>
                      <a:pt x="3313" y="330"/>
                    </a:lnTo>
                    <a:lnTo>
                      <a:pt x="3290" y="322"/>
                    </a:lnTo>
                    <a:lnTo>
                      <a:pt x="3268" y="313"/>
                    </a:lnTo>
                    <a:lnTo>
                      <a:pt x="3249" y="308"/>
                    </a:lnTo>
                    <a:lnTo>
                      <a:pt x="3227" y="299"/>
                    </a:lnTo>
                    <a:lnTo>
                      <a:pt x="3204" y="290"/>
                    </a:lnTo>
                    <a:lnTo>
                      <a:pt x="3181" y="285"/>
                    </a:lnTo>
                    <a:lnTo>
                      <a:pt x="3163" y="279"/>
                    </a:lnTo>
                    <a:lnTo>
                      <a:pt x="3144" y="271"/>
                    </a:lnTo>
                    <a:lnTo>
                      <a:pt x="3121" y="265"/>
                    </a:lnTo>
                    <a:lnTo>
                      <a:pt x="3103" y="259"/>
                    </a:lnTo>
                    <a:lnTo>
                      <a:pt x="3085" y="251"/>
                    </a:lnTo>
                    <a:lnTo>
                      <a:pt x="3062" y="248"/>
                    </a:lnTo>
                    <a:lnTo>
                      <a:pt x="3044" y="242"/>
                    </a:lnTo>
                    <a:lnTo>
                      <a:pt x="3025" y="236"/>
                    </a:lnTo>
                    <a:lnTo>
                      <a:pt x="3007" y="228"/>
                    </a:lnTo>
                    <a:lnTo>
                      <a:pt x="2993" y="225"/>
                    </a:lnTo>
                    <a:lnTo>
                      <a:pt x="2975" y="219"/>
                    </a:lnTo>
                    <a:lnTo>
                      <a:pt x="2957" y="214"/>
                    </a:lnTo>
                    <a:lnTo>
                      <a:pt x="2943" y="208"/>
                    </a:lnTo>
                    <a:lnTo>
                      <a:pt x="2925" y="205"/>
                    </a:lnTo>
                    <a:lnTo>
                      <a:pt x="2907" y="199"/>
                    </a:lnTo>
                    <a:lnTo>
                      <a:pt x="2888" y="196"/>
                    </a:lnTo>
                    <a:lnTo>
                      <a:pt x="2875" y="194"/>
                    </a:lnTo>
                    <a:lnTo>
                      <a:pt x="2861" y="188"/>
                    </a:lnTo>
                    <a:lnTo>
                      <a:pt x="2852" y="185"/>
                    </a:lnTo>
                    <a:lnTo>
                      <a:pt x="2838" y="182"/>
                    </a:lnTo>
                    <a:lnTo>
                      <a:pt x="2820" y="179"/>
                    </a:lnTo>
                    <a:lnTo>
                      <a:pt x="2811" y="174"/>
                    </a:lnTo>
                    <a:lnTo>
                      <a:pt x="2801" y="171"/>
                    </a:lnTo>
                    <a:lnTo>
                      <a:pt x="2783" y="171"/>
                    </a:lnTo>
                    <a:lnTo>
                      <a:pt x="2774" y="168"/>
                    </a:lnTo>
                    <a:lnTo>
                      <a:pt x="2765" y="165"/>
                    </a:lnTo>
                    <a:lnTo>
                      <a:pt x="2756" y="162"/>
                    </a:lnTo>
                    <a:lnTo>
                      <a:pt x="2733" y="159"/>
                    </a:lnTo>
                    <a:lnTo>
                      <a:pt x="2706" y="159"/>
                    </a:lnTo>
                    <a:lnTo>
                      <a:pt x="2674" y="159"/>
                    </a:lnTo>
                    <a:lnTo>
                      <a:pt x="2651" y="162"/>
                    </a:lnTo>
                    <a:lnTo>
                      <a:pt x="2614" y="165"/>
                    </a:lnTo>
                    <a:lnTo>
                      <a:pt x="2582" y="171"/>
                    </a:lnTo>
                    <a:lnTo>
                      <a:pt x="2546" y="179"/>
                    </a:lnTo>
                    <a:lnTo>
                      <a:pt x="2509" y="191"/>
                    </a:lnTo>
                    <a:lnTo>
                      <a:pt x="2468" y="199"/>
                    </a:lnTo>
                    <a:lnTo>
                      <a:pt x="2431" y="211"/>
                    </a:lnTo>
                    <a:lnTo>
                      <a:pt x="2386" y="225"/>
                    </a:lnTo>
                    <a:lnTo>
                      <a:pt x="2344" y="239"/>
                    </a:lnTo>
                    <a:lnTo>
                      <a:pt x="2299" y="253"/>
                    </a:lnTo>
                    <a:lnTo>
                      <a:pt x="2253" y="268"/>
                    </a:lnTo>
                    <a:lnTo>
                      <a:pt x="2207" y="288"/>
                    </a:lnTo>
                    <a:lnTo>
                      <a:pt x="2162" y="310"/>
                    </a:lnTo>
                    <a:lnTo>
                      <a:pt x="2111" y="327"/>
                    </a:lnTo>
                    <a:lnTo>
                      <a:pt x="2061" y="347"/>
                    </a:lnTo>
                    <a:lnTo>
                      <a:pt x="2011" y="367"/>
                    </a:lnTo>
                    <a:lnTo>
                      <a:pt x="1961" y="393"/>
                    </a:lnTo>
                    <a:lnTo>
                      <a:pt x="1906" y="416"/>
                    </a:lnTo>
                    <a:lnTo>
                      <a:pt x="1855" y="439"/>
                    </a:lnTo>
                    <a:lnTo>
                      <a:pt x="1801" y="464"/>
                    </a:lnTo>
                    <a:lnTo>
                      <a:pt x="1750" y="493"/>
                    </a:lnTo>
                    <a:lnTo>
                      <a:pt x="1691" y="515"/>
                    </a:lnTo>
                    <a:lnTo>
                      <a:pt x="1636" y="541"/>
                    </a:lnTo>
                    <a:lnTo>
                      <a:pt x="1581" y="570"/>
                    </a:lnTo>
                    <a:lnTo>
                      <a:pt x="1531" y="598"/>
                    </a:lnTo>
                    <a:lnTo>
                      <a:pt x="1472" y="624"/>
                    </a:lnTo>
                    <a:lnTo>
                      <a:pt x="1421" y="652"/>
                    </a:lnTo>
                    <a:lnTo>
                      <a:pt x="1366" y="681"/>
                    </a:lnTo>
                    <a:lnTo>
                      <a:pt x="1316" y="709"/>
                    </a:lnTo>
                    <a:lnTo>
                      <a:pt x="1257" y="735"/>
                    </a:lnTo>
                    <a:lnTo>
                      <a:pt x="1207" y="763"/>
                    </a:lnTo>
                    <a:lnTo>
                      <a:pt x="1152" y="792"/>
                    </a:lnTo>
                    <a:lnTo>
                      <a:pt x="1101" y="817"/>
                    </a:lnTo>
                    <a:lnTo>
                      <a:pt x="1047" y="846"/>
                    </a:lnTo>
                    <a:lnTo>
                      <a:pt x="996" y="874"/>
                    </a:lnTo>
                    <a:lnTo>
                      <a:pt x="946" y="900"/>
                    </a:lnTo>
                    <a:lnTo>
                      <a:pt x="896" y="928"/>
                    </a:lnTo>
                    <a:lnTo>
                      <a:pt x="845" y="954"/>
                    </a:lnTo>
                    <a:lnTo>
                      <a:pt x="800" y="980"/>
                    </a:lnTo>
                    <a:lnTo>
                      <a:pt x="754" y="1005"/>
                    </a:lnTo>
                    <a:lnTo>
                      <a:pt x="708" y="1031"/>
                    </a:lnTo>
                    <a:lnTo>
                      <a:pt x="663" y="1054"/>
                    </a:lnTo>
                    <a:lnTo>
                      <a:pt x="622" y="1076"/>
                    </a:lnTo>
                    <a:lnTo>
                      <a:pt x="580" y="1099"/>
                    </a:lnTo>
                    <a:lnTo>
                      <a:pt x="544" y="1122"/>
                    </a:lnTo>
                    <a:lnTo>
                      <a:pt x="503" y="1142"/>
                    </a:lnTo>
                    <a:lnTo>
                      <a:pt x="466" y="1162"/>
                    </a:lnTo>
                    <a:lnTo>
                      <a:pt x="430" y="1182"/>
                    </a:lnTo>
                    <a:lnTo>
                      <a:pt x="398" y="1199"/>
                    </a:lnTo>
                    <a:lnTo>
                      <a:pt x="366" y="1216"/>
                    </a:lnTo>
                    <a:lnTo>
                      <a:pt x="343" y="1230"/>
                    </a:lnTo>
                    <a:lnTo>
                      <a:pt x="311" y="1244"/>
                    </a:lnTo>
                    <a:lnTo>
                      <a:pt x="288" y="1261"/>
                    </a:lnTo>
                    <a:lnTo>
                      <a:pt x="260" y="1270"/>
                    </a:lnTo>
                    <a:lnTo>
                      <a:pt x="242" y="1281"/>
                    </a:lnTo>
                    <a:lnTo>
                      <a:pt x="229" y="1287"/>
                    </a:lnTo>
                    <a:lnTo>
                      <a:pt x="210" y="1299"/>
                    </a:lnTo>
                    <a:lnTo>
                      <a:pt x="201" y="1304"/>
                    </a:lnTo>
                    <a:lnTo>
                      <a:pt x="187" y="1307"/>
                    </a:lnTo>
                    <a:lnTo>
                      <a:pt x="183" y="1307"/>
                    </a:lnTo>
                    <a:lnTo>
                      <a:pt x="178" y="1310"/>
                    </a:lnTo>
                    <a:lnTo>
                      <a:pt x="165" y="1307"/>
                    </a:lnTo>
                    <a:lnTo>
                      <a:pt x="155" y="1307"/>
                    </a:lnTo>
                    <a:lnTo>
                      <a:pt x="137" y="1304"/>
                    </a:lnTo>
                    <a:lnTo>
                      <a:pt x="123" y="1304"/>
                    </a:lnTo>
                    <a:lnTo>
                      <a:pt x="105" y="1299"/>
                    </a:lnTo>
                    <a:lnTo>
                      <a:pt x="91" y="1299"/>
                    </a:lnTo>
                    <a:lnTo>
                      <a:pt x="73" y="1296"/>
                    </a:lnTo>
                    <a:lnTo>
                      <a:pt x="64" y="1293"/>
                    </a:lnTo>
                    <a:lnTo>
                      <a:pt x="46" y="1287"/>
                    </a:lnTo>
                    <a:lnTo>
                      <a:pt x="32" y="1287"/>
                    </a:lnTo>
                    <a:lnTo>
                      <a:pt x="18" y="1284"/>
                    </a:lnTo>
                    <a:lnTo>
                      <a:pt x="9" y="1284"/>
                    </a:lnTo>
                    <a:lnTo>
                      <a:pt x="0" y="128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33" name="Freeform 187"/>
              <p:cNvSpPr>
                <a:spLocks/>
              </p:cNvSpPr>
              <p:nvPr>
                <p:custDataLst>
                  <p:tags r:id="rId18"/>
                </p:custDataLst>
              </p:nvPr>
            </p:nvSpPr>
            <p:spPr bwMode="gray">
              <a:xfrm>
                <a:off x="0" y="1175"/>
                <a:ext cx="5547" cy="378"/>
              </a:xfrm>
              <a:custGeom>
                <a:avLst/>
                <a:gdLst>
                  <a:gd name="T0" fmla="*/ 97 w 5411"/>
                  <a:gd name="T1" fmla="*/ 79 h 413"/>
                  <a:gd name="T2" fmla="*/ 296 w 5411"/>
                  <a:gd name="T3" fmla="*/ 93 h 413"/>
                  <a:gd name="T4" fmla="*/ 560 w 5411"/>
                  <a:gd name="T5" fmla="*/ 103 h 413"/>
                  <a:gd name="T6" fmla="*/ 873 w 5411"/>
                  <a:gd name="T7" fmla="*/ 113 h 413"/>
                  <a:gd name="T8" fmla="*/ 1231 w 5411"/>
                  <a:gd name="T9" fmla="*/ 124 h 413"/>
                  <a:gd name="T10" fmla="*/ 1626 w 5411"/>
                  <a:gd name="T11" fmla="*/ 130 h 413"/>
                  <a:gd name="T12" fmla="*/ 2038 w 5411"/>
                  <a:gd name="T13" fmla="*/ 135 h 413"/>
                  <a:gd name="T14" fmla="*/ 2475 w 5411"/>
                  <a:gd name="T15" fmla="*/ 140 h 413"/>
                  <a:gd name="T16" fmla="*/ 2918 w 5411"/>
                  <a:gd name="T17" fmla="*/ 143 h 413"/>
                  <a:gd name="T18" fmla="*/ 3361 w 5411"/>
                  <a:gd name="T19" fmla="*/ 143 h 413"/>
                  <a:gd name="T20" fmla="*/ 3797 w 5411"/>
                  <a:gd name="T21" fmla="*/ 141 h 413"/>
                  <a:gd name="T22" fmla="*/ 4213 w 5411"/>
                  <a:gd name="T23" fmla="*/ 137 h 413"/>
                  <a:gd name="T24" fmla="*/ 4610 w 5411"/>
                  <a:gd name="T25" fmla="*/ 132 h 413"/>
                  <a:gd name="T26" fmla="*/ 4968 w 5411"/>
                  <a:gd name="T27" fmla="*/ 124 h 413"/>
                  <a:gd name="T28" fmla="*/ 5312 w 5411"/>
                  <a:gd name="T29" fmla="*/ 113 h 413"/>
                  <a:gd name="T30" fmla="*/ 5632 w 5411"/>
                  <a:gd name="T31" fmla="*/ 105 h 413"/>
                  <a:gd name="T32" fmla="*/ 5935 w 5411"/>
                  <a:gd name="T33" fmla="*/ 94 h 413"/>
                  <a:gd name="T34" fmla="*/ 6206 w 5411"/>
                  <a:gd name="T35" fmla="*/ 86 h 413"/>
                  <a:gd name="T36" fmla="*/ 6449 w 5411"/>
                  <a:gd name="T37" fmla="*/ 75 h 413"/>
                  <a:gd name="T38" fmla="*/ 6666 w 5411"/>
                  <a:gd name="T39" fmla="*/ 66 h 413"/>
                  <a:gd name="T40" fmla="*/ 6856 w 5411"/>
                  <a:gd name="T41" fmla="*/ 57 h 413"/>
                  <a:gd name="T42" fmla="*/ 7012 w 5411"/>
                  <a:gd name="T43" fmla="*/ 49 h 413"/>
                  <a:gd name="T44" fmla="*/ 7133 w 5411"/>
                  <a:gd name="T45" fmla="*/ 42 h 413"/>
                  <a:gd name="T46" fmla="*/ 7227 w 5411"/>
                  <a:gd name="T47" fmla="*/ 38 h 413"/>
                  <a:gd name="T48" fmla="*/ 7289 w 5411"/>
                  <a:gd name="T49" fmla="*/ 35 h 413"/>
                  <a:gd name="T50" fmla="*/ 7050 w 5411"/>
                  <a:gd name="T51" fmla="*/ 3 h 413"/>
                  <a:gd name="T52" fmla="*/ 6950 w 5411"/>
                  <a:gd name="T53" fmla="*/ 5 h 413"/>
                  <a:gd name="T54" fmla="*/ 6809 w 5411"/>
                  <a:gd name="T55" fmla="*/ 13 h 413"/>
                  <a:gd name="T56" fmla="*/ 6606 w 5411"/>
                  <a:gd name="T57" fmla="*/ 20 h 413"/>
                  <a:gd name="T58" fmla="*/ 6371 w 5411"/>
                  <a:gd name="T59" fmla="*/ 29 h 413"/>
                  <a:gd name="T60" fmla="*/ 6096 w 5411"/>
                  <a:gd name="T61" fmla="*/ 38 h 413"/>
                  <a:gd name="T62" fmla="*/ 5785 w 5411"/>
                  <a:gd name="T63" fmla="*/ 48 h 413"/>
                  <a:gd name="T64" fmla="*/ 5442 w 5411"/>
                  <a:gd name="T65" fmla="*/ 57 h 413"/>
                  <a:gd name="T66" fmla="*/ 5080 w 5411"/>
                  <a:gd name="T67" fmla="*/ 66 h 413"/>
                  <a:gd name="T68" fmla="*/ 4691 w 5411"/>
                  <a:gd name="T69" fmla="*/ 75 h 413"/>
                  <a:gd name="T70" fmla="*/ 4285 w 5411"/>
                  <a:gd name="T71" fmla="*/ 82 h 413"/>
                  <a:gd name="T72" fmla="*/ 3873 w 5411"/>
                  <a:gd name="T73" fmla="*/ 87 h 413"/>
                  <a:gd name="T74" fmla="*/ 3440 w 5411"/>
                  <a:gd name="T75" fmla="*/ 93 h 413"/>
                  <a:gd name="T76" fmla="*/ 3022 w 5411"/>
                  <a:gd name="T77" fmla="*/ 94 h 413"/>
                  <a:gd name="T78" fmla="*/ 2628 w 5411"/>
                  <a:gd name="T79" fmla="*/ 93 h 413"/>
                  <a:gd name="T80" fmla="*/ 2253 w 5411"/>
                  <a:gd name="T81" fmla="*/ 91 h 413"/>
                  <a:gd name="T82" fmla="*/ 1907 w 5411"/>
                  <a:gd name="T83" fmla="*/ 86 h 413"/>
                  <a:gd name="T84" fmla="*/ 1583 w 5411"/>
                  <a:gd name="T85" fmla="*/ 81 h 413"/>
                  <a:gd name="T86" fmla="*/ 1298 w 5411"/>
                  <a:gd name="T87" fmla="*/ 75 h 413"/>
                  <a:gd name="T88" fmla="*/ 1023 w 5411"/>
                  <a:gd name="T89" fmla="*/ 70 h 413"/>
                  <a:gd name="T90" fmla="*/ 806 w 5411"/>
                  <a:gd name="T91" fmla="*/ 64 h 413"/>
                  <a:gd name="T92" fmla="*/ 615 w 5411"/>
                  <a:gd name="T93" fmla="*/ 59 h 413"/>
                  <a:gd name="T94" fmla="*/ 463 w 5411"/>
                  <a:gd name="T95" fmla="*/ 54 h 413"/>
                  <a:gd name="T96" fmla="*/ 363 w 5411"/>
                  <a:gd name="T97" fmla="*/ 48 h 413"/>
                  <a:gd name="T98" fmla="*/ 290 w 5411"/>
                  <a:gd name="T99" fmla="*/ 46 h 413"/>
                  <a:gd name="T100" fmla="*/ 178 w 5411"/>
                  <a:gd name="T101" fmla="*/ 47 h 413"/>
                  <a:gd name="T102" fmla="*/ 53 w 5411"/>
                  <a:gd name="T103" fmla="*/ 60 h 413"/>
                  <a:gd name="T104" fmla="*/ 0 w 5411"/>
                  <a:gd name="T105" fmla="*/ 67 h 4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11"/>
                  <a:gd name="T160" fmla="*/ 0 h 413"/>
                  <a:gd name="T161" fmla="*/ 5411 w 5411"/>
                  <a:gd name="T162" fmla="*/ 413 h 4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11" h="413">
                    <a:moveTo>
                      <a:pt x="0" y="199"/>
                    </a:moveTo>
                    <a:lnTo>
                      <a:pt x="5" y="208"/>
                    </a:lnTo>
                    <a:lnTo>
                      <a:pt x="23" y="213"/>
                    </a:lnTo>
                    <a:lnTo>
                      <a:pt x="46" y="222"/>
                    </a:lnTo>
                    <a:lnTo>
                      <a:pt x="73" y="231"/>
                    </a:lnTo>
                    <a:lnTo>
                      <a:pt x="96" y="239"/>
                    </a:lnTo>
                    <a:lnTo>
                      <a:pt x="123" y="248"/>
                    </a:lnTo>
                    <a:lnTo>
                      <a:pt x="155" y="253"/>
                    </a:lnTo>
                    <a:lnTo>
                      <a:pt x="187" y="262"/>
                    </a:lnTo>
                    <a:lnTo>
                      <a:pt x="219" y="268"/>
                    </a:lnTo>
                    <a:lnTo>
                      <a:pt x="256" y="273"/>
                    </a:lnTo>
                    <a:lnTo>
                      <a:pt x="292" y="282"/>
                    </a:lnTo>
                    <a:lnTo>
                      <a:pt x="334" y="287"/>
                    </a:lnTo>
                    <a:lnTo>
                      <a:pt x="375" y="293"/>
                    </a:lnTo>
                    <a:lnTo>
                      <a:pt x="416" y="299"/>
                    </a:lnTo>
                    <a:lnTo>
                      <a:pt x="462" y="307"/>
                    </a:lnTo>
                    <a:lnTo>
                      <a:pt x="507" y="313"/>
                    </a:lnTo>
                    <a:lnTo>
                      <a:pt x="553" y="319"/>
                    </a:lnTo>
                    <a:lnTo>
                      <a:pt x="599" y="324"/>
                    </a:lnTo>
                    <a:lnTo>
                      <a:pt x="649" y="330"/>
                    </a:lnTo>
                    <a:lnTo>
                      <a:pt x="699" y="336"/>
                    </a:lnTo>
                    <a:lnTo>
                      <a:pt x="750" y="339"/>
                    </a:lnTo>
                    <a:lnTo>
                      <a:pt x="804" y="344"/>
                    </a:lnTo>
                    <a:lnTo>
                      <a:pt x="859" y="350"/>
                    </a:lnTo>
                    <a:lnTo>
                      <a:pt x="914" y="356"/>
                    </a:lnTo>
                    <a:lnTo>
                      <a:pt x="969" y="359"/>
                    </a:lnTo>
                    <a:lnTo>
                      <a:pt x="1028" y="364"/>
                    </a:lnTo>
                    <a:lnTo>
                      <a:pt x="1088" y="367"/>
                    </a:lnTo>
                    <a:lnTo>
                      <a:pt x="1147" y="373"/>
                    </a:lnTo>
                    <a:lnTo>
                      <a:pt x="1207" y="376"/>
                    </a:lnTo>
                    <a:lnTo>
                      <a:pt x="1266" y="379"/>
                    </a:lnTo>
                    <a:lnTo>
                      <a:pt x="1325" y="384"/>
                    </a:lnTo>
                    <a:lnTo>
                      <a:pt x="1394" y="390"/>
                    </a:lnTo>
                    <a:lnTo>
                      <a:pt x="1453" y="390"/>
                    </a:lnTo>
                    <a:lnTo>
                      <a:pt x="1513" y="393"/>
                    </a:lnTo>
                    <a:lnTo>
                      <a:pt x="1577" y="396"/>
                    </a:lnTo>
                    <a:lnTo>
                      <a:pt x="1645" y="399"/>
                    </a:lnTo>
                    <a:lnTo>
                      <a:pt x="1709" y="401"/>
                    </a:lnTo>
                    <a:lnTo>
                      <a:pt x="1773" y="401"/>
                    </a:lnTo>
                    <a:lnTo>
                      <a:pt x="1837" y="404"/>
                    </a:lnTo>
                    <a:lnTo>
                      <a:pt x="1906" y="407"/>
                    </a:lnTo>
                    <a:lnTo>
                      <a:pt x="1970" y="410"/>
                    </a:lnTo>
                    <a:lnTo>
                      <a:pt x="2034" y="410"/>
                    </a:lnTo>
                    <a:lnTo>
                      <a:pt x="2098" y="410"/>
                    </a:lnTo>
                    <a:lnTo>
                      <a:pt x="2166" y="413"/>
                    </a:lnTo>
                    <a:lnTo>
                      <a:pt x="2235" y="413"/>
                    </a:lnTo>
                    <a:lnTo>
                      <a:pt x="2299" y="413"/>
                    </a:lnTo>
                    <a:lnTo>
                      <a:pt x="2363" y="413"/>
                    </a:lnTo>
                    <a:lnTo>
                      <a:pt x="2431" y="413"/>
                    </a:lnTo>
                    <a:lnTo>
                      <a:pt x="2495" y="413"/>
                    </a:lnTo>
                    <a:lnTo>
                      <a:pt x="2559" y="413"/>
                    </a:lnTo>
                    <a:lnTo>
                      <a:pt x="2623" y="410"/>
                    </a:lnTo>
                    <a:lnTo>
                      <a:pt x="2692" y="410"/>
                    </a:lnTo>
                    <a:lnTo>
                      <a:pt x="2751" y="410"/>
                    </a:lnTo>
                    <a:lnTo>
                      <a:pt x="2820" y="407"/>
                    </a:lnTo>
                    <a:lnTo>
                      <a:pt x="2879" y="404"/>
                    </a:lnTo>
                    <a:lnTo>
                      <a:pt x="2943" y="404"/>
                    </a:lnTo>
                    <a:lnTo>
                      <a:pt x="3003" y="401"/>
                    </a:lnTo>
                    <a:lnTo>
                      <a:pt x="3067" y="401"/>
                    </a:lnTo>
                    <a:lnTo>
                      <a:pt x="3126" y="399"/>
                    </a:lnTo>
                    <a:lnTo>
                      <a:pt x="3185" y="396"/>
                    </a:lnTo>
                    <a:lnTo>
                      <a:pt x="3245" y="390"/>
                    </a:lnTo>
                    <a:lnTo>
                      <a:pt x="3304" y="390"/>
                    </a:lnTo>
                    <a:lnTo>
                      <a:pt x="3364" y="384"/>
                    </a:lnTo>
                    <a:lnTo>
                      <a:pt x="3423" y="381"/>
                    </a:lnTo>
                    <a:lnTo>
                      <a:pt x="3473" y="376"/>
                    </a:lnTo>
                    <a:lnTo>
                      <a:pt x="3528" y="373"/>
                    </a:lnTo>
                    <a:lnTo>
                      <a:pt x="3583" y="367"/>
                    </a:lnTo>
                    <a:lnTo>
                      <a:pt x="3638" y="364"/>
                    </a:lnTo>
                    <a:lnTo>
                      <a:pt x="3688" y="359"/>
                    </a:lnTo>
                    <a:lnTo>
                      <a:pt x="3743" y="353"/>
                    </a:lnTo>
                    <a:lnTo>
                      <a:pt x="3789" y="347"/>
                    </a:lnTo>
                    <a:lnTo>
                      <a:pt x="3843" y="344"/>
                    </a:lnTo>
                    <a:lnTo>
                      <a:pt x="3889" y="339"/>
                    </a:lnTo>
                    <a:lnTo>
                      <a:pt x="3944" y="333"/>
                    </a:lnTo>
                    <a:lnTo>
                      <a:pt x="3990" y="327"/>
                    </a:lnTo>
                    <a:lnTo>
                      <a:pt x="4040" y="324"/>
                    </a:lnTo>
                    <a:lnTo>
                      <a:pt x="4086" y="316"/>
                    </a:lnTo>
                    <a:lnTo>
                      <a:pt x="4136" y="313"/>
                    </a:lnTo>
                    <a:lnTo>
                      <a:pt x="4182" y="307"/>
                    </a:lnTo>
                    <a:lnTo>
                      <a:pt x="4232" y="302"/>
                    </a:lnTo>
                    <a:lnTo>
                      <a:pt x="4273" y="296"/>
                    </a:lnTo>
                    <a:lnTo>
                      <a:pt x="4319" y="287"/>
                    </a:lnTo>
                    <a:lnTo>
                      <a:pt x="4360" y="285"/>
                    </a:lnTo>
                    <a:lnTo>
                      <a:pt x="4406" y="279"/>
                    </a:lnTo>
                    <a:lnTo>
                      <a:pt x="4447" y="273"/>
                    </a:lnTo>
                    <a:lnTo>
                      <a:pt x="4488" y="265"/>
                    </a:lnTo>
                    <a:lnTo>
                      <a:pt x="4529" y="262"/>
                    </a:lnTo>
                    <a:lnTo>
                      <a:pt x="4570" y="256"/>
                    </a:lnTo>
                    <a:lnTo>
                      <a:pt x="4607" y="250"/>
                    </a:lnTo>
                    <a:lnTo>
                      <a:pt x="4643" y="239"/>
                    </a:lnTo>
                    <a:lnTo>
                      <a:pt x="4680" y="236"/>
                    </a:lnTo>
                    <a:lnTo>
                      <a:pt x="4721" y="231"/>
                    </a:lnTo>
                    <a:lnTo>
                      <a:pt x="4753" y="225"/>
                    </a:lnTo>
                    <a:lnTo>
                      <a:pt x="4789" y="219"/>
                    </a:lnTo>
                    <a:lnTo>
                      <a:pt x="4821" y="213"/>
                    </a:lnTo>
                    <a:lnTo>
                      <a:pt x="4858" y="208"/>
                    </a:lnTo>
                    <a:lnTo>
                      <a:pt x="4890" y="202"/>
                    </a:lnTo>
                    <a:lnTo>
                      <a:pt x="4922" y="196"/>
                    </a:lnTo>
                    <a:lnTo>
                      <a:pt x="4949" y="191"/>
                    </a:lnTo>
                    <a:lnTo>
                      <a:pt x="4981" y="185"/>
                    </a:lnTo>
                    <a:lnTo>
                      <a:pt x="5009" y="179"/>
                    </a:lnTo>
                    <a:lnTo>
                      <a:pt x="5041" y="174"/>
                    </a:lnTo>
                    <a:lnTo>
                      <a:pt x="5064" y="168"/>
                    </a:lnTo>
                    <a:lnTo>
                      <a:pt x="5091" y="165"/>
                    </a:lnTo>
                    <a:lnTo>
                      <a:pt x="5119" y="159"/>
                    </a:lnTo>
                    <a:lnTo>
                      <a:pt x="5141" y="154"/>
                    </a:lnTo>
                    <a:lnTo>
                      <a:pt x="5164" y="151"/>
                    </a:lnTo>
                    <a:lnTo>
                      <a:pt x="5187" y="148"/>
                    </a:lnTo>
                    <a:lnTo>
                      <a:pt x="5205" y="142"/>
                    </a:lnTo>
                    <a:lnTo>
                      <a:pt x="5228" y="139"/>
                    </a:lnTo>
                    <a:lnTo>
                      <a:pt x="5247" y="137"/>
                    </a:lnTo>
                    <a:lnTo>
                      <a:pt x="5265" y="131"/>
                    </a:lnTo>
                    <a:lnTo>
                      <a:pt x="5283" y="128"/>
                    </a:lnTo>
                    <a:lnTo>
                      <a:pt x="5297" y="122"/>
                    </a:lnTo>
                    <a:lnTo>
                      <a:pt x="5315" y="119"/>
                    </a:lnTo>
                    <a:lnTo>
                      <a:pt x="5329" y="117"/>
                    </a:lnTo>
                    <a:lnTo>
                      <a:pt x="5338" y="114"/>
                    </a:lnTo>
                    <a:lnTo>
                      <a:pt x="5352" y="111"/>
                    </a:lnTo>
                    <a:lnTo>
                      <a:pt x="5365" y="111"/>
                    </a:lnTo>
                    <a:lnTo>
                      <a:pt x="5374" y="108"/>
                    </a:lnTo>
                    <a:lnTo>
                      <a:pt x="5388" y="102"/>
                    </a:lnTo>
                    <a:lnTo>
                      <a:pt x="5402" y="102"/>
                    </a:lnTo>
                    <a:lnTo>
                      <a:pt x="5411" y="100"/>
                    </a:lnTo>
                    <a:lnTo>
                      <a:pt x="5265" y="0"/>
                    </a:lnTo>
                    <a:lnTo>
                      <a:pt x="5260" y="0"/>
                    </a:lnTo>
                    <a:lnTo>
                      <a:pt x="5251" y="3"/>
                    </a:lnTo>
                    <a:lnTo>
                      <a:pt x="5242" y="3"/>
                    </a:lnTo>
                    <a:lnTo>
                      <a:pt x="5233" y="3"/>
                    </a:lnTo>
                    <a:lnTo>
                      <a:pt x="5219" y="3"/>
                    </a:lnTo>
                    <a:lnTo>
                      <a:pt x="5210" y="8"/>
                    </a:lnTo>
                    <a:lnTo>
                      <a:pt x="5196" y="11"/>
                    </a:lnTo>
                    <a:lnTo>
                      <a:pt x="5178" y="14"/>
                    </a:lnTo>
                    <a:lnTo>
                      <a:pt x="5160" y="17"/>
                    </a:lnTo>
                    <a:lnTo>
                      <a:pt x="5141" y="20"/>
                    </a:lnTo>
                    <a:lnTo>
                      <a:pt x="5119" y="23"/>
                    </a:lnTo>
                    <a:lnTo>
                      <a:pt x="5100" y="25"/>
                    </a:lnTo>
                    <a:lnTo>
                      <a:pt x="5077" y="31"/>
                    </a:lnTo>
                    <a:lnTo>
                      <a:pt x="5055" y="37"/>
                    </a:lnTo>
                    <a:lnTo>
                      <a:pt x="5023" y="40"/>
                    </a:lnTo>
                    <a:lnTo>
                      <a:pt x="5000" y="43"/>
                    </a:lnTo>
                    <a:lnTo>
                      <a:pt x="4968" y="48"/>
                    </a:lnTo>
                    <a:lnTo>
                      <a:pt x="4940" y="51"/>
                    </a:lnTo>
                    <a:lnTo>
                      <a:pt x="4904" y="57"/>
                    </a:lnTo>
                    <a:lnTo>
                      <a:pt x="4872" y="60"/>
                    </a:lnTo>
                    <a:lnTo>
                      <a:pt x="4840" y="68"/>
                    </a:lnTo>
                    <a:lnTo>
                      <a:pt x="4808" y="71"/>
                    </a:lnTo>
                    <a:lnTo>
                      <a:pt x="4767" y="77"/>
                    </a:lnTo>
                    <a:lnTo>
                      <a:pt x="4730" y="82"/>
                    </a:lnTo>
                    <a:lnTo>
                      <a:pt x="4694" y="88"/>
                    </a:lnTo>
                    <a:lnTo>
                      <a:pt x="4652" y="91"/>
                    </a:lnTo>
                    <a:lnTo>
                      <a:pt x="4611" y="97"/>
                    </a:lnTo>
                    <a:lnTo>
                      <a:pt x="4570" y="102"/>
                    </a:lnTo>
                    <a:lnTo>
                      <a:pt x="4524" y="111"/>
                    </a:lnTo>
                    <a:lnTo>
                      <a:pt x="4488" y="117"/>
                    </a:lnTo>
                    <a:lnTo>
                      <a:pt x="4438" y="122"/>
                    </a:lnTo>
                    <a:lnTo>
                      <a:pt x="4392" y="128"/>
                    </a:lnTo>
                    <a:lnTo>
                      <a:pt x="4342" y="134"/>
                    </a:lnTo>
                    <a:lnTo>
                      <a:pt x="4296" y="139"/>
                    </a:lnTo>
                    <a:lnTo>
                      <a:pt x="4246" y="142"/>
                    </a:lnTo>
                    <a:lnTo>
                      <a:pt x="4200" y="151"/>
                    </a:lnTo>
                    <a:lnTo>
                      <a:pt x="4145" y="154"/>
                    </a:lnTo>
                    <a:lnTo>
                      <a:pt x="4095" y="162"/>
                    </a:lnTo>
                    <a:lnTo>
                      <a:pt x="4040" y="165"/>
                    </a:lnTo>
                    <a:lnTo>
                      <a:pt x="3990" y="174"/>
                    </a:lnTo>
                    <a:lnTo>
                      <a:pt x="3935" y="176"/>
                    </a:lnTo>
                    <a:lnTo>
                      <a:pt x="3885" y="185"/>
                    </a:lnTo>
                    <a:lnTo>
                      <a:pt x="3830" y="185"/>
                    </a:lnTo>
                    <a:lnTo>
                      <a:pt x="3770" y="193"/>
                    </a:lnTo>
                    <a:lnTo>
                      <a:pt x="3716" y="199"/>
                    </a:lnTo>
                    <a:lnTo>
                      <a:pt x="3661" y="205"/>
                    </a:lnTo>
                    <a:lnTo>
                      <a:pt x="3597" y="208"/>
                    </a:lnTo>
                    <a:lnTo>
                      <a:pt x="3542" y="213"/>
                    </a:lnTo>
                    <a:lnTo>
                      <a:pt x="3482" y="219"/>
                    </a:lnTo>
                    <a:lnTo>
                      <a:pt x="3423" y="225"/>
                    </a:lnTo>
                    <a:lnTo>
                      <a:pt x="3364" y="228"/>
                    </a:lnTo>
                    <a:lnTo>
                      <a:pt x="3304" y="231"/>
                    </a:lnTo>
                    <a:lnTo>
                      <a:pt x="3245" y="236"/>
                    </a:lnTo>
                    <a:lnTo>
                      <a:pt x="3181" y="239"/>
                    </a:lnTo>
                    <a:lnTo>
                      <a:pt x="3121" y="242"/>
                    </a:lnTo>
                    <a:lnTo>
                      <a:pt x="3057" y="248"/>
                    </a:lnTo>
                    <a:lnTo>
                      <a:pt x="2998" y="250"/>
                    </a:lnTo>
                    <a:lnTo>
                      <a:pt x="2934" y="253"/>
                    </a:lnTo>
                    <a:lnTo>
                      <a:pt x="2875" y="256"/>
                    </a:lnTo>
                    <a:lnTo>
                      <a:pt x="2806" y="259"/>
                    </a:lnTo>
                    <a:lnTo>
                      <a:pt x="2747" y="262"/>
                    </a:lnTo>
                    <a:lnTo>
                      <a:pt x="2683" y="265"/>
                    </a:lnTo>
                    <a:lnTo>
                      <a:pt x="2619" y="265"/>
                    </a:lnTo>
                    <a:lnTo>
                      <a:pt x="2555" y="268"/>
                    </a:lnTo>
                    <a:lnTo>
                      <a:pt x="2495" y="268"/>
                    </a:lnTo>
                    <a:lnTo>
                      <a:pt x="2431" y="270"/>
                    </a:lnTo>
                    <a:lnTo>
                      <a:pt x="2367" y="270"/>
                    </a:lnTo>
                    <a:lnTo>
                      <a:pt x="2308" y="270"/>
                    </a:lnTo>
                    <a:lnTo>
                      <a:pt x="2244" y="270"/>
                    </a:lnTo>
                    <a:lnTo>
                      <a:pt x="2185" y="270"/>
                    </a:lnTo>
                    <a:lnTo>
                      <a:pt x="2125" y="270"/>
                    </a:lnTo>
                    <a:lnTo>
                      <a:pt x="2070" y="268"/>
                    </a:lnTo>
                    <a:lnTo>
                      <a:pt x="2011" y="268"/>
                    </a:lnTo>
                    <a:lnTo>
                      <a:pt x="1951" y="268"/>
                    </a:lnTo>
                    <a:lnTo>
                      <a:pt x="1897" y="265"/>
                    </a:lnTo>
                    <a:lnTo>
                      <a:pt x="1842" y="265"/>
                    </a:lnTo>
                    <a:lnTo>
                      <a:pt x="1787" y="262"/>
                    </a:lnTo>
                    <a:lnTo>
                      <a:pt x="1732" y="262"/>
                    </a:lnTo>
                    <a:lnTo>
                      <a:pt x="1673" y="262"/>
                    </a:lnTo>
                    <a:lnTo>
                      <a:pt x="1622" y="259"/>
                    </a:lnTo>
                    <a:lnTo>
                      <a:pt x="1568" y="256"/>
                    </a:lnTo>
                    <a:lnTo>
                      <a:pt x="1517" y="253"/>
                    </a:lnTo>
                    <a:lnTo>
                      <a:pt x="1467" y="250"/>
                    </a:lnTo>
                    <a:lnTo>
                      <a:pt x="1417" y="250"/>
                    </a:lnTo>
                    <a:lnTo>
                      <a:pt x="1362" y="248"/>
                    </a:lnTo>
                    <a:lnTo>
                      <a:pt x="1321" y="245"/>
                    </a:lnTo>
                    <a:lnTo>
                      <a:pt x="1270" y="239"/>
                    </a:lnTo>
                    <a:lnTo>
                      <a:pt x="1220" y="239"/>
                    </a:lnTo>
                    <a:lnTo>
                      <a:pt x="1175" y="236"/>
                    </a:lnTo>
                    <a:lnTo>
                      <a:pt x="1129" y="233"/>
                    </a:lnTo>
                    <a:lnTo>
                      <a:pt x="1088" y="231"/>
                    </a:lnTo>
                    <a:lnTo>
                      <a:pt x="1042" y="228"/>
                    </a:lnTo>
                    <a:lnTo>
                      <a:pt x="1001" y="225"/>
                    </a:lnTo>
                    <a:lnTo>
                      <a:pt x="964" y="219"/>
                    </a:lnTo>
                    <a:lnTo>
                      <a:pt x="919" y="216"/>
                    </a:lnTo>
                    <a:lnTo>
                      <a:pt x="877" y="213"/>
                    </a:lnTo>
                    <a:lnTo>
                      <a:pt x="841" y="208"/>
                    </a:lnTo>
                    <a:lnTo>
                      <a:pt x="804" y="208"/>
                    </a:lnTo>
                    <a:lnTo>
                      <a:pt x="759" y="202"/>
                    </a:lnTo>
                    <a:lnTo>
                      <a:pt x="731" y="199"/>
                    </a:lnTo>
                    <a:lnTo>
                      <a:pt x="695" y="196"/>
                    </a:lnTo>
                    <a:lnTo>
                      <a:pt x="663" y="193"/>
                    </a:lnTo>
                    <a:lnTo>
                      <a:pt x="631" y="188"/>
                    </a:lnTo>
                    <a:lnTo>
                      <a:pt x="599" y="185"/>
                    </a:lnTo>
                    <a:lnTo>
                      <a:pt x="567" y="182"/>
                    </a:lnTo>
                    <a:lnTo>
                      <a:pt x="539" y="179"/>
                    </a:lnTo>
                    <a:lnTo>
                      <a:pt x="507" y="174"/>
                    </a:lnTo>
                    <a:lnTo>
                      <a:pt x="484" y="174"/>
                    </a:lnTo>
                    <a:lnTo>
                      <a:pt x="457" y="168"/>
                    </a:lnTo>
                    <a:lnTo>
                      <a:pt x="434" y="165"/>
                    </a:lnTo>
                    <a:lnTo>
                      <a:pt x="411" y="162"/>
                    </a:lnTo>
                    <a:lnTo>
                      <a:pt x="384" y="159"/>
                    </a:lnTo>
                    <a:lnTo>
                      <a:pt x="361" y="156"/>
                    </a:lnTo>
                    <a:lnTo>
                      <a:pt x="343" y="154"/>
                    </a:lnTo>
                    <a:lnTo>
                      <a:pt x="329" y="151"/>
                    </a:lnTo>
                    <a:lnTo>
                      <a:pt x="311" y="148"/>
                    </a:lnTo>
                    <a:lnTo>
                      <a:pt x="292" y="145"/>
                    </a:lnTo>
                    <a:lnTo>
                      <a:pt x="283" y="142"/>
                    </a:lnTo>
                    <a:lnTo>
                      <a:pt x="270" y="139"/>
                    </a:lnTo>
                    <a:lnTo>
                      <a:pt x="256" y="139"/>
                    </a:lnTo>
                    <a:lnTo>
                      <a:pt x="242" y="137"/>
                    </a:lnTo>
                    <a:lnTo>
                      <a:pt x="238" y="137"/>
                    </a:lnTo>
                    <a:lnTo>
                      <a:pt x="224" y="134"/>
                    </a:lnTo>
                    <a:lnTo>
                      <a:pt x="215" y="134"/>
                    </a:lnTo>
                    <a:lnTo>
                      <a:pt x="201" y="128"/>
                    </a:lnTo>
                    <a:lnTo>
                      <a:pt x="187" y="128"/>
                    </a:lnTo>
                    <a:lnTo>
                      <a:pt x="169" y="131"/>
                    </a:lnTo>
                    <a:lnTo>
                      <a:pt x="155" y="134"/>
                    </a:lnTo>
                    <a:lnTo>
                      <a:pt x="133" y="137"/>
                    </a:lnTo>
                    <a:lnTo>
                      <a:pt x="114" y="142"/>
                    </a:lnTo>
                    <a:lnTo>
                      <a:pt x="96" y="151"/>
                    </a:lnTo>
                    <a:lnTo>
                      <a:pt x="78" y="159"/>
                    </a:lnTo>
                    <a:lnTo>
                      <a:pt x="59" y="165"/>
                    </a:lnTo>
                    <a:lnTo>
                      <a:pt x="41" y="174"/>
                    </a:lnTo>
                    <a:lnTo>
                      <a:pt x="23" y="179"/>
                    </a:lnTo>
                    <a:lnTo>
                      <a:pt x="14" y="185"/>
                    </a:lnTo>
                    <a:lnTo>
                      <a:pt x="0" y="191"/>
                    </a:lnTo>
                    <a:lnTo>
                      <a:pt x="0" y="196"/>
                    </a:lnTo>
                    <a:lnTo>
                      <a:pt x="0" y="19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34" name="Freeform 188"/>
              <p:cNvSpPr>
                <a:spLocks/>
              </p:cNvSpPr>
              <p:nvPr>
                <p:custDataLst>
                  <p:tags r:id="rId19"/>
                </p:custDataLst>
              </p:nvPr>
            </p:nvSpPr>
            <p:spPr bwMode="gray">
              <a:xfrm>
                <a:off x="932" y="1412"/>
                <a:ext cx="3823" cy="1413"/>
              </a:xfrm>
              <a:custGeom>
                <a:avLst/>
                <a:gdLst>
                  <a:gd name="T0" fmla="*/ 159 w 3730"/>
                  <a:gd name="T1" fmla="*/ 41 h 1546"/>
                  <a:gd name="T2" fmla="*/ 142 w 3730"/>
                  <a:gd name="T3" fmla="*/ 75 h 1546"/>
                  <a:gd name="T4" fmla="*/ 129 w 3730"/>
                  <a:gd name="T5" fmla="*/ 121 h 1546"/>
                  <a:gd name="T6" fmla="*/ 102 w 3730"/>
                  <a:gd name="T7" fmla="*/ 173 h 1546"/>
                  <a:gd name="T8" fmla="*/ 83 w 3730"/>
                  <a:gd name="T9" fmla="*/ 231 h 1546"/>
                  <a:gd name="T10" fmla="*/ 54 w 3730"/>
                  <a:gd name="T11" fmla="*/ 291 h 1546"/>
                  <a:gd name="T12" fmla="*/ 40 w 3730"/>
                  <a:gd name="T13" fmla="*/ 345 h 1546"/>
                  <a:gd name="T14" fmla="*/ 14 w 3730"/>
                  <a:gd name="T15" fmla="*/ 396 h 1546"/>
                  <a:gd name="T16" fmla="*/ 5 w 3730"/>
                  <a:gd name="T17" fmla="*/ 435 h 1546"/>
                  <a:gd name="T18" fmla="*/ 0 w 3730"/>
                  <a:gd name="T19" fmla="*/ 461 h 1546"/>
                  <a:gd name="T20" fmla="*/ 5 w 3730"/>
                  <a:gd name="T21" fmla="*/ 467 h 1546"/>
                  <a:gd name="T22" fmla="*/ 88 w 3730"/>
                  <a:gd name="T23" fmla="*/ 471 h 1546"/>
                  <a:gd name="T24" fmla="*/ 192 w 3730"/>
                  <a:gd name="T25" fmla="*/ 474 h 1546"/>
                  <a:gd name="T26" fmla="*/ 327 w 3730"/>
                  <a:gd name="T27" fmla="*/ 480 h 1546"/>
                  <a:gd name="T28" fmla="*/ 492 w 3730"/>
                  <a:gd name="T29" fmla="*/ 485 h 1546"/>
                  <a:gd name="T30" fmla="*/ 683 w 3730"/>
                  <a:gd name="T31" fmla="*/ 493 h 1546"/>
                  <a:gd name="T32" fmla="*/ 887 w 3730"/>
                  <a:gd name="T33" fmla="*/ 499 h 1546"/>
                  <a:gd name="T34" fmla="*/ 1113 w 3730"/>
                  <a:gd name="T35" fmla="*/ 505 h 1546"/>
                  <a:gd name="T36" fmla="*/ 1340 w 3730"/>
                  <a:gd name="T37" fmla="*/ 511 h 1546"/>
                  <a:gd name="T38" fmla="*/ 1567 w 3730"/>
                  <a:gd name="T39" fmla="*/ 517 h 1546"/>
                  <a:gd name="T40" fmla="*/ 1797 w 3730"/>
                  <a:gd name="T41" fmla="*/ 522 h 1546"/>
                  <a:gd name="T42" fmla="*/ 2041 w 3730"/>
                  <a:gd name="T43" fmla="*/ 524 h 1546"/>
                  <a:gd name="T44" fmla="*/ 2293 w 3730"/>
                  <a:gd name="T45" fmla="*/ 525 h 1546"/>
                  <a:gd name="T46" fmla="*/ 2556 w 3730"/>
                  <a:gd name="T47" fmla="*/ 525 h 1546"/>
                  <a:gd name="T48" fmla="*/ 2820 w 3730"/>
                  <a:gd name="T49" fmla="*/ 523 h 1546"/>
                  <a:gd name="T50" fmla="*/ 3089 w 3730"/>
                  <a:gd name="T51" fmla="*/ 522 h 1546"/>
                  <a:gd name="T52" fmla="*/ 3335 w 3730"/>
                  <a:gd name="T53" fmla="*/ 519 h 1546"/>
                  <a:gd name="T54" fmla="*/ 3575 w 3730"/>
                  <a:gd name="T55" fmla="*/ 515 h 1546"/>
                  <a:gd name="T56" fmla="*/ 3792 w 3730"/>
                  <a:gd name="T57" fmla="*/ 510 h 1546"/>
                  <a:gd name="T58" fmla="*/ 3984 w 3730"/>
                  <a:gd name="T59" fmla="*/ 507 h 1546"/>
                  <a:gd name="T60" fmla="*/ 4142 w 3730"/>
                  <a:gd name="T61" fmla="*/ 504 h 1546"/>
                  <a:gd name="T62" fmla="*/ 4268 w 3730"/>
                  <a:gd name="T63" fmla="*/ 499 h 1546"/>
                  <a:gd name="T64" fmla="*/ 4392 w 3730"/>
                  <a:gd name="T65" fmla="*/ 494 h 1546"/>
                  <a:gd name="T66" fmla="*/ 4509 w 3730"/>
                  <a:gd name="T67" fmla="*/ 491 h 1546"/>
                  <a:gd name="T68" fmla="*/ 4607 w 3730"/>
                  <a:gd name="T69" fmla="*/ 485 h 1546"/>
                  <a:gd name="T70" fmla="*/ 4704 w 3730"/>
                  <a:gd name="T71" fmla="*/ 481 h 1546"/>
                  <a:gd name="T72" fmla="*/ 4816 w 3730"/>
                  <a:gd name="T73" fmla="*/ 474 h 1546"/>
                  <a:gd name="T74" fmla="*/ 4943 w 3730"/>
                  <a:gd name="T75" fmla="*/ 469 h 1546"/>
                  <a:gd name="T76" fmla="*/ 5013 w 3730"/>
                  <a:gd name="T77" fmla="*/ 466 h 1546"/>
                  <a:gd name="T78" fmla="*/ 4600 w 3730"/>
                  <a:gd name="T79" fmla="*/ 435 h 1546"/>
                  <a:gd name="T80" fmla="*/ 4515 w 3730"/>
                  <a:gd name="T81" fmla="*/ 437 h 1546"/>
                  <a:gd name="T82" fmla="*/ 4399 w 3730"/>
                  <a:gd name="T83" fmla="*/ 441 h 1546"/>
                  <a:gd name="T84" fmla="*/ 4250 w 3730"/>
                  <a:gd name="T85" fmla="*/ 444 h 1546"/>
                  <a:gd name="T86" fmla="*/ 4064 w 3730"/>
                  <a:gd name="T87" fmla="*/ 451 h 1546"/>
                  <a:gd name="T88" fmla="*/ 3862 w 3730"/>
                  <a:gd name="T89" fmla="*/ 456 h 1546"/>
                  <a:gd name="T90" fmla="*/ 3634 w 3730"/>
                  <a:gd name="T91" fmla="*/ 461 h 1546"/>
                  <a:gd name="T92" fmla="*/ 3399 w 3730"/>
                  <a:gd name="T93" fmla="*/ 466 h 1546"/>
                  <a:gd name="T94" fmla="*/ 3151 w 3730"/>
                  <a:gd name="T95" fmla="*/ 471 h 1546"/>
                  <a:gd name="T96" fmla="*/ 2893 w 3730"/>
                  <a:gd name="T97" fmla="*/ 474 h 1546"/>
                  <a:gd name="T98" fmla="*/ 2641 w 3730"/>
                  <a:gd name="T99" fmla="*/ 474 h 1546"/>
                  <a:gd name="T100" fmla="*/ 2358 w 3730"/>
                  <a:gd name="T101" fmla="*/ 474 h 1546"/>
                  <a:gd name="T102" fmla="*/ 2062 w 3730"/>
                  <a:gd name="T103" fmla="*/ 473 h 1546"/>
                  <a:gd name="T104" fmla="*/ 1759 w 3730"/>
                  <a:gd name="T105" fmla="*/ 467 h 1546"/>
                  <a:gd name="T106" fmla="*/ 1462 w 3730"/>
                  <a:gd name="T107" fmla="*/ 463 h 1546"/>
                  <a:gd name="T108" fmla="*/ 1180 w 3730"/>
                  <a:gd name="T109" fmla="*/ 457 h 1546"/>
                  <a:gd name="T110" fmla="*/ 921 w 3730"/>
                  <a:gd name="T111" fmla="*/ 451 h 1546"/>
                  <a:gd name="T112" fmla="*/ 700 w 3730"/>
                  <a:gd name="T113" fmla="*/ 443 h 1546"/>
                  <a:gd name="T114" fmla="*/ 529 w 3730"/>
                  <a:gd name="T115" fmla="*/ 440 h 1546"/>
                  <a:gd name="T116" fmla="*/ 413 w 3730"/>
                  <a:gd name="T117" fmla="*/ 435 h 1546"/>
                  <a:gd name="T118" fmla="*/ 418 w 3730"/>
                  <a:gd name="T119" fmla="*/ 31 h 1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30"/>
                  <a:gd name="T181" fmla="*/ 0 h 1546"/>
                  <a:gd name="T182" fmla="*/ 3730 w 3730"/>
                  <a:gd name="T183" fmla="*/ 1546 h 15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30" h="1546">
                    <a:moveTo>
                      <a:pt x="133" y="85"/>
                    </a:moveTo>
                    <a:lnTo>
                      <a:pt x="133" y="88"/>
                    </a:lnTo>
                    <a:lnTo>
                      <a:pt x="128" y="94"/>
                    </a:lnTo>
                    <a:lnTo>
                      <a:pt x="124" y="102"/>
                    </a:lnTo>
                    <a:lnTo>
                      <a:pt x="124" y="114"/>
                    </a:lnTo>
                    <a:lnTo>
                      <a:pt x="119" y="122"/>
                    </a:lnTo>
                    <a:lnTo>
                      <a:pt x="119" y="136"/>
                    </a:lnTo>
                    <a:lnTo>
                      <a:pt x="119" y="151"/>
                    </a:lnTo>
                    <a:lnTo>
                      <a:pt x="119" y="168"/>
                    </a:lnTo>
                    <a:lnTo>
                      <a:pt x="115" y="182"/>
                    </a:lnTo>
                    <a:lnTo>
                      <a:pt x="110" y="199"/>
                    </a:lnTo>
                    <a:lnTo>
                      <a:pt x="106" y="219"/>
                    </a:lnTo>
                    <a:lnTo>
                      <a:pt x="106" y="239"/>
                    </a:lnTo>
                    <a:lnTo>
                      <a:pt x="106" y="259"/>
                    </a:lnTo>
                    <a:lnTo>
                      <a:pt x="101" y="282"/>
                    </a:lnTo>
                    <a:lnTo>
                      <a:pt x="96" y="304"/>
                    </a:lnTo>
                    <a:lnTo>
                      <a:pt x="96" y="327"/>
                    </a:lnTo>
                    <a:lnTo>
                      <a:pt x="96" y="353"/>
                    </a:lnTo>
                    <a:lnTo>
                      <a:pt x="92" y="376"/>
                    </a:lnTo>
                    <a:lnTo>
                      <a:pt x="87" y="401"/>
                    </a:lnTo>
                    <a:lnTo>
                      <a:pt x="87" y="427"/>
                    </a:lnTo>
                    <a:lnTo>
                      <a:pt x="87" y="453"/>
                    </a:lnTo>
                    <a:lnTo>
                      <a:pt x="83" y="481"/>
                    </a:lnTo>
                    <a:lnTo>
                      <a:pt x="78" y="509"/>
                    </a:lnTo>
                    <a:lnTo>
                      <a:pt x="74" y="535"/>
                    </a:lnTo>
                    <a:lnTo>
                      <a:pt x="74" y="564"/>
                    </a:lnTo>
                    <a:lnTo>
                      <a:pt x="74" y="592"/>
                    </a:lnTo>
                    <a:lnTo>
                      <a:pt x="69" y="621"/>
                    </a:lnTo>
                    <a:lnTo>
                      <a:pt x="64" y="649"/>
                    </a:lnTo>
                    <a:lnTo>
                      <a:pt x="60" y="680"/>
                    </a:lnTo>
                    <a:lnTo>
                      <a:pt x="60" y="709"/>
                    </a:lnTo>
                    <a:lnTo>
                      <a:pt x="55" y="737"/>
                    </a:lnTo>
                    <a:lnTo>
                      <a:pt x="55" y="766"/>
                    </a:lnTo>
                    <a:lnTo>
                      <a:pt x="51" y="797"/>
                    </a:lnTo>
                    <a:lnTo>
                      <a:pt x="51" y="826"/>
                    </a:lnTo>
                    <a:lnTo>
                      <a:pt x="42" y="854"/>
                    </a:lnTo>
                    <a:lnTo>
                      <a:pt x="42" y="883"/>
                    </a:lnTo>
                    <a:lnTo>
                      <a:pt x="37" y="911"/>
                    </a:lnTo>
                    <a:lnTo>
                      <a:pt x="37" y="939"/>
                    </a:lnTo>
                    <a:lnTo>
                      <a:pt x="37" y="968"/>
                    </a:lnTo>
                    <a:lnTo>
                      <a:pt x="37" y="994"/>
                    </a:lnTo>
                    <a:lnTo>
                      <a:pt x="28" y="1019"/>
                    </a:lnTo>
                    <a:lnTo>
                      <a:pt x="28" y="1045"/>
                    </a:lnTo>
                    <a:lnTo>
                      <a:pt x="19" y="1073"/>
                    </a:lnTo>
                    <a:lnTo>
                      <a:pt x="19" y="1099"/>
                    </a:lnTo>
                    <a:lnTo>
                      <a:pt x="19" y="1122"/>
                    </a:lnTo>
                    <a:lnTo>
                      <a:pt x="19" y="1142"/>
                    </a:lnTo>
                    <a:lnTo>
                      <a:pt x="14" y="1167"/>
                    </a:lnTo>
                    <a:lnTo>
                      <a:pt x="14" y="1190"/>
                    </a:lnTo>
                    <a:lnTo>
                      <a:pt x="10" y="1210"/>
                    </a:lnTo>
                    <a:lnTo>
                      <a:pt x="10" y="1227"/>
                    </a:lnTo>
                    <a:lnTo>
                      <a:pt x="10" y="1247"/>
                    </a:lnTo>
                    <a:lnTo>
                      <a:pt x="5" y="1267"/>
                    </a:lnTo>
                    <a:lnTo>
                      <a:pt x="5" y="1281"/>
                    </a:lnTo>
                    <a:lnTo>
                      <a:pt x="0" y="1298"/>
                    </a:lnTo>
                    <a:lnTo>
                      <a:pt x="0" y="1312"/>
                    </a:lnTo>
                    <a:lnTo>
                      <a:pt x="0" y="1327"/>
                    </a:lnTo>
                    <a:lnTo>
                      <a:pt x="0" y="1338"/>
                    </a:lnTo>
                    <a:lnTo>
                      <a:pt x="0" y="1347"/>
                    </a:lnTo>
                    <a:lnTo>
                      <a:pt x="0" y="1355"/>
                    </a:lnTo>
                    <a:lnTo>
                      <a:pt x="0" y="1364"/>
                    </a:lnTo>
                    <a:lnTo>
                      <a:pt x="0" y="1372"/>
                    </a:lnTo>
                    <a:lnTo>
                      <a:pt x="0" y="1375"/>
                    </a:lnTo>
                    <a:lnTo>
                      <a:pt x="0" y="1378"/>
                    </a:lnTo>
                    <a:lnTo>
                      <a:pt x="5" y="1378"/>
                    </a:lnTo>
                    <a:lnTo>
                      <a:pt x="14" y="1378"/>
                    </a:lnTo>
                    <a:lnTo>
                      <a:pt x="28" y="1381"/>
                    </a:lnTo>
                    <a:lnTo>
                      <a:pt x="37" y="1381"/>
                    </a:lnTo>
                    <a:lnTo>
                      <a:pt x="42" y="1387"/>
                    </a:lnTo>
                    <a:lnTo>
                      <a:pt x="55" y="1387"/>
                    </a:lnTo>
                    <a:lnTo>
                      <a:pt x="64" y="1387"/>
                    </a:lnTo>
                    <a:lnTo>
                      <a:pt x="74" y="1387"/>
                    </a:lnTo>
                    <a:lnTo>
                      <a:pt x="87" y="1389"/>
                    </a:lnTo>
                    <a:lnTo>
                      <a:pt x="96" y="1392"/>
                    </a:lnTo>
                    <a:lnTo>
                      <a:pt x="115" y="1395"/>
                    </a:lnTo>
                    <a:lnTo>
                      <a:pt x="124" y="1398"/>
                    </a:lnTo>
                    <a:lnTo>
                      <a:pt x="142" y="1398"/>
                    </a:lnTo>
                    <a:lnTo>
                      <a:pt x="156" y="1398"/>
                    </a:lnTo>
                    <a:lnTo>
                      <a:pt x="174" y="1404"/>
                    </a:lnTo>
                    <a:lnTo>
                      <a:pt x="188" y="1406"/>
                    </a:lnTo>
                    <a:lnTo>
                      <a:pt x="206" y="1409"/>
                    </a:lnTo>
                    <a:lnTo>
                      <a:pt x="224" y="1409"/>
                    </a:lnTo>
                    <a:lnTo>
                      <a:pt x="243" y="1412"/>
                    </a:lnTo>
                    <a:lnTo>
                      <a:pt x="261" y="1415"/>
                    </a:lnTo>
                    <a:lnTo>
                      <a:pt x="279" y="1418"/>
                    </a:lnTo>
                    <a:lnTo>
                      <a:pt x="302" y="1421"/>
                    </a:lnTo>
                    <a:lnTo>
                      <a:pt x="325" y="1424"/>
                    </a:lnTo>
                    <a:lnTo>
                      <a:pt x="343" y="1426"/>
                    </a:lnTo>
                    <a:lnTo>
                      <a:pt x="366" y="1429"/>
                    </a:lnTo>
                    <a:lnTo>
                      <a:pt x="389" y="1432"/>
                    </a:lnTo>
                    <a:lnTo>
                      <a:pt x="416" y="1435"/>
                    </a:lnTo>
                    <a:lnTo>
                      <a:pt x="435" y="1441"/>
                    </a:lnTo>
                    <a:lnTo>
                      <a:pt x="457" y="1443"/>
                    </a:lnTo>
                    <a:lnTo>
                      <a:pt x="485" y="1443"/>
                    </a:lnTo>
                    <a:lnTo>
                      <a:pt x="508" y="1449"/>
                    </a:lnTo>
                    <a:lnTo>
                      <a:pt x="531" y="1452"/>
                    </a:lnTo>
                    <a:lnTo>
                      <a:pt x="558" y="1455"/>
                    </a:lnTo>
                    <a:lnTo>
                      <a:pt x="581" y="1458"/>
                    </a:lnTo>
                    <a:lnTo>
                      <a:pt x="608" y="1463"/>
                    </a:lnTo>
                    <a:lnTo>
                      <a:pt x="636" y="1463"/>
                    </a:lnTo>
                    <a:lnTo>
                      <a:pt x="659" y="1466"/>
                    </a:lnTo>
                    <a:lnTo>
                      <a:pt x="686" y="1469"/>
                    </a:lnTo>
                    <a:lnTo>
                      <a:pt x="713" y="1475"/>
                    </a:lnTo>
                    <a:lnTo>
                      <a:pt x="741" y="1478"/>
                    </a:lnTo>
                    <a:lnTo>
                      <a:pt x="768" y="1481"/>
                    </a:lnTo>
                    <a:lnTo>
                      <a:pt x="800" y="1486"/>
                    </a:lnTo>
                    <a:lnTo>
                      <a:pt x="828" y="1486"/>
                    </a:lnTo>
                    <a:lnTo>
                      <a:pt x="855" y="1489"/>
                    </a:lnTo>
                    <a:lnTo>
                      <a:pt x="882" y="1492"/>
                    </a:lnTo>
                    <a:lnTo>
                      <a:pt x="910" y="1495"/>
                    </a:lnTo>
                    <a:lnTo>
                      <a:pt x="937" y="1498"/>
                    </a:lnTo>
                    <a:lnTo>
                      <a:pt x="965" y="1500"/>
                    </a:lnTo>
                    <a:lnTo>
                      <a:pt x="997" y="1506"/>
                    </a:lnTo>
                    <a:lnTo>
                      <a:pt x="1020" y="1506"/>
                    </a:lnTo>
                    <a:lnTo>
                      <a:pt x="1052" y="1512"/>
                    </a:lnTo>
                    <a:lnTo>
                      <a:pt x="1079" y="1512"/>
                    </a:lnTo>
                    <a:lnTo>
                      <a:pt x="1106" y="1515"/>
                    </a:lnTo>
                    <a:lnTo>
                      <a:pt x="1138" y="1518"/>
                    </a:lnTo>
                    <a:lnTo>
                      <a:pt x="1166" y="1520"/>
                    </a:lnTo>
                    <a:lnTo>
                      <a:pt x="1193" y="1523"/>
                    </a:lnTo>
                    <a:lnTo>
                      <a:pt x="1225" y="1526"/>
                    </a:lnTo>
                    <a:lnTo>
                      <a:pt x="1253" y="1529"/>
                    </a:lnTo>
                    <a:lnTo>
                      <a:pt x="1285" y="1532"/>
                    </a:lnTo>
                    <a:lnTo>
                      <a:pt x="1308" y="1535"/>
                    </a:lnTo>
                    <a:lnTo>
                      <a:pt x="1335" y="1535"/>
                    </a:lnTo>
                    <a:lnTo>
                      <a:pt x="1362" y="1535"/>
                    </a:lnTo>
                    <a:lnTo>
                      <a:pt x="1394" y="1537"/>
                    </a:lnTo>
                    <a:lnTo>
                      <a:pt x="1422" y="1537"/>
                    </a:lnTo>
                    <a:lnTo>
                      <a:pt x="1454" y="1540"/>
                    </a:lnTo>
                    <a:lnTo>
                      <a:pt x="1486" y="1540"/>
                    </a:lnTo>
                    <a:lnTo>
                      <a:pt x="1518" y="1543"/>
                    </a:lnTo>
                    <a:lnTo>
                      <a:pt x="1545" y="1543"/>
                    </a:lnTo>
                    <a:lnTo>
                      <a:pt x="1577" y="1546"/>
                    </a:lnTo>
                    <a:lnTo>
                      <a:pt x="1609" y="1546"/>
                    </a:lnTo>
                    <a:lnTo>
                      <a:pt x="1641" y="1546"/>
                    </a:lnTo>
                    <a:lnTo>
                      <a:pt x="1673" y="1546"/>
                    </a:lnTo>
                    <a:lnTo>
                      <a:pt x="1705" y="1546"/>
                    </a:lnTo>
                    <a:lnTo>
                      <a:pt x="1742" y="1546"/>
                    </a:lnTo>
                    <a:lnTo>
                      <a:pt x="1774" y="1546"/>
                    </a:lnTo>
                    <a:lnTo>
                      <a:pt x="1806" y="1546"/>
                    </a:lnTo>
                    <a:lnTo>
                      <a:pt x="1838" y="1546"/>
                    </a:lnTo>
                    <a:lnTo>
                      <a:pt x="1865" y="1546"/>
                    </a:lnTo>
                    <a:lnTo>
                      <a:pt x="1902" y="1546"/>
                    </a:lnTo>
                    <a:lnTo>
                      <a:pt x="1929" y="1546"/>
                    </a:lnTo>
                    <a:lnTo>
                      <a:pt x="1966" y="1546"/>
                    </a:lnTo>
                    <a:lnTo>
                      <a:pt x="1998" y="1546"/>
                    </a:lnTo>
                    <a:lnTo>
                      <a:pt x="2034" y="1546"/>
                    </a:lnTo>
                    <a:lnTo>
                      <a:pt x="2066" y="1543"/>
                    </a:lnTo>
                    <a:lnTo>
                      <a:pt x="2098" y="1540"/>
                    </a:lnTo>
                    <a:lnTo>
                      <a:pt x="2130" y="1540"/>
                    </a:lnTo>
                    <a:lnTo>
                      <a:pt x="2167" y="1540"/>
                    </a:lnTo>
                    <a:lnTo>
                      <a:pt x="2199" y="1537"/>
                    </a:lnTo>
                    <a:lnTo>
                      <a:pt x="2235" y="1537"/>
                    </a:lnTo>
                    <a:lnTo>
                      <a:pt x="2263" y="1535"/>
                    </a:lnTo>
                    <a:lnTo>
                      <a:pt x="2299" y="1535"/>
                    </a:lnTo>
                    <a:lnTo>
                      <a:pt x="2327" y="1535"/>
                    </a:lnTo>
                    <a:lnTo>
                      <a:pt x="2359" y="1535"/>
                    </a:lnTo>
                    <a:lnTo>
                      <a:pt x="2391" y="1529"/>
                    </a:lnTo>
                    <a:lnTo>
                      <a:pt x="2423" y="1529"/>
                    </a:lnTo>
                    <a:lnTo>
                      <a:pt x="2455" y="1526"/>
                    </a:lnTo>
                    <a:lnTo>
                      <a:pt x="2482" y="1526"/>
                    </a:lnTo>
                    <a:lnTo>
                      <a:pt x="2514" y="1523"/>
                    </a:lnTo>
                    <a:lnTo>
                      <a:pt x="2546" y="1523"/>
                    </a:lnTo>
                    <a:lnTo>
                      <a:pt x="2573" y="1520"/>
                    </a:lnTo>
                    <a:lnTo>
                      <a:pt x="2601" y="1520"/>
                    </a:lnTo>
                    <a:lnTo>
                      <a:pt x="2633" y="1518"/>
                    </a:lnTo>
                    <a:lnTo>
                      <a:pt x="2660" y="1515"/>
                    </a:lnTo>
                    <a:lnTo>
                      <a:pt x="2688" y="1512"/>
                    </a:lnTo>
                    <a:lnTo>
                      <a:pt x="2715" y="1512"/>
                    </a:lnTo>
                    <a:lnTo>
                      <a:pt x="2743" y="1509"/>
                    </a:lnTo>
                    <a:lnTo>
                      <a:pt x="2775" y="1509"/>
                    </a:lnTo>
                    <a:lnTo>
                      <a:pt x="2797" y="1506"/>
                    </a:lnTo>
                    <a:lnTo>
                      <a:pt x="2820" y="1503"/>
                    </a:lnTo>
                    <a:lnTo>
                      <a:pt x="2848" y="1500"/>
                    </a:lnTo>
                    <a:lnTo>
                      <a:pt x="2875" y="1498"/>
                    </a:lnTo>
                    <a:lnTo>
                      <a:pt x="2893" y="1498"/>
                    </a:lnTo>
                    <a:lnTo>
                      <a:pt x="2921" y="1495"/>
                    </a:lnTo>
                    <a:lnTo>
                      <a:pt x="2944" y="1492"/>
                    </a:lnTo>
                    <a:lnTo>
                      <a:pt x="2962" y="1492"/>
                    </a:lnTo>
                    <a:lnTo>
                      <a:pt x="2989" y="1489"/>
                    </a:lnTo>
                    <a:lnTo>
                      <a:pt x="3008" y="1486"/>
                    </a:lnTo>
                    <a:lnTo>
                      <a:pt x="3026" y="1486"/>
                    </a:lnTo>
                    <a:lnTo>
                      <a:pt x="3049" y="1486"/>
                    </a:lnTo>
                    <a:lnTo>
                      <a:pt x="3067" y="1481"/>
                    </a:lnTo>
                    <a:lnTo>
                      <a:pt x="3081" y="1481"/>
                    </a:lnTo>
                    <a:lnTo>
                      <a:pt x="3099" y="1478"/>
                    </a:lnTo>
                    <a:lnTo>
                      <a:pt x="3117" y="1478"/>
                    </a:lnTo>
                    <a:lnTo>
                      <a:pt x="3131" y="1475"/>
                    </a:lnTo>
                    <a:lnTo>
                      <a:pt x="3145" y="1472"/>
                    </a:lnTo>
                    <a:lnTo>
                      <a:pt x="3163" y="1469"/>
                    </a:lnTo>
                    <a:lnTo>
                      <a:pt x="3177" y="1466"/>
                    </a:lnTo>
                    <a:lnTo>
                      <a:pt x="3190" y="1463"/>
                    </a:lnTo>
                    <a:lnTo>
                      <a:pt x="3209" y="1463"/>
                    </a:lnTo>
                    <a:lnTo>
                      <a:pt x="3222" y="1461"/>
                    </a:lnTo>
                    <a:lnTo>
                      <a:pt x="3241" y="1461"/>
                    </a:lnTo>
                    <a:lnTo>
                      <a:pt x="3254" y="1455"/>
                    </a:lnTo>
                    <a:lnTo>
                      <a:pt x="3268" y="1455"/>
                    </a:lnTo>
                    <a:lnTo>
                      <a:pt x="3282" y="1452"/>
                    </a:lnTo>
                    <a:lnTo>
                      <a:pt x="3296" y="1452"/>
                    </a:lnTo>
                    <a:lnTo>
                      <a:pt x="3309" y="1449"/>
                    </a:lnTo>
                    <a:lnTo>
                      <a:pt x="3323" y="1446"/>
                    </a:lnTo>
                    <a:lnTo>
                      <a:pt x="3341" y="1443"/>
                    </a:lnTo>
                    <a:lnTo>
                      <a:pt x="3355" y="1443"/>
                    </a:lnTo>
                    <a:lnTo>
                      <a:pt x="3364" y="1441"/>
                    </a:lnTo>
                    <a:lnTo>
                      <a:pt x="3378" y="1438"/>
                    </a:lnTo>
                    <a:lnTo>
                      <a:pt x="3391" y="1435"/>
                    </a:lnTo>
                    <a:lnTo>
                      <a:pt x="3405" y="1432"/>
                    </a:lnTo>
                    <a:lnTo>
                      <a:pt x="3419" y="1432"/>
                    </a:lnTo>
                    <a:lnTo>
                      <a:pt x="3428" y="1429"/>
                    </a:lnTo>
                    <a:lnTo>
                      <a:pt x="3442" y="1426"/>
                    </a:lnTo>
                    <a:lnTo>
                      <a:pt x="3455" y="1424"/>
                    </a:lnTo>
                    <a:lnTo>
                      <a:pt x="3465" y="1421"/>
                    </a:lnTo>
                    <a:lnTo>
                      <a:pt x="3478" y="1421"/>
                    </a:lnTo>
                    <a:lnTo>
                      <a:pt x="3492" y="1418"/>
                    </a:lnTo>
                    <a:lnTo>
                      <a:pt x="3501" y="1415"/>
                    </a:lnTo>
                    <a:lnTo>
                      <a:pt x="3515" y="1412"/>
                    </a:lnTo>
                    <a:lnTo>
                      <a:pt x="3529" y="1412"/>
                    </a:lnTo>
                    <a:lnTo>
                      <a:pt x="3538" y="1409"/>
                    </a:lnTo>
                    <a:lnTo>
                      <a:pt x="3547" y="1409"/>
                    </a:lnTo>
                    <a:lnTo>
                      <a:pt x="3565" y="1404"/>
                    </a:lnTo>
                    <a:lnTo>
                      <a:pt x="3583" y="1398"/>
                    </a:lnTo>
                    <a:lnTo>
                      <a:pt x="3602" y="1398"/>
                    </a:lnTo>
                    <a:lnTo>
                      <a:pt x="3620" y="1392"/>
                    </a:lnTo>
                    <a:lnTo>
                      <a:pt x="3634" y="1389"/>
                    </a:lnTo>
                    <a:lnTo>
                      <a:pt x="3652" y="1387"/>
                    </a:lnTo>
                    <a:lnTo>
                      <a:pt x="3666" y="1387"/>
                    </a:lnTo>
                    <a:lnTo>
                      <a:pt x="3679" y="1381"/>
                    </a:lnTo>
                    <a:lnTo>
                      <a:pt x="3689" y="1378"/>
                    </a:lnTo>
                    <a:lnTo>
                      <a:pt x="3698" y="1375"/>
                    </a:lnTo>
                    <a:lnTo>
                      <a:pt x="3707" y="1372"/>
                    </a:lnTo>
                    <a:lnTo>
                      <a:pt x="3711" y="1372"/>
                    </a:lnTo>
                    <a:lnTo>
                      <a:pt x="3725" y="1372"/>
                    </a:lnTo>
                    <a:lnTo>
                      <a:pt x="3730" y="1372"/>
                    </a:lnTo>
                    <a:lnTo>
                      <a:pt x="3538" y="0"/>
                    </a:lnTo>
                    <a:lnTo>
                      <a:pt x="3341" y="11"/>
                    </a:lnTo>
                    <a:lnTo>
                      <a:pt x="3442" y="1281"/>
                    </a:lnTo>
                    <a:lnTo>
                      <a:pt x="3433" y="1281"/>
                    </a:lnTo>
                    <a:lnTo>
                      <a:pt x="3423" y="1281"/>
                    </a:lnTo>
                    <a:lnTo>
                      <a:pt x="3410" y="1281"/>
                    </a:lnTo>
                    <a:lnTo>
                      <a:pt x="3401" y="1281"/>
                    </a:lnTo>
                    <a:lnTo>
                      <a:pt x="3391" y="1284"/>
                    </a:lnTo>
                    <a:lnTo>
                      <a:pt x="3378" y="1284"/>
                    </a:lnTo>
                    <a:lnTo>
                      <a:pt x="3369" y="1287"/>
                    </a:lnTo>
                    <a:lnTo>
                      <a:pt x="3359" y="1287"/>
                    </a:lnTo>
                    <a:lnTo>
                      <a:pt x="3346" y="1290"/>
                    </a:lnTo>
                    <a:lnTo>
                      <a:pt x="3332" y="1293"/>
                    </a:lnTo>
                    <a:lnTo>
                      <a:pt x="3323" y="1293"/>
                    </a:lnTo>
                    <a:lnTo>
                      <a:pt x="3305" y="1295"/>
                    </a:lnTo>
                    <a:lnTo>
                      <a:pt x="3291" y="1295"/>
                    </a:lnTo>
                    <a:lnTo>
                      <a:pt x="3273" y="1298"/>
                    </a:lnTo>
                    <a:lnTo>
                      <a:pt x="3254" y="1301"/>
                    </a:lnTo>
                    <a:lnTo>
                      <a:pt x="3236" y="1301"/>
                    </a:lnTo>
                    <a:lnTo>
                      <a:pt x="3218" y="1304"/>
                    </a:lnTo>
                    <a:lnTo>
                      <a:pt x="3200" y="1307"/>
                    </a:lnTo>
                    <a:lnTo>
                      <a:pt x="3181" y="1310"/>
                    </a:lnTo>
                    <a:lnTo>
                      <a:pt x="3163" y="1310"/>
                    </a:lnTo>
                    <a:lnTo>
                      <a:pt x="3140" y="1312"/>
                    </a:lnTo>
                    <a:lnTo>
                      <a:pt x="3117" y="1315"/>
                    </a:lnTo>
                    <a:lnTo>
                      <a:pt x="3099" y="1318"/>
                    </a:lnTo>
                    <a:lnTo>
                      <a:pt x="3072" y="1321"/>
                    </a:lnTo>
                    <a:lnTo>
                      <a:pt x="3049" y="1324"/>
                    </a:lnTo>
                    <a:lnTo>
                      <a:pt x="3026" y="1327"/>
                    </a:lnTo>
                    <a:lnTo>
                      <a:pt x="3003" y="1330"/>
                    </a:lnTo>
                    <a:lnTo>
                      <a:pt x="2980" y="1332"/>
                    </a:lnTo>
                    <a:lnTo>
                      <a:pt x="2953" y="1332"/>
                    </a:lnTo>
                    <a:lnTo>
                      <a:pt x="2925" y="1335"/>
                    </a:lnTo>
                    <a:lnTo>
                      <a:pt x="2898" y="1338"/>
                    </a:lnTo>
                    <a:lnTo>
                      <a:pt x="2875" y="1341"/>
                    </a:lnTo>
                    <a:lnTo>
                      <a:pt x="2848" y="1344"/>
                    </a:lnTo>
                    <a:lnTo>
                      <a:pt x="2820" y="1347"/>
                    </a:lnTo>
                    <a:lnTo>
                      <a:pt x="2793" y="1350"/>
                    </a:lnTo>
                    <a:lnTo>
                      <a:pt x="2765" y="1350"/>
                    </a:lnTo>
                    <a:lnTo>
                      <a:pt x="2733" y="1352"/>
                    </a:lnTo>
                    <a:lnTo>
                      <a:pt x="2706" y="1355"/>
                    </a:lnTo>
                    <a:lnTo>
                      <a:pt x="2679" y="1361"/>
                    </a:lnTo>
                    <a:lnTo>
                      <a:pt x="2651" y="1361"/>
                    </a:lnTo>
                    <a:lnTo>
                      <a:pt x="2619" y="1364"/>
                    </a:lnTo>
                    <a:lnTo>
                      <a:pt x="2587" y="1367"/>
                    </a:lnTo>
                    <a:lnTo>
                      <a:pt x="2560" y="1369"/>
                    </a:lnTo>
                    <a:lnTo>
                      <a:pt x="2528" y="1372"/>
                    </a:lnTo>
                    <a:lnTo>
                      <a:pt x="2500" y="1372"/>
                    </a:lnTo>
                    <a:lnTo>
                      <a:pt x="2468" y="1375"/>
                    </a:lnTo>
                    <a:lnTo>
                      <a:pt x="2436" y="1378"/>
                    </a:lnTo>
                    <a:lnTo>
                      <a:pt x="2404" y="1378"/>
                    </a:lnTo>
                    <a:lnTo>
                      <a:pt x="2377" y="1381"/>
                    </a:lnTo>
                    <a:lnTo>
                      <a:pt x="2345" y="1384"/>
                    </a:lnTo>
                    <a:lnTo>
                      <a:pt x="2313" y="1387"/>
                    </a:lnTo>
                    <a:lnTo>
                      <a:pt x="2281" y="1387"/>
                    </a:lnTo>
                    <a:lnTo>
                      <a:pt x="2254" y="1389"/>
                    </a:lnTo>
                    <a:lnTo>
                      <a:pt x="2217" y="1392"/>
                    </a:lnTo>
                    <a:lnTo>
                      <a:pt x="2190" y="1392"/>
                    </a:lnTo>
                    <a:lnTo>
                      <a:pt x="2153" y="1395"/>
                    </a:lnTo>
                    <a:lnTo>
                      <a:pt x="2126" y="1398"/>
                    </a:lnTo>
                    <a:lnTo>
                      <a:pt x="2094" y="1398"/>
                    </a:lnTo>
                    <a:lnTo>
                      <a:pt x="2066" y="1398"/>
                    </a:lnTo>
                    <a:lnTo>
                      <a:pt x="2034" y="1398"/>
                    </a:lnTo>
                    <a:lnTo>
                      <a:pt x="1998" y="1398"/>
                    </a:lnTo>
                    <a:lnTo>
                      <a:pt x="1966" y="1398"/>
                    </a:lnTo>
                    <a:lnTo>
                      <a:pt x="1929" y="1401"/>
                    </a:lnTo>
                    <a:lnTo>
                      <a:pt x="1897" y="1401"/>
                    </a:lnTo>
                    <a:lnTo>
                      <a:pt x="1860" y="1401"/>
                    </a:lnTo>
                    <a:lnTo>
                      <a:pt x="1829" y="1401"/>
                    </a:lnTo>
                    <a:lnTo>
                      <a:pt x="1792" y="1401"/>
                    </a:lnTo>
                    <a:lnTo>
                      <a:pt x="1755" y="1398"/>
                    </a:lnTo>
                    <a:lnTo>
                      <a:pt x="1723" y="1398"/>
                    </a:lnTo>
                    <a:lnTo>
                      <a:pt x="1682" y="1398"/>
                    </a:lnTo>
                    <a:lnTo>
                      <a:pt x="1646" y="1398"/>
                    </a:lnTo>
                    <a:lnTo>
                      <a:pt x="1609" y="1398"/>
                    </a:lnTo>
                    <a:lnTo>
                      <a:pt x="1573" y="1395"/>
                    </a:lnTo>
                    <a:lnTo>
                      <a:pt x="1536" y="1392"/>
                    </a:lnTo>
                    <a:lnTo>
                      <a:pt x="1499" y="1392"/>
                    </a:lnTo>
                    <a:lnTo>
                      <a:pt x="1458" y="1389"/>
                    </a:lnTo>
                    <a:lnTo>
                      <a:pt x="1422" y="1387"/>
                    </a:lnTo>
                    <a:lnTo>
                      <a:pt x="1385" y="1387"/>
                    </a:lnTo>
                    <a:lnTo>
                      <a:pt x="1344" y="1381"/>
                    </a:lnTo>
                    <a:lnTo>
                      <a:pt x="1308" y="1378"/>
                    </a:lnTo>
                    <a:lnTo>
                      <a:pt x="1271" y="1378"/>
                    </a:lnTo>
                    <a:lnTo>
                      <a:pt x="1234" y="1375"/>
                    </a:lnTo>
                    <a:lnTo>
                      <a:pt x="1198" y="1372"/>
                    </a:lnTo>
                    <a:lnTo>
                      <a:pt x="1161" y="1369"/>
                    </a:lnTo>
                    <a:lnTo>
                      <a:pt x="1125" y="1367"/>
                    </a:lnTo>
                    <a:lnTo>
                      <a:pt x="1088" y="1364"/>
                    </a:lnTo>
                    <a:lnTo>
                      <a:pt x="1052" y="1361"/>
                    </a:lnTo>
                    <a:lnTo>
                      <a:pt x="1020" y="1358"/>
                    </a:lnTo>
                    <a:lnTo>
                      <a:pt x="983" y="1355"/>
                    </a:lnTo>
                    <a:lnTo>
                      <a:pt x="946" y="1352"/>
                    </a:lnTo>
                    <a:lnTo>
                      <a:pt x="914" y="1350"/>
                    </a:lnTo>
                    <a:lnTo>
                      <a:pt x="878" y="1347"/>
                    </a:lnTo>
                    <a:lnTo>
                      <a:pt x="846" y="1344"/>
                    </a:lnTo>
                    <a:lnTo>
                      <a:pt x="809" y="1338"/>
                    </a:lnTo>
                    <a:lnTo>
                      <a:pt x="777" y="1335"/>
                    </a:lnTo>
                    <a:lnTo>
                      <a:pt x="745" y="1332"/>
                    </a:lnTo>
                    <a:lnTo>
                      <a:pt x="718" y="1330"/>
                    </a:lnTo>
                    <a:lnTo>
                      <a:pt x="686" y="1327"/>
                    </a:lnTo>
                    <a:lnTo>
                      <a:pt x="659" y="1324"/>
                    </a:lnTo>
                    <a:lnTo>
                      <a:pt x="627" y="1321"/>
                    </a:lnTo>
                    <a:lnTo>
                      <a:pt x="599" y="1315"/>
                    </a:lnTo>
                    <a:lnTo>
                      <a:pt x="576" y="1312"/>
                    </a:lnTo>
                    <a:lnTo>
                      <a:pt x="549" y="1310"/>
                    </a:lnTo>
                    <a:lnTo>
                      <a:pt x="521" y="1307"/>
                    </a:lnTo>
                    <a:lnTo>
                      <a:pt x="499" y="1304"/>
                    </a:lnTo>
                    <a:lnTo>
                      <a:pt x="476" y="1304"/>
                    </a:lnTo>
                    <a:lnTo>
                      <a:pt x="453" y="1301"/>
                    </a:lnTo>
                    <a:lnTo>
                      <a:pt x="430" y="1298"/>
                    </a:lnTo>
                    <a:lnTo>
                      <a:pt x="412" y="1295"/>
                    </a:lnTo>
                    <a:lnTo>
                      <a:pt x="393" y="1293"/>
                    </a:lnTo>
                    <a:lnTo>
                      <a:pt x="380" y="1293"/>
                    </a:lnTo>
                    <a:lnTo>
                      <a:pt x="361" y="1290"/>
                    </a:lnTo>
                    <a:lnTo>
                      <a:pt x="343" y="1287"/>
                    </a:lnTo>
                    <a:lnTo>
                      <a:pt x="330" y="1284"/>
                    </a:lnTo>
                    <a:lnTo>
                      <a:pt x="320" y="1284"/>
                    </a:lnTo>
                    <a:lnTo>
                      <a:pt x="307" y="1281"/>
                    </a:lnTo>
                    <a:lnTo>
                      <a:pt x="298" y="1281"/>
                    </a:lnTo>
                    <a:lnTo>
                      <a:pt x="288" y="1281"/>
                    </a:lnTo>
                    <a:lnTo>
                      <a:pt x="279" y="1281"/>
                    </a:lnTo>
                    <a:lnTo>
                      <a:pt x="275" y="1281"/>
                    </a:lnTo>
                    <a:lnTo>
                      <a:pt x="270" y="1281"/>
                    </a:lnTo>
                    <a:lnTo>
                      <a:pt x="311" y="91"/>
                    </a:lnTo>
                    <a:lnTo>
                      <a:pt x="133" y="85"/>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35" name="Freeform 189"/>
              <p:cNvSpPr>
                <a:spLocks/>
              </p:cNvSpPr>
              <p:nvPr>
                <p:custDataLst>
                  <p:tags r:id="rId20"/>
                </p:custDataLst>
              </p:nvPr>
            </p:nvSpPr>
            <p:spPr bwMode="gray">
              <a:xfrm>
                <a:off x="2572" y="1972"/>
                <a:ext cx="800" cy="748"/>
              </a:xfrm>
              <a:custGeom>
                <a:avLst/>
                <a:gdLst>
                  <a:gd name="T0" fmla="*/ 0 w 781"/>
                  <a:gd name="T1" fmla="*/ 266 h 820"/>
                  <a:gd name="T2" fmla="*/ 0 w 781"/>
                  <a:gd name="T3" fmla="*/ 258 h 820"/>
                  <a:gd name="T4" fmla="*/ 5 w 781"/>
                  <a:gd name="T5" fmla="*/ 248 h 820"/>
                  <a:gd name="T6" fmla="*/ 5 w 781"/>
                  <a:gd name="T7" fmla="*/ 236 h 820"/>
                  <a:gd name="T8" fmla="*/ 5 w 781"/>
                  <a:gd name="T9" fmla="*/ 224 h 820"/>
                  <a:gd name="T10" fmla="*/ 5 w 781"/>
                  <a:gd name="T11" fmla="*/ 213 h 820"/>
                  <a:gd name="T12" fmla="*/ 5 w 781"/>
                  <a:gd name="T13" fmla="*/ 198 h 820"/>
                  <a:gd name="T14" fmla="*/ 9 w 781"/>
                  <a:gd name="T15" fmla="*/ 184 h 820"/>
                  <a:gd name="T16" fmla="*/ 9 w 781"/>
                  <a:gd name="T17" fmla="*/ 169 h 820"/>
                  <a:gd name="T18" fmla="*/ 9 w 781"/>
                  <a:gd name="T19" fmla="*/ 154 h 820"/>
                  <a:gd name="T20" fmla="*/ 18 w 781"/>
                  <a:gd name="T21" fmla="*/ 139 h 820"/>
                  <a:gd name="T22" fmla="*/ 18 w 781"/>
                  <a:gd name="T23" fmla="*/ 123 h 820"/>
                  <a:gd name="T24" fmla="*/ 44 w 781"/>
                  <a:gd name="T25" fmla="*/ 109 h 820"/>
                  <a:gd name="T26" fmla="*/ 49 w 781"/>
                  <a:gd name="T27" fmla="*/ 95 h 820"/>
                  <a:gd name="T28" fmla="*/ 62 w 781"/>
                  <a:gd name="T29" fmla="*/ 81 h 820"/>
                  <a:gd name="T30" fmla="*/ 88 w 781"/>
                  <a:gd name="T31" fmla="*/ 68 h 820"/>
                  <a:gd name="T32" fmla="*/ 97 w 781"/>
                  <a:gd name="T33" fmla="*/ 57 h 820"/>
                  <a:gd name="T34" fmla="*/ 121 w 781"/>
                  <a:gd name="T35" fmla="*/ 46 h 820"/>
                  <a:gd name="T36" fmla="*/ 152 w 781"/>
                  <a:gd name="T37" fmla="*/ 36 h 820"/>
                  <a:gd name="T38" fmla="*/ 182 w 781"/>
                  <a:gd name="T39" fmla="*/ 27 h 820"/>
                  <a:gd name="T40" fmla="*/ 220 w 781"/>
                  <a:gd name="T41" fmla="*/ 20 h 820"/>
                  <a:gd name="T42" fmla="*/ 273 w 781"/>
                  <a:gd name="T43" fmla="*/ 14 h 820"/>
                  <a:gd name="T44" fmla="*/ 353 w 781"/>
                  <a:gd name="T45" fmla="*/ 5 h 820"/>
                  <a:gd name="T46" fmla="*/ 389 w 781"/>
                  <a:gd name="T47" fmla="*/ 5 h 820"/>
                  <a:gd name="T48" fmla="*/ 432 w 781"/>
                  <a:gd name="T49" fmla="*/ 5 h 820"/>
                  <a:gd name="T50" fmla="*/ 489 w 781"/>
                  <a:gd name="T51" fmla="*/ 0 h 820"/>
                  <a:gd name="T52" fmla="*/ 543 w 781"/>
                  <a:gd name="T53" fmla="*/ 3 h 820"/>
                  <a:gd name="T54" fmla="*/ 591 w 781"/>
                  <a:gd name="T55" fmla="*/ 5 h 820"/>
                  <a:gd name="T56" fmla="*/ 671 w 781"/>
                  <a:gd name="T57" fmla="*/ 6 h 820"/>
                  <a:gd name="T58" fmla="*/ 738 w 781"/>
                  <a:gd name="T59" fmla="*/ 13 h 820"/>
                  <a:gd name="T60" fmla="*/ 805 w 781"/>
                  <a:gd name="T61" fmla="*/ 20 h 820"/>
                  <a:gd name="T62" fmla="*/ 873 w 781"/>
                  <a:gd name="T63" fmla="*/ 28 h 820"/>
                  <a:gd name="T64" fmla="*/ 920 w 781"/>
                  <a:gd name="T65" fmla="*/ 39 h 820"/>
                  <a:gd name="T66" fmla="*/ 958 w 781"/>
                  <a:gd name="T67" fmla="*/ 52 h 820"/>
                  <a:gd name="T68" fmla="*/ 977 w 781"/>
                  <a:gd name="T69" fmla="*/ 58 h 820"/>
                  <a:gd name="T70" fmla="*/ 986 w 781"/>
                  <a:gd name="T71" fmla="*/ 67 h 820"/>
                  <a:gd name="T72" fmla="*/ 993 w 781"/>
                  <a:gd name="T73" fmla="*/ 75 h 820"/>
                  <a:gd name="T74" fmla="*/ 1006 w 781"/>
                  <a:gd name="T75" fmla="*/ 84 h 820"/>
                  <a:gd name="T76" fmla="*/ 1011 w 781"/>
                  <a:gd name="T77" fmla="*/ 98 h 820"/>
                  <a:gd name="T78" fmla="*/ 1017 w 781"/>
                  <a:gd name="T79" fmla="*/ 109 h 820"/>
                  <a:gd name="T80" fmla="*/ 1026 w 781"/>
                  <a:gd name="T81" fmla="*/ 120 h 820"/>
                  <a:gd name="T82" fmla="*/ 1030 w 781"/>
                  <a:gd name="T83" fmla="*/ 134 h 820"/>
                  <a:gd name="T84" fmla="*/ 1036 w 781"/>
                  <a:gd name="T85" fmla="*/ 147 h 820"/>
                  <a:gd name="T86" fmla="*/ 1036 w 781"/>
                  <a:gd name="T87" fmla="*/ 161 h 820"/>
                  <a:gd name="T88" fmla="*/ 1041 w 781"/>
                  <a:gd name="T89" fmla="*/ 174 h 820"/>
                  <a:gd name="T90" fmla="*/ 1041 w 781"/>
                  <a:gd name="T91" fmla="*/ 186 h 820"/>
                  <a:gd name="T92" fmla="*/ 1041 w 781"/>
                  <a:gd name="T93" fmla="*/ 200 h 820"/>
                  <a:gd name="T94" fmla="*/ 1041 w 781"/>
                  <a:gd name="T95" fmla="*/ 212 h 820"/>
                  <a:gd name="T96" fmla="*/ 1041 w 781"/>
                  <a:gd name="T97" fmla="*/ 221 h 820"/>
                  <a:gd name="T98" fmla="*/ 1041 w 781"/>
                  <a:gd name="T99" fmla="*/ 233 h 820"/>
                  <a:gd name="T100" fmla="*/ 1041 w 781"/>
                  <a:gd name="T101" fmla="*/ 241 h 820"/>
                  <a:gd name="T102" fmla="*/ 1041 w 781"/>
                  <a:gd name="T103" fmla="*/ 248 h 820"/>
                  <a:gd name="T104" fmla="*/ 1041 w 781"/>
                  <a:gd name="T105" fmla="*/ 255 h 820"/>
                  <a:gd name="T106" fmla="*/ 1041 w 781"/>
                  <a:gd name="T107" fmla="*/ 262 h 820"/>
                  <a:gd name="T108" fmla="*/ 0 w 781"/>
                  <a:gd name="T109" fmla="*/ 272 h 8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1"/>
                  <a:gd name="T166" fmla="*/ 0 h 820"/>
                  <a:gd name="T167" fmla="*/ 781 w 781"/>
                  <a:gd name="T168" fmla="*/ 820 h 8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1" h="820">
                    <a:moveTo>
                      <a:pt x="0" y="820"/>
                    </a:moveTo>
                    <a:lnTo>
                      <a:pt x="0" y="812"/>
                    </a:lnTo>
                    <a:lnTo>
                      <a:pt x="0" y="806"/>
                    </a:lnTo>
                    <a:lnTo>
                      <a:pt x="0" y="797"/>
                    </a:lnTo>
                    <a:lnTo>
                      <a:pt x="0" y="786"/>
                    </a:lnTo>
                    <a:lnTo>
                      <a:pt x="0" y="777"/>
                    </a:lnTo>
                    <a:lnTo>
                      <a:pt x="0" y="766"/>
                    </a:lnTo>
                    <a:lnTo>
                      <a:pt x="0" y="757"/>
                    </a:lnTo>
                    <a:lnTo>
                      <a:pt x="5" y="749"/>
                    </a:lnTo>
                    <a:lnTo>
                      <a:pt x="5" y="738"/>
                    </a:lnTo>
                    <a:lnTo>
                      <a:pt x="5" y="726"/>
                    </a:lnTo>
                    <a:lnTo>
                      <a:pt x="5" y="712"/>
                    </a:lnTo>
                    <a:lnTo>
                      <a:pt x="5" y="700"/>
                    </a:lnTo>
                    <a:lnTo>
                      <a:pt x="5" y="689"/>
                    </a:lnTo>
                    <a:lnTo>
                      <a:pt x="5" y="675"/>
                    </a:lnTo>
                    <a:lnTo>
                      <a:pt x="5" y="663"/>
                    </a:lnTo>
                    <a:lnTo>
                      <a:pt x="5" y="649"/>
                    </a:lnTo>
                    <a:lnTo>
                      <a:pt x="5" y="638"/>
                    </a:lnTo>
                    <a:lnTo>
                      <a:pt x="5" y="624"/>
                    </a:lnTo>
                    <a:lnTo>
                      <a:pt x="5" y="609"/>
                    </a:lnTo>
                    <a:lnTo>
                      <a:pt x="5" y="595"/>
                    </a:lnTo>
                    <a:lnTo>
                      <a:pt x="5" y="578"/>
                    </a:lnTo>
                    <a:lnTo>
                      <a:pt x="9" y="564"/>
                    </a:lnTo>
                    <a:lnTo>
                      <a:pt x="9" y="552"/>
                    </a:lnTo>
                    <a:lnTo>
                      <a:pt x="9" y="538"/>
                    </a:lnTo>
                    <a:lnTo>
                      <a:pt x="9" y="521"/>
                    </a:lnTo>
                    <a:lnTo>
                      <a:pt x="9" y="510"/>
                    </a:lnTo>
                    <a:lnTo>
                      <a:pt x="9" y="493"/>
                    </a:lnTo>
                    <a:lnTo>
                      <a:pt x="9" y="478"/>
                    </a:lnTo>
                    <a:lnTo>
                      <a:pt x="9" y="464"/>
                    </a:lnTo>
                    <a:lnTo>
                      <a:pt x="14" y="450"/>
                    </a:lnTo>
                    <a:lnTo>
                      <a:pt x="14" y="433"/>
                    </a:lnTo>
                    <a:lnTo>
                      <a:pt x="18" y="419"/>
                    </a:lnTo>
                    <a:lnTo>
                      <a:pt x="18" y="404"/>
                    </a:lnTo>
                    <a:lnTo>
                      <a:pt x="18" y="387"/>
                    </a:lnTo>
                    <a:lnTo>
                      <a:pt x="18" y="373"/>
                    </a:lnTo>
                    <a:lnTo>
                      <a:pt x="23" y="359"/>
                    </a:lnTo>
                    <a:lnTo>
                      <a:pt x="27" y="345"/>
                    </a:lnTo>
                    <a:lnTo>
                      <a:pt x="32" y="330"/>
                    </a:lnTo>
                    <a:lnTo>
                      <a:pt x="32" y="316"/>
                    </a:lnTo>
                    <a:lnTo>
                      <a:pt x="37" y="302"/>
                    </a:lnTo>
                    <a:lnTo>
                      <a:pt x="37" y="285"/>
                    </a:lnTo>
                    <a:lnTo>
                      <a:pt x="46" y="273"/>
                    </a:lnTo>
                    <a:lnTo>
                      <a:pt x="46" y="259"/>
                    </a:lnTo>
                    <a:lnTo>
                      <a:pt x="50" y="245"/>
                    </a:lnTo>
                    <a:lnTo>
                      <a:pt x="55" y="231"/>
                    </a:lnTo>
                    <a:lnTo>
                      <a:pt x="55" y="219"/>
                    </a:lnTo>
                    <a:lnTo>
                      <a:pt x="64" y="208"/>
                    </a:lnTo>
                    <a:lnTo>
                      <a:pt x="69" y="196"/>
                    </a:lnTo>
                    <a:lnTo>
                      <a:pt x="73" y="182"/>
                    </a:lnTo>
                    <a:lnTo>
                      <a:pt x="73" y="171"/>
                    </a:lnTo>
                    <a:lnTo>
                      <a:pt x="82" y="159"/>
                    </a:lnTo>
                    <a:lnTo>
                      <a:pt x="87" y="148"/>
                    </a:lnTo>
                    <a:lnTo>
                      <a:pt x="91" y="137"/>
                    </a:lnTo>
                    <a:lnTo>
                      <a:pt x="96" y="125"/>
                    </a:lnTo>
                    <a:lnTo>
                      <a:pt x="110" y="117"/>
                    </a:lnTo>
                    <a:lnTo>
                      <a:pt x="114" y="108"/>
                    </a:lnTo>
                    <a:lnTo>
                      <a:pt x="123" y="97"/>
                    </a:lnTo>
                    <a:lnTo>
                      <a:pt x="128" y="91"/>
                    </a:lnTo>
                    <a:lnTo>
                      <a:pt x="137" y="83"/>
                    </a:lnTo>
                    <a:lnTo>
                      <a:pt x="146" y="74"/>
                    </a:lnTo>
                    <a:lnTo>
                      <a:pt x="155" y="68"/>
                    </a:lnTo>
                    <a:lnTo>
                      <a:pt x="165" y="60"/>
                    </a:lnTo>
                    <a:lnTo>
                      <a:pt x="174" y="54"/>
                    </a:lnTo>
                    <a:lnTo>
                      <a:pt x="187" y="48"/>
                    </a:lnTo>
                    <a:lnTo>
                      <a:pt x="206" y="40"/>
                    </a:lnTo>
                    <a:lnTo>
                      <a:pt x="224" y="31"/>
                    </a:lnTo>
                    <a:lnTo>
                      <a:pt x="242" y="23"/>
                    </a:lnTo>
                    <a:lnTo>
                      <a:pt x="265" y="17"/>
                    </a:lnTo>
                    <a:lnTo>
                      <a:pt x="274" y="14"/>
                    </a:lnTo>
                    <a:lnTo>
                      <a:pt x="283" y="11"/>
                    </a:lnTo>
                    <a:lnTo>
                      <a:pt x="292" y="9"/>
                    </a:lnTo>
                    <a:lnTo>
                      <a:pt x="306" y="6"/>
                    </a:lnTo>
                    <a:lnTo>
                      <a:pt x="311" y="6"/>
                    </a:lnTo>
                    <a:lnTo>
                      <a:pt x="324" y="6"/>
                    </a:lnTo>
                    <a:lnTo>
                      <a:pt x="334" y="3"/>
                    </a:lnTo>
                    <a:lnTo>
                      <a:pt x="347" y="3"/>
                    </a:lnTo>
                    <a:lnTo>
                      <a:pt x="366" y="0"/>
                    </a:lnTo>
                    <a:lnTo>
                      <a:pt x="384" y="3"/>
                    </a:lnTo>
                    <a:lnTo>
                      <a:pt x="398" y="3"/>
                    </a:lnTo>
                    <a:lnTo>
                      <a:pt x="407" y="3"/>
                    </a:lnTo>
                    <a:lnTo>
                      <a:pt x="416" y="3"/>
                    </a:lnTo>
                    <a:lnTo>
                      <a:pt x="425" y="6"/>
                    </a:lnTo>
                    <a:lnTo>
                      <a:pt x="443" y="6"/>
                    </a:lnTo>
                    <a:lnTo>
                      <a:pt x="466" y="9"/>
                    </a:lnTo>
                    <a:lnTo>
                      <a:pt x="484" y="14"/>
                    </a:lnTo>
                    <a:lnTo>
                      <a:pt x="503" y="20"/>
                    </a:lnTo>
                    <a:lnTo>
                      <a:pt x="521" y="23"/>
                    </a:lnTo>
                    <a:lnTo>
                      <a:pt x="539" y="28"/>
                    </a:lnTo>
                    <a:lnTo>
                      <a:pt x="553" y="37"/>
                    </a:lnTo>
                    <a:lnTo>
                      <a:pt x="576" y="43"/>
                    </a:lnTo>
                    <a:lnTo>
                      <a:pt x="590" y="48"/>
                    </a:lnTo>
                    <a:lnTo>
                      <a:pt x="603" y="60"/>
                    </a:lnTo>
                    <a:lnTo>
                      <a:pt x="622" y="68"/>
                    </a:lnTo>
                    <a:lnTo>
                      <a:pt x="635" y="77"/>
                    </a:lnTo>
                    <a:lnTo>
                      <a:pt x="654" y="85"/>
                    </a:lnTo>
                    <a:lnTo>
                      <a:pt x="663" y="97"/>
                    </a:lnTo>
                    <a:lnTo>
                      <a:pt x="672" y="108"/>
                    </a:lnTo>
                    <a:lnTo>
                      <a:pt x="690" y="120"/>
                    </a:lnTo>
                    <a:lnTo>
                      <a:pt x="699" y="131"/>
                    </a:lnTo>
                    <a:lnTo>
                      <a:pt x="708" y="142"/>
                    </a:lnTo>
                    <a:lnTo>
                      <a:pt x="718" y="154"/>
                    </a:lnTo>
                    <a:lnTo>
                      <a:pt x="727" y="165"/>
                    </a:lnTo>
                    <a:lnTo>
                      <a:pt x="727" y="171"/>
                    </a:lnTo>
                    <a:lnTo>
                      <a:pt x="731" y="177"/>
                    </a:lnTo>
                    <a:lnTo>
                      <a:pt x="736" y="185"/>
                    </a:lnTo>
                    <a:lnTo>
                      <a:pt x="736" y="194"/>
                    </a:lnTo>
                    <a:lnTo>
                      <a:pt x="740" y="199"/>
                    </a:lnTo>
                    <a:lnTo>
                      <a:pt x="745" y="208"/>
                    </a:lnTo>
                    <a:lnTo>
                      <a:pt x="745" y="216"/>
                    </a:lnTo>
                    <a:lnTo>
                      <a:pt x="745" y="228"/>
                    </a:lnTo>
                    <a:lnTo>
                      <a:pt x="745" y="236"/>
                    </a:lnTo>
                    <a:lnTo>
                      <a:pt x="754" y="245"/>
                    </a:lnTo>
                    <a:lnTo>
                      <a:pt x="754" y="256"/>
                    </a:lnTo>
                    <a:lnTo>
                      <a:pt x="754" y="268"/>
                    </a:lnTo>
                    <a:lnTo>
                      <a:pt x="759" y="279"/>
                    </a:lnTo>
                    <a:lnTo>
                      <a:pt x="759" y="290"/>
                    </a:lnTo>
                    <a:lnTo>
                      <a:pt x="759" y="302"/>
                    </a:lnTo>
                    <a:lnTo>
                      <a:pt x="763" y="313"/>
                    </a:lnTo>
                    <a:lnTo>
                      <a:pt x="763" y="327"/>
                    </a:lnTo>
                    <a:lnTo>
                      <a:pt x="763" y="336"/>
                    </a:lnTo>
                    <a:lnTo>
                      <a:pt x="763" y="347"/>
                    </a:lnTo>
                    <a:lnTo>
                      <a:pt x="768" y="362"/>
                    </a:lnTo>
                    <a:lnTo>
                      <a:pt x="768" y="379"/>
                    </a:lnTo>
                    <a:lnTo>
                      <a:pt x="772" y="390"/>
                    </a:lnTo>
                    <a:lnTo>
                      <a:pt x="772" y="401"/>
                    </a:lnTo>
                    <a:lnTo>
                      <a:pt x="777" y="416"/>
                    </a:lnTo>
                    <a:lnTo>
                      <a:pt x="777" y="430"/>
                    </a:lnTo>
                    <a:lnTo>
                      <a:pt x="777" y="444"/>
                    </a:lnTo>
                    <a:lnTo>
                      <a:pt x="777" y="456"/>
                    </a:lnTo>
                    <a:lnTo>
                      <a:pt x="777" y="470"/>
                    </a:lnTo>
                    <a:lnTo>
                      <a:pt x="777" y="484"/>
                    </a:lnTo>
                    <a:lnTo>
                      <a:pt x="777" y="498"/>
                    </a:lnTo>
                    <a:lnTo>
                      <a:pt x="777" y="510"/>
                    </a:lnTo>
                    <a:lnTo>
                      <a:pt x="781" y="524"/>
                    </a:lnTo>
                    <a:lnTo>
                      <a:pt x="781" y="538"/>
                    </a:lnTo>
                    <a:lnTo>
                      <a:pt x="781" y="552"/>
                    </a:lnTo>
                    <a:lnTo>
                      <a:pt x="781" y="561"/>
                    </a:lnTo>
                    <a:lnTo>
                      <a:pt x="781" y="575"/>
                    </a:lnTo>
                    <a:lnTo>
                      <a:pt x="781" y="587"/>
                    </a:lnTo>
                    <a:lnTo>
                      <a:pt x="781" y="601"/>
                    </a:lnTo>
                    <a:lnTo>
                      <a:pt x="781" y="612"/>
                    </a:lnTo>
                    <a:lnTo>
                      <a:pt x="781" y="626"/>
                    </a:lnTo>
                    <a:lnTo>
                      <a:pt x="781" y="635"/>
                    </a:lnTo>
                    <a:lnTo>
                      <a:pt x="781" y="649"/>
                    </a:lnTo>
                    <a:lnTo>
                      <a:pt x="781" y="658"/>
                    </a:lnTo>
                    <a:lnTo>
                      <a:pt x="781" y="669"/>
                    </a:lnTo>
                    <a:lnTo>
                      <a:pt x="781" y="681"/>
                    </a:lnTo>
                    <a:lnTo>
                      <a:pt x="781" y="692"/>
                    </a:lnTo>
                    <a:lnTo>
                      <a:pt x="781" y="700"/>
                    </a:lnTo>
                    <a:lnTo>
                      <a:pt x="781" y="712"/>
                    </a:lnTo>
                    <a:lnTo>
                      <a:pt x="781" y="720"/>
                    </a:lnTo>
                    <a:lnTo>
                      <a:pt x="781" y="726"/>
                    </a:lnTo>
                    <a:lnTo>
                      <a:pt x="781" y="735"/>
                    </a:lnTo>
                    <a:lnTo>
                      <a:pt x="781" y="743"/>
                    </a:lnTo>
                    <a:lnTo>
                      <a:pt x="781" y="749"/>
                    </a:lnTo>
                    <a:lnTo>
                      <a:pt x="781" y="757"/>
                    </a:lnTo>
                    <a:lnTo>
                      <a:pt x="781" y="763"/>
                    </a:lnTo>
                    <a:lnTo>
                      <a:pt x="781" y="769"/>
                    </a:lnTo>
                    <a:lnTo>
                      <a:pt x="781" y="777"/>
                    </a:lnTo>
                    <a:lnTo>
                      <a:pt x="781" y="786"/>
                    </a:lnTo>
                    <a:lnTo>
                      <a:pt x="781" y="789"/>
                    </a:lnTo>
                    <a:lnTo>
                      <a:pt x="781" y="792"/>
                    </a:lnTo>
                    <a:lnTo>
                      <a:pt x="0" y="82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36" name="Freeform 190"/>
              <p:cNvSpPr>
                <a:spLocks/>
              </p:cNvSpPr>
              <p:nvPr>
                <p:custDataLst>
                  <p:tags r:id="rId21"/>
                </p:custDataLst>
              </p:nvPr>
            </p:nvSpPr>
            <p:spPr bwMode="gray">
              <a:xfrm>
                <a:off x="1134" y="2045"/>
                <a:ext cx="1339" cy="362"/>
              </a:xfrm>
              <a:custGeom>
                <a:avLst/>
                <a:gdLst>
                  <a:gd name="T0" fmla="*/ 62 w 1307"/>
                  <a:gd name="T1" fmla="*/ 5 h 396"/>
                  <a:gd name="T2" fmla="*/ 147 w 1307"/>
                  <a:gd name="T3" fmla="*/ 5 h 396"/>
                  <a:gd name="T4" fmla="*/ 232 w 1307"/>
                  <a:gd name="T5" fmla="*/ 10 h 396"/>
                  <a:gd name="T6" fmla="*/ 318 w 1307"/>
                  <a:gd name="T7" fmla="*/ 14 h 396"/>
                  <a:gd name="T8" fmla="*/ 421 w 1307"/>
                  <a:gd name="T9" fmla="*/ 15 h 396"/>
                  <a:gd name="T10" fmla="*/ 526 w 1307"/>
                  <a:gd name="T11" fmla="*/ 18 h 396"/>
                  <a:gd name="T12" fmla="*/ 630 w 1307"/>
                  <a:gd name="T13" fmla="*/ 22 h 396"/>
                  <a:gd name="T14" fmla="*/ 740 w 1307"/>
                  <a:gd name="T15" fmla="*/ 24 h 396"/>
                  <a:gd name="T16" fmla="*/ 849 w 1307"/>
                  <a:gd name="T17" fmla="*/ 26 h 396"/>
                  <a:gd name="T18" fmla="*/ 953 w 1307"/>
                  <a:gd name="T19" fmla="*/ 26 h 396"/>
                  <a:gd name="T20" fmla="*/ 1061 w 1307"/>
                  <a:gd name="T21" fmla="*/ 28 h 396"/>
                  <a:gd name="T22" fmla="*/ 1167 w 1307"/>
                  <a:gd name="T23" fmla="*/ 28 h 396"/>
                  <a:gd name="T24" fmla="*/ 1265 w 1307"/>
                  <a:gd name="T25" fmla="*/ 28 h 396"/>
                  <a:gd name="T26" fmla="*/ 1356 w 1307"/>
                  <a:gd name="T27" fmla="*/ 31 h 396"/>
                  <a:gd name="T28" fmla="*/ 1442 w 1307"/>
                  <a:gd name="T29" fmla="*/ 32 h 396"/>
                  <a:gd name="T30" fmla="*/ 1514 w 1307"/>
                  <a:gd name="T31" fmla="*/ 32 h 396"/>
                  <a:gd name="T32" fmla="*/ 1583 w 1307"/>
                  <a:gd name="T33" fmla="*/ 32 h 396"/>
                  <a:gd name="T34" fmla="*/ 1643 w 1307"/>
                  <a:gd name="T35" fmla="*/ 32 h 396"/>
                  <a:gd name="T36" fmla="*/ 1694 w 1307"/>
                  <a:gd name="T37" fmla="*/ 34 h 396"/>
                  <a:gd name="T38" fmla="*/ 1742 w 1307"/>
                  <a:gd name="T39" fmla="*/ 34 h 396"/>
                  <a:gd name="T40" fmla="*/ 1723 w 1307"/>
                  <a:gd name="T41" fmla="*/ 134 h 396"/>
                  <a:gd name="T42" fmla="*/ 1680 w 1307"/>
                  <a:gd name="T43" fmla="*/ 134 h 396"/>
                  <a:gd name="T44" fmla="*/ 1637 w 1307"/>
                  <a:gd name="T45" fmla="*/ 134 h 396"/>
                  <a:gd name="T46" fmla="*/ 1583 w 1307"/>
                  <a:gd name="T47" fmla="*/ 134 h 396"/>
                  <a:gd name="T48" fmla="*/ 1514 w 1307"/>
                  <a:gd name="T49" fmla="*/ 134 h 396"/>
                  <a:gd name="T50" fmla="*/ 1435 w 1307"/>
                  <a:gd name="T51" fmla="*/ 134 h 396"/>
                  <a:gd name="T52" fmla="*/ 1394 w 1307"/>
                  <a:gd name="T53" fmla="*/ 134 h 396"/>
                  <a:gd name="T54" fmla="*/ 1351 w 1307"/>
                  <a:gd name="T55" fmla="*/ 134 h 396"/>
                  <a:gd name="T56" fmla="*/ 1296 w 1307"/>
                  <a:gd name="T57" fmla="*/ 133 h 396"/>
                  <a:gd name="T58" fmla="*/ 1246 w 1307"/>
                  <a:gd name="T59" fmla="*/ 133 h 396"/>
                  <a:gd name="T60" fmla="*/ 1190 w 1307"/>
                  <a:gd name="T61" fmla="*/ 133 h 396"/>
                  <a:gd name="T62" fmla="*/ 1130 w 1307"/>
                  <a:gd name="T63" fmla="*/ 133 h 396"/>
                  <a:gd name="T64" fmla="*/ 1075 w 1307"/>
                  <a:gd name="T65" fmla="*/ 133 h 396"/>
                  <a:gd name="T66" fmla="*/ 1015 w 1307"/>
                  <a:gd name="T67" fmla="*/ 131 h 396"/>
                  <a:gd name="T68" fmla="*/ 948 w 1307"/>
                  <a:gd name="T69" fmla="*/ 130 h 396"/>
                  <a:gd name="T70" fmla="*/ 881 w 1307"/>
                  <a:gd name="T71" fmla="*/ 128 h 396"/>
                  <a:gd name="T72" fmla="*/ 813 w 1307"/>
                  <a:gd name="T73" fmla="*/ 126 h 396"/>
                  <a:gd name="T74" fmla="*/ 746 w 1307"/>
                  <a:gd name="T75" fmla="*/ 126 h 396"/>
                  <a:gd name="T76" fmla="*/ 677 w 1307"/>
                  <a:gd name="T77" fmla="*/ 123 h 396"/>
                  <a:gd name="T78" fmla="*/ 611 w 1307"/>
                  <a:gd name="T79" fmla="*/ 122 h 396"/>
                  <a:gd name="T80" fmla="*/ 544 w 1307"/>
                  <a:gd name="T81" fmla="*/ 122 h 396"/>
                  <a:gd name="T82" fmla="*/ 489 w 1307"/>
                  <a:gd name="T83" fmla="*/ 121 h 396"/>
                  <a:gd name="T84" fmla="*/ 421 w 1307"/>
                  <a:gd name="T85" fmla="*/ 120 h 396"/>
                  <a:gd name="T86" fmla="*/ 367 w 1307"/>
                  <a:gd name="T87" fmla="*/ 117 h 396"/>
                  <a:gd name="T88" fmla="*/ 311 w 1307"/>
                  <a:gd name="T89" fmla="*/ 116 h 396"/>
                  <a:gd name="T90" fmla="*/ 257 w 1307"/>
                  <a:gd name="T91" fmla="*/ 115 h 396"/>
                  <a:gd name="T92" fmla="*/ 214 w 1307"/>
                  <a:gd name="T93" fmla="*/ 112 h 396"/>
                  <a:gd name="T94" fmla="*/ 164 w 1307"/>
                  <a:gd name="T95" fmla="*/ 112 h 396"/>
                  <a:gd name="T96" fmla="*/ 107 w 1307"/>
                  <a:gd name="T97" fmla="*/ 112 h 396"/>
                  <a:gd name="T98" fmla="*/ 49 w 1307"/>
                  <a:gd name="T99" fmla="*/ 110 h 396"/>
                  <a:gd name="T100" fmla="*/ 5 w 1307"/>
                  <a:gd name="T101" fmla="*/ 109 h 396"/>
                  <a:gd name="T102" fmla="*/ 18 w 1307"/>
                  <a:gd name="T103" fmla="*/ 0 h 3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7"/>
                  <a:gd name="T157" fmla="*/ 0 h 396"/>
                  <a:gd name="T158" fmla="*/ 1307 w 1307"/>
                  <a:gd name="T159" fmla="*/ 396 h 3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7" h="396">
                    <a:moveTo>
                      <a:pt x="18" y="0"/>
                    </a:moveTo>
                    <a:lnTo>
                      <a:pt x="32" y="3"/>
                    </a:lnTo>
                    <a:lnTo>
                      <a:pt x="50" y="5"/>
                    </a:lnTo>
                    <a:lnTo>
                      <a:pt x="69" y="11"/>
                    </a:lnTo>
                    <a:lnTo>
                      <a:pt x="91" y="14"/>
                    </a:lnTo>
                    <a:lnTo>
                      <a:pt x="110" y="17"/>
                    </a:lnTo>
                    <a:lnTo>
                      <a:pt x="128" y="22"/>
                    </a:lnTo>
                    <a:lnTo>
                      <a:pt x="151" y="25"/>
                    </a:lnTo>
                    <a:lnTo>
                      <a:pt x="174" y="28"/>
                    </a:lnTo>
                    <a:lnTo>
                      <a:pt x="196" y="31"/>
                    </a:lnTo>
                    <a:lnTo>
                      <a:pt x="219" y="34"/>
                    </a:lnTo>
                    <a:lnTo>
                      <a:pt x="238" y="40"/>
                    </a:lnTo>
                    <a:lnTo>
                      <a:pt x="270" y="40"/>
                    </a:lnTo>
                    <a:lnTo>
                      <a:pt x="288" y="42"/>
                    </a:lnTo>
                    <a:lnTo>
                      <a:pt x="315" y="45"/>
                    </a:lnTo>
                    <a:lnTo>
                      <a:pt x="338" y="51"/>
                    </a:lnTo>
                    <a:lnTo>
                      <a:pt x="366" y="51"/>
                    </a:lnTo>
                    <a:lnTo>
                      <a:pt x="393" y="54"/>
                    </a:lnTo>
                    <a:lnTo>
                      <a:pt x="420" y="57"/>
                    </a:lnTo>
                    <a:lnTo>
                      <a:pt x="443" y="60"/>
                    </a:lnTo>
                    <a:lnTo>
                      <a:pt x="471" y="62"/>
                    </a:lnTo>
                    <a:lnTo>
                      <a:pt x="498" y="62"/>
                    </a:lnTo>
                    <a:lnTo>
                      <a:pt x="526" y="65"/>
                    </a:lnTo>
                    <a:lnTo>
                      <a:pt x="553" y="68"/>
                    </a:lnTo>
                    <a:lnTo>
                      <a:pt x="580" y="71"/>
                    </a:lnTo>
                    <a:lnTo>
                      <a:pt x="608" y="71"/>
                    </a:lnTo>
                    <a:lnTo>
                      <a:pt x="635" y="74"/>
                    </a:lnTo>
                    <a:lnTo>
                      <a:pt x="658" y="74"/>
                    </a:lnTo>
                    <a:lnTo>
                      <a:pt x="685" y="74"/>
                    </a:lnTo>
                    <a:lnTo>
                      <a:pt x="713" y="77"/>
                    </a:lnTo>
                    <a:lnTo>
                      <a:pt x="740" y="79"/>
                    </a:lnTo>
                    <a:lnTo>
                      <a:pt x="768" y="79"/>
                    </a:lnTo>
                    <a:lnTo>
                      <a:pt x="795" y="82"/>
                    </a:lnTo>
                    <a:lnTo>
                      <a:pt x="823" y="82"/>
                    </a:lnTo>
                    <a:lnTo>
                      <a:pt x="845" y="85"/>
                    </a:lnTo>
                    <a:lnTo>
                      <a:pt x="873" y="85"/>
                    </a:lnTo>
                    <a:lnTo>
                      <a:pt x="896" y="85"/>
                    </a:lnTo>
                    <a:lnTo>
                      <a:pt x="919" y="85"/>
                    </a:lnTo>
                    <a:lnTo>
                      <a:pt x="946" y="85"/>
                    </a:lnTo>
                    <a:lnTo>
                      <a:pt x="969" y="88"/>
                    </a:lnTo>
                    <a:lnTo>
                      <a:pt x="992" y="91"/>
                    </a:lnTo>
                    <a:lnTo>
                      <a:pt x="1015" y="91"/>
                    </a:lnTo>
                    <a:lnTo>
                      <a:pt x="1037" y="91"/>
                    </a:lnTo>
                    <a:lnTo>
                      <a:pt x="1056" y="91"/>
                    </a:lnTo>
                    <a:lnTo>
                      <a:pt x="1079" y="94"/>
                    </a:lnTo>
                    <a:lnTo>
                      <a:pt x="1097" y="94"/>
                    </a:lnTo>
                    <a:lnTo>
                      <a:pt x="1115" y="94"/>
                    </a:lnTo>
                    <a:lnTo>
                      <a:pt x="1133" y="94"/>
                    </a:lnTo>
                    <a:lnTo>
                      <a:pt x="1156" y="94"/>
                    </a:lnTo>
                    <a:lnTo>
                      <a:pt x="1165" y="94"/>
                    </a:lnTo>
                    <a:lnTo>
                      <a:pt x="1184" y="94"/>
                    </a:lnTo>
                    <a:lnTo>
                      <a:pt x="1202" y="94"/>
                    </a:lnTo>
                    <a:lnTo>
                      <a:pt x="1216" y="94"/>
                    </a:lnTo>
                    <a:lnTo>
                      <a:pt x="1229" y="94"/>
                    </a:lnTo>
                    <a:lnTo>
                      <a:pt x="1243" y="94"/>
                    </a:lnTo>
                    <a:lnTo>
                      <a:pt x="1252" y="94"/>
                    </a:lnTo>
                    <a:lnTo>
                      <a:pt x="1266" y="97"/>
                    </a:lnTo>
                    <a:lnTo>
                      <a:pt x="1280" y="97"/>
                    </a:lnTo>
                    <a:lnTo>
                      <a:pt x="1298" y="97"/>
                    </a:lnTo>
                    <a:lnTo>
                      <a:pt x="1302" y="97"/>
                    </a:lnTo>
                    <a:lnTo>
                      <a:pt x="1307" y="97"/>
                    </a:lnTo>
                    <a:lnTo>
                      <a:pt x="1293" y="396"/>
                    </a:lnTo>
                    <a:lnTo>
                      <a:pt x="1289" y="396"/>
                    </a:lnTo>
                    <a:lnTo>
                      <a:pt x="1284" y="396"/>
                    </a:lnTo>
                    <a:lnTo>
                      <a:pt x="1270" y="396"/>
                    </a:lnTo>
                    <a:lnTo>
                      <a:pt x="1257" y="396"/>
                    </a:lnTo>
                    <a:lnTo>
                      <a:pt x="1248" y="396"/>
                    </a:lnTo>
                    <a:lnTo>
                      <a:pt x="1234" y="396"/>
                    </a:lnTo>
                    <a:lnTo>
                      <a:pt x="1225" y="396"/>
                    </a:lnTo>
                    <a:lnTo>
                      <a:pt x="1216" y="396"/>
                    </a:lnTo>
                    <a:lnTo>
                      <a:pt x="1197" y="396"/>
                    </a:lnTo>
                    <a:lnTo>
                      <a:pt x="1184" y="396"/>
                    </a:lnTo>
                    <a:lnTo>
                      <a:pt x="1165" y="396"/>
                    </a:lnTo>
                    <a:lnTo>
                      <a:pt x="1156" y="396"/>
                    </a:lnTo>
                    <a:lnTo>
                      <a:pt x="1133" y="396"/>
                    </a:lnTo>
                    <a:lnTo>
                      <a:pt x="1115" y="396"/>
                    </a:lnTo>
                    <a:lnTo>
                      <a:pt x="1097" y="396"/>
                    </a:lnTo>
                    <a:lnTo>
                      <a:pt x="1074" y="396"/>
                    </a:lnTo>
                    <a:lnTo>
                      <a:pt x="1065" y="396"/>
                    </a:lnTo>
                    <a:lnTo>
                      <a:pt x="1056" y="396"/>
                    </a:lnTo>
                    <a:lnTo>
                      <a:pt x="1042" y="396"/>
                    </a:lnTo>
                    <a:lnTo>
                      <a:pt x="1033" y="396"/>
                    </a:lnTo>
                    <a:lnTo>
                      <a:pt x="1019" y="396"/>
                    </a:lnTo>
                    <a:lnTo>
                      <a:pt x="1010" y="396"/>
                    </a:lnTo>
                    <a:lnTo>
                      <a:pt x="996" y="396"/>
                    </a:lnTo>
                    <a:lnTo>
                      <a:pt x="987" y="396"/>
                    </a:lnTo>
                    <a:lnTo>
                      <a:pt x="969" y="393"/>
                    </a:lnTo>
                    <a:lnTo>
                      <a:pt x="960" y="393"/>
                    </a:lnTo>
                    <a:lnTo>
                      <a:pt x="946" y="393"/>
                    </a:lnTo>
                    <a:lnTo>
                      <a:pt x="932" y="393"/>
                    </a:lnTo>
                    <a:lnTo>
                      <a:pt x="919" y="390"/>
                    </a:lnTo>
                    <a:lnTo>
                      <a:pt x="905" y="390"/>
                    </a:lnTo>
                    <a:lnTo>
                      <a:pt x="891" y="387"/>
                    </a:lnTo>
                    <a:lnTo>
                      <a:pt x="877" y="387"/>
                    </a:lnTo>
                    <a:lnTo>
                      <a:pt x="864" y="387"/>
                    </a:lnTo>
                    <a:lnTo>
                      <a:pt x="845" y="387"/>
                    </a:lnTo>
                    <a:lnTo>
                      <a:pt x="836" y="387"/>
                    </a:lnTo>
                    <a:lnTo>
                      <a:pt x="823" y="387"/>
                    </a:lnTo>
                    <a:lnTo>
                      <a:pt x="804" y="387"/>
                    </a:lnTo>
                    <a:lnTo>
                      <a:pt x="786" y="387"/>
                    </a:lnTo>
                    <a:lnTo>
                      <a:pt x="772" y="384"/>
                    </a:lnTo>
                    <a:lnTo>
                      <a:pt x="759" y="384"/>
                    </a:lnTo>
                    <a:lnTo>
                      <a:pt x="740" y="381"/>
                    </a:lnTo>
                    <a:lnTo>
                      <a:pt x="722" y="381"/>
                    </a:lnTo>
                    <a:lnTo>
                      <a:pt x="708" y="381"/>
                    </a:lnTo>
                    <a:lnTo>
                      <a:pt x="695" y="378"/>
                    </a:lnTo>
                    <a:lnTo>
                      <a:pt x="676" y="376"/>
                    </a:lnTo>
                    <a:lnTo>
                      <a:pt x="658" y="376"/>
                    </a:lnTo>
                    <a:lnTo>
                      <a:pt x="640" y="376"/>
                    </a:lnTo>
                    <a:lnTo>
                      <a:pt x="622" y="376"/>
                    </a:lnTo>
                    <a:lnTo>
                      <a:pt x="608" y="370"/>
                    </a:lnTo>
                    <a:lnTo>
                      <a:pt x="590" y="370"/>
                    </a:lnTo>
                    <a:lnTo>
                      <a:pt x="571" y="370"/>
                    </a:lnTo>
                    <a:lnTo>
                      <a:pt x="558" y="370"/>
                    </a:lnTo>
                    <a:lnTo>
                      <a:pt x="539" y="367"/>
                    </a:lnTo>
                    <a:lnTo>
                      <a:pt x="526" y="367"/>
                    </a:lnTo>
                    <a:lnTo>
                      <a:pt x="507" y="364"/>
                    </a:lnTo>
                    <a:lnTo>
                      <a:pt x="489" y="364"/>
                    </a:lnTo>
                    <a:lnTo>
                      <a:pt x="475" y="361"/>
                    </a:lnTo>
                    <a:lnTo>
                      <a:pt x="457" y="359"/>
                    </a:lnTo>
                    <a:lnTo>
                      <a:pt x="439" y="359"/>
                    </a:lnTo>
                    <a:lnTo>
                      <a:pt x="425" y="359"/>
                    </a:lnTo>
                    <a:lnTo>
                      <a:pt x="407" y="356"/>
                    </a:lnTo>
                    <a:lnTo>
                      <a:pt x="393" y="356"/>
                    </a:lnTo>
                    <a:lnTo>
                      <a:pt x="379" y="353"/>
                    </a:lnTo>
                    <a:lnTo>
                      <a:pt x="366" y="353"/>
                    </a:lnTo>
                    <a:lnTo>
                      <a:pt x="347" y="353"/>
                    </a:lnTo>
                    <a:lnTo>
                      <a:pt x="334" y="350"/>
                    </a:lnTo>
                    <a:lnTo>
                      <a:pt x="315" y="350"/>
                    </a:lnTo>
                    <a:lnTo>
                      <a:pt x="302" y="347"/>
                    </a:lnTo>
                    <a:lnTo>
                      <a:pt x="288" y="344"/>
                    </a:lnTo>
                    <a:lnTo>
                      <a:pt x="274" y="344"/>
                    </a:lnTo>
                    <a:lnTo>
                      <a:pt x="256" y="341"/>
                    </a:lnTo>
                    <a:lnTo>
                      <a:pt x="247" y="341"/>
                    </a:lnTo>
                    <a:lnTo>
                      <a:pt x="233" y="341"/>
                    </a:lnTo>
                    <a:lnTo>
                      <a:pt x="219" y="339"/>
                    </a:lnTo>
                    <a:lnTo>
                      <a:pt x="201" y="339"/>
                    </a:lnTo>
                    <a:lnTo>
                      <a:pt x="192" y="339"/>
                    </a:lnTo>
                    <a:lnTo>
                      <a:pt x="183" y="336"/>
                    </a:lnTo>
                    <a:lnTo>
                      <a:pt x="169" y="336"/>
                    </a:lnTo>
                    <a:lnTo>
                      <a:pt x="160" y="333"/>
                    </a:lnTo>
                    <a:lnTo>
                      <a:pt x="146" y="333"/>
                    </a:lnTo>
                    <a:lnTo>
                      <a:pt x="133" y="330"/>
                    </a:lnTo>
                    <a:lnTo>
                      <a:pt x="123" y="330"/>
                    </a:lnTo>
                    <a:lnTo>
                      <a:pt x="114" y="327"/>
                    </a:lnTo>
                    <a:lnTo>
                      <a:pt x="101" y="327"/>
                    </a:lnTo>
                    <a:lnTo>
                      <a:pt x="82" y="327"/>
                    </a:lnTo>
                    <a:lnTo>
                      <a:pt x="69" y="324"/>
                    </a:lnTo>
                    <a:lnTo>
                      <a:pt x="50" y="321"/>
                    </a:lnTo>
                    <a:lnTo>
                      <a:pt x="37" y="321"/>
                    </a:lnTo>
                    <a:lnTo>
                      <a:pt x="23" y="319"/>
                    </a:lnTo>
                    <a:lnTo>
                      <a:pt x="18" y="319"/>
                    </a:lnTo>
                    <a:lnTo>
                      <a:pt x="5" y="319"/>
                    </a:lnTo>
                    <a:lnTo>
                      <a:pt x="0" y="319"/>
                    </a:lnTo>
                    <a:lnTo>
                      <a:pt x="1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37" name="Freeform 191"/>
              <p:cNvSpPr>
                <a:spLocks/>
              </p:cNvSpPr>
              <p:nvPr>
                <p:custDataLst>
                  <p:tags r:id="rId22"/>
                </p:custDataLst>
              </p:nvPr>
            </p:nvSpPr>
            <p:spPr bwMode="gray">
              <a:xfrm>
                <a:off x="3527" y="2060"/>
                <a:ext cx="1022" cy="403"/>
              </a:xfrm>
              <a:custGeom>
                <a:avLst/>
                <a:gdLst>
                  <a:gd name="T0" fmla="*/ 58 w 997"/>
                  <a:gd name="T1" fmla="*/ 20 h 441"/>
                  <a:gd name="T2" fmla="*/ 148 w 997"/>
                  <a:gd name="T3" fmla="*/ 20 h 441"/>
                  <a:gd name="T4" fmla="*/ 241 w 997"/>
                  <a:gd name="T5" fmla="*/ 20 h 441"/>
                  <a:gd name="T6" fmla="*/ 327 w 997"/>
                  <a:gd name="T7" fmla="*/ 18 h 441"/>
                  <a:gd name="T8" fmla="*/ 414 w 997"/>
                  <a:gd name="T9" fmla="*/ 17 h 441"/>
                  <a:gd name="T10" fmla="*/ 492 w 997"/>
                  <a:gd name="T11" fmla="*/ 16 h 441"/>
                  <a:gd name="T12" fmla="*/ 579 w 997"/>
                  <a:gd name="T13" fmla="*/ 15 h 441"/>
                  <a:gd name="T14" fmla="*/ 652 w 997"/>
                  <a:gd name="T15" fmla="*/ 15 h 441"/>
                  <a:gd name="T16" fmla="*/ 732 w 997"/>
                  <a:gd name="T17" fmla="*/ 13 h 441"/>
                  <a:gd name="T18" fmla="*/ 806 w 997"/>
                  <a:gd name="T19" fmla="*/ 12 h 441"/>
                  <a:gd name="T20" fmla="*/ 873 w 997"/>
                  <a:gd name="T21" fmla="*/ 11 h 441"/>
                  <a:gd name="T22" fmla="*/ 935 w 997"/>
                  <a:gd name="T23" fmla="*/ 9 h 441"/>
                  <a:gd name="T24" fmla="*/ 989 w 997"/>
                  <a:gd name="T25" fmla="*/ 8 h 441"/>
                  <a:gd name="T26" fmla="*/ 1045 w 997"/>
                  <a:gd name="T27" fmla="*/ 5 h 441"/>
                  <a:gd name="T28" fmla="*/ 1096 w 997"/>
                  <a:gd name="T29" fmla="*/ 5 h 441"/>
                  <a:gd name="T30" fmla="*/ 1139 w 997"/>
                  <a:gd name="T31" fmla="*/ 5 h 441"/>
                  <a:gd name="T32" fmla="*/ 1193 w 997"/>
                  <a:gd name="T33" fmla="*/ 5 h 441"/>
                  <a:gd name="T34" fmla="*/ 1249 w 997"/>
                  <a:gd name="T35" fmla="*/ 0 h 441"/>
                  <a:gd name="T36" fmla="*/ 1256 w 997"/>
                  <a:gd name="T37" fmla="*/ 5 h 441"/>
                  <a:gd name="T38" fmla="*/ 1268 w 997"/>
                  <a:gd name="T39" fmla="*/ 12 h 441"/>
                  <a:gd name="T40" fmla="*/ 1274 w 997"/>
                  <a:gd name="T41" fmla="*/ 16 h 441"/>
                  <a:gd name="T42" fmla="*/ 1280 w 997"/>
                  <a:gd name="T43" fmla="*/ 24 h 441"/>
                  <a:gd name="T44" fmla="*/ 1293 w 997"/>
                  <a:gd name="T45" fmla="*/ 31 h 441"/>
                  <a:gd name="T46" fmla="*/ 1298 w 997"/>
                  <a:gd name="T47" fmla="*/ 37 h 441"/>
                  <a:gd name="T48" fmla="*/ 1298 w 997"/>
                  <a:gd name="T49" fmla="*/ 46 h 441"/>
                  <a:gd name="T50" fmla="*/ 1311 w 997"/>
                  <a:gd name="T51" fmla="*/ 54 h 441"/>
                  <a:gd name="T52" fmla="*/ 1316 w 997"/>
                  <a:gd name="T53" fmla="*/ 64 h 441"/>
                  <a:gd name="T54" fmla="*/ 1324 w 997"/>
                  <a:gd name="T55" fmla="*/ 70 h 441"/>
                  <a:gd name="T56" fmla="*/ 1328 w 997"/>
                  <a:gd name="T57" fmla="*/ 80 h 441"/>
                  <a:gd name="T58" fmla="*/ 1342 w 997"/>
                  <a:gd name="T59" fmla="*/ 88 h 441"/>
                  <a:gd name="T60" fmla="*/ 1342 w 997"/>
                  <a:gd name="T61" fmla="*/ 95 h 441"/>
                  <a:gd name="T62" fmla="*/ 1342 w 997"/>
                  <a:gd name="T63" fmla="*/ 101 h 441"/>
                  <a:gd name="T64" fmla="*/ 1342 w 997"/>
                  <a:gd name="T65" fmla="*/ 111 h 441"/>
                  <a:gd name="T66" fmla="*/ 1336 w 997"/>
                  <a:gd name="T67" fmla="*/ 119 h 441"/>
                  <a:gd name="T68" fmla="*/ 1316 w 997"/>
                  <a:gd name="T69" fmla="*/ 121 h 441"/>
                  <a:gd name="T70" fmla="*/ 1256 w 997"/>
                  <a:gd name="T71" fmla="*/ 121 h 441"/>
                  <a:gd name="T72" fmla="*/ 1214 w 997"/>
                  <a:gd name="T73" fmla="*/ 122 h 441"/>
                  <a:gd name="T74" fmla="*/ 1163 w 997"/>
                  <a:gd name="T75" fmla="*/ 122 h 441"/>
                  <a:gd name="T76" fmla="*/ 1102 w 997"/>
                  <a:gd name="T77" fmla="*/ 123 h 441"/>
                  <a:gd name="T78" fmla="*/ 1039 w 997"/>
                  <a:gd name="T79" fmla="*/ 125 h 441"/>
                  <a:gd name="T80" fmla="*/ 974 w 997"/>
                  <a:gd name="T81" fmla="*/ 127 h 441"/>
                  <a:gd name="T82" fmla="*/ 899 w 997"/>
                  <a:gd name="T83" fmla="*/ 129 h 441"/>
                  <a:gd name="T84" fmla="*/ 819 w 997"/>
                  <a:gd name="T85" fmla="*/ 132 h 441"/>
                  <a:gd name="T86" fmla="*/ 739 w 997"/>
                  <a:gd name="T87" fmla="*/ 133 h 441"/>
                  <a:gd name="T88" fmla="*/ 652 w 997"/>
                  <a:gd name="T89" fmla="*/ 135 h 441"/>
                  <a:gd name="T90" fmla="*/ 579 w 997"/>
                  <a:gd name="T91" fmla="*/ 137 h 441"/>
                  <a:gd name="T92" fmla="*/ 492 w 997"/>
                  <a:gd name="T93" fmla="*/ 140 h 441"/>
                  <a:gd name="T94" fmla="*/ 419 w 997"/>
                  <a:gd name="T95" fmla="*/ 141 h 441"/>
                  <a:gd name="T96" fmla="*/ 344 w 997"/>
                  <a:gd name="T97" fmla="*/ 143 h 441"/>
                  <a:gd name="T98" fmla="*/ 277 w 997"/>
                  <a:gd name="T99" fmla="*/ 144 h 441"/>
                  <a:gd name="T100" fmla="*/ 210 w 997"/>
                  <a:gd name="T101" fmla="*/ 145 h 441"/>
                  <a:gd name="T102" fmla="*/ 160 w 997"/>
                  <a:gd name="T103" fmla="*/ 146 h 441"/>
                  <a:gd name="T104" fmla="*/ 103 w 997"/>
                  <a:gd name="T105" fmla="*/ 148 h 441"/>
                  <a:gd name="T106" fmla="*/ 44 w 997"/>
                  <a:gd name="T107" fmla="*/ 150 h 4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97"/>
                  <a:gd name="T163" fmla="*/ 0 h 441"/>
                  <a:gd name="T164" fmla="*/ 997 w 997"/>
                  <a:gd name="T165" fmla="*/ 441 h 4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97" h="441">
                    <a:moveTo>
                      <a:pt x="0" y="57"/>
                    </a:moveTo>
                    <a:lnTo>
                      <a:pt x="23" y="57"/>
                    </a:lnTo>
                    <a:lnTo>
                      <a:pt x="46" y="57"/>
                    </a:lnTo>
                    <a:lnTo>
                      <a:pt x="69" y="57"/>
                    </a:lnTo>
                    <a:lnTo>
                      <a:pt x="87" y="57"/>
                    </a:lnTo>
                    <a:lnTo>
                      <a:pt x="110" y="57"/>
                    </a:lnTo>
                    <a:lnTo>
                      <a:pt x="137" y="57"/>
                    </a:lnTo>
                    <a:lnTo>
                      <a:pt x="156" y="57"/>
                    </a:lnTo>
                    <a:lnTo>
                      <a:pt x="179" y="57"/>
                    </a:lnTo>
                    <a:lnTo>
                      <a:pt x="201" y="57"/>
                    </a:lnTo>
                    <a:lnTo>
                      <a:pt x="224" y="54"/>
                    </a:lnTo>
                    <a:lnTo>
                      <a:pt x="243" y="54"/>
                    </a:lnTo>
                    <a:lnTo>
                      <a:pt x="265" y="54"/>
                    </a:lnTo>
                    <a:lnTo>
                      <a:pt x="288" y="51"/>
                    </a:lnTo>
                    <a:lnTo>
                      <a:pt x="307" y="51"/>
                    </a:lnTo>
                    <a:lnTo>
                      <a:pt x="325" y="51"/>
                    </a:lnTo>
                    <a:lnTo>
                      <a:pt x="348" y="51"/>
                    </a:lnTo>
                    <a:lnTo>
                      <a:pt x="366" y="48"/>
                    </a:lnTo>
                    <a:lnTo>
                      <a:pt x="389" y="48"/>
                    </a:lnTo>
                    <a:lnTo>
                      <a:pt x="412" y="45"/>
                    </a:lnTo>
                    <a:lnTo>
                      <a:pt x="430" y="45"/>
                    </a:lnTo>
                    <a:lnTo>
                      <a:pt x="448" y="45"/>
                    </a:lnTo>
                    <a:lnTo>
                      <a:pt x="466" y="45"/>
                    </a:lnTo>
                    <a:lnTo>
                      <a:pt x="485" y="43"/>
                    </a:lnTo>
                    <a:lnTo>
                      <a:pt x="508" y="43"/>
                    </a:lnTo>
                    <a:lnTo>
                      <a:pt x="521" y="40"/>
                    </a:lnTo>
                    <a:lnTo>
                      <a:pt x="544" y="37"/>
                    </a:lnTo>
                    <a:lnTo>
                      <a:pt x="562" y="37"/>
                    </a:lnTo>
                    <a:lnTo>
                      <a:pt x="581" y="34"/>
                    </a:lnTo>
                    <a:lnTo>
                      <a:pt x="599" y="34"/>
                    </a:lnTo>
                    <a:lnTo>
                      <a:pt x="613" y="34"/>
                    </a:lnTo>
                    <a:lnTo>
                      <a:pt x="631" y="31"/>
                    </a:lnTo>
                    <a:lnTo>
                      <a:pt x="649" y="31"/>
                    </a:lnTo>
                    <a:lnTo>
                      <a:pt x="668" y="28"/>
                    </a:lnTo>
                    <a:lnTo>
                      <a:pt x="677" y="28"/>
                    </a:lnTo>
                    <a:lnTo>
                      <a:pt x="695" y="25"/>
                    </a:lnTo>
                    <a:lnTo>
                      <a:pt x="709" y="23"/>
                    </a:lnTo>
                    <a:lnTo>
                      <a:pt x="722" y="23"/>
                    </a:lnTo>
                    <a:lnTo>
                      <a:pt x="736" y="23"/>
                    </a:lnTo>
                    <a:lnTo>
                      <a:pt x="750" y="20"/>
                    </a:lnTo>
                    <a:lnTo>
                      <a:pt x="768" y="20"/>
                    </a:lnTo>
                    <a:lnTo>
                      <a:pt x="777" y="17"/>
                    </a:lnTo>
                    <a:lnTo>
                      <a:pt x="791" y="14"/>
                    </a:lnTo>
                    <a:lnTo>
                      <a:pt x="800" y="14"/>
                    </a:lnTo>
                    <a:lnTo>
                      <a:pt x="814" y="14"/>
                    </a:lnTo>
                    <a:lnTo>
                      <a:pt x="823" y="11"/>
                    </a:lnTo>
                    <a:lnTo>
                      <a:pt x="832" y="11"/>
                    </a:lnTo>
                    <a:lnTo>
                      <a:pt x="846" y="11"/>
                    </a:lnTo>
                    <a:lnTo>
                      <a:pt x="855" y="11"/>
                    </a:lnTo>
                    <a:lnTo>
                      <a:pt x="869" y="8"/>
                    </a:lnTo>
                    <a:lnTo>
                      <a:pt x="887" y="5"/>
                    </a:lnTo>
                    <a:lnTo>
                      <a:pt x="901" y="3"/>
                    </a:lnTo>
                    <a:lnTo>
                      <a:pt x="910" y="3"/>
                    </a:lnTo>
                    <a:lnTo>
                      <a:pt x="928" y="0"/>
                    </a:lnTo>
                    <a:lnTo>
                      <a:pt x="933" y="0"/>
                    </a:lnTo>
                    <a:lnTo>
                      <a:pt x="933" y="5"/>
                    </a:lnTo>
                    <a:lnTo>
                      <a:pt x="933" y="8"/>
                    </a:lnTo>
                    <a:lnTo>
                      <a:pt x="937" y="14"/>
                    </a:lnTo>
                    <a:lnTo>
                      <a:pt x="937" y="23"/>
                    </a:lnTo>
                    <a:lnTo>
                      <a:pt x="942" y="34"/>
                    </a:lnTo>
                    <a:lnTo>
                      <a:pt x="942" y="37"/>
                    </a:lnTo>
                    <a:lnTo>
                      <a:pt x="942" y="43"/>
                    </a:lnTo>
                    <a:lnTo>
                      <a:pt x="946" y="48"/>
                    </a:lnTo>
                    <a:lnTo>
                      <a:pt x="946" y="57"/>
                    </a:lnTo>
                    <a:lnTo>
                      <a:pt x="946" y="62"/>
                    </a:lnTo>
                    <a:lnTo>
                      <a:pt x="951" y="68"/>
                    </a:lnTo>
                    <a:lnTo>
                      <a:pt x="951" y="77"/>
                    </a:lnTo>
                    <a:lnTo>
                      <a:pt x="955" y="82"/>
                    </a:lnTo>
                    <a:lnTo>
                      <a:pt x="960" y="91"/>
                    </a:lnTo>
                    <a:lnTo>
                      <a:pt x="960" y="97"/>
                    </a:lnTo>
                    <a:lnTo>
                      <a:pt x="960" y="105"/>
                    </a:lnTo>
                    <a:lnTo>
                      <a:pt x="965" y="111"/>
                    </a:lnTo>
                    <a:lnTo>
                      <a:pt x="965" y="119"/>
                    </a:lnTo>
                    <a:lnTo>
                      <a:pt x="965" y="128"/>
                    </a:lnTo>
                    <a:lnTo>
                      <a:pt x="965" y="136"/>
                    </a:lnTo>
                    <a:lnTo>
                      <a:pt x="969" y="145"/>
                    </a:lnTo>
                    <a:lnTo>
                      <a:pt x="969" y="154"/>
                    </a:lnTo>
                    <a:lnTo>
                      <a:pt x="974" y="162"/>
                    </a:lnTo>
                    <a:lnTo>
                      <a:pt x="978" y="171"/>
                    </a:lnTo>
                    <a:lnTo>
                      <a:pt x="978" y="179"/>
                    </a:lnTo>
                    <a:lnTo>
                      <a:pt x="978" y="188"/>
                    </a:lnTo>
                    <a:lnTo>
                      <a:pt x="978" y="196"/>
                    </a:lnTo>
                    <a:lnTo>
                      <a:pt x="983" y="202"/>
                    </a:lnTo>
                    <a:lnTo>
                      <a:pt x="983" y="211"/>
                    </a:lnTo>
                    <a:lnTo>
                      <a:pt x="983" y="219"/>
                    </a:lnTo>
                    <a:lnTo>
                      <a:pt x="987" y="228"/>
                    </a:lnTo>
                    <a:lnTo>
                      <a:pt x="987" y="236"/>
                    </a:lnTo>
                    <a:lnTo>
                      <a:pt x="992" y="245"/>
                    </a:lnTo>
                    <a:lnTo>
                      <a:pt x="992" y="250"/>
                    </a:lnTo>
                    <a:lnTo>
                      <a:pt x="997" y="259"/>
                    </a:lnTo>
                    <a:lnTo>
                      <a:pt x="997" y="265"/>
                    </a:lnTo>
                    <a:lnTo>
                      <a:pt x="997" y="273"/>
                    </a:lnTo>
                    <a:lnTo>
                      <a:pt x="997" y="282"/>
                    </a:lnTo>
                    <a:lnTo>
                      <a:pt x="997" y="287"/>
                    </a:lnTo>
                    <a:lnTo>
                      <a:pt x="997" y="293"/>
                    </a:lnTo>
                    <a:lnTo>
                      <a:pt x="997" y="302"/>
                    </a:lnTo>
                    <a:lnTo>
                      <a:pt x="997" y="310"/>
                    </a:lnTo>
                    <a:lnTo>
                      <a:pt x="997" y="322"/>
                    </a:lnTo>
                    <a:lnTo>
                      <a:pt x="997" y="330"/>
                    </a:lnTo>
                    <a:lnTo>
                      <a:pt x="997" y="339"/>
                    </a:lnTo>
                    <a:lnTo>
                      <a:pt x="997" y="344"/>
                    </a:lnTo>
                    <a:lnTo>
                      <a:pt x="992" y="350"/>
                    </a:lnTo>
                    <a:lnTo>
                      <a:pt x="987" y="353"/>
                    </a:lnTo>
                    <a:lnTo>
                      <a:pt x="978" y="353"/>
                    </a:lnTo>
                    <a:lnTo>
                      <a:pt x="965" y="353"/>
                    </a:lnTo>
                    <a:lnTo>
                      <a:pt x="951" y="353"/>
                    </a:lnTo>
                    <a:lnTo>
                      <a:pt x="933" y="356"/>
                    </a:lnTo>
                    <a:lnTo>
                      <a:pt x="923" y="356"/>
                    </a:lnTo>
                    <a:lnTo>
                      <a:pt x="910" y="356"/>
                    </a:lnTo>
                    <a:lnTo>
                      <a:pt x="901" y="359"/>
                    </a:lnTo>
                    <a:lnTo>
                      <a:pt x="891" y="359"/>
                    </a:lnTo>
                    <a:lnTo>
                      <a:pt x="878" y="359"/>
                    </a:lnTo>
                    <a:lnTo>
                      <a:pt x="864" y="361"/>
                    </a:lnTo>
                    <a:lnTo>
                      <a:pt x="850" y="361"/>
                    </a:lnTo>
                    <a:lnTo>
                      <a:pt x="837" y="364"/>
                    </a:lnTo>
                    <a:lnTo>
                      <a:pt x="818" y="364"/>
                    </a:lnTo>
                    <a:lnTo>
                      <a:pt x="805" y="367"/>
                    </a:lnTo>
                    <a:lnTo>
                      <a:pt x="791" y="367"/>
                    </a:lnTo>
                    <a:lnTo>
                      <a:pt x="773" y="370"/>
                    </a:lnTo>
                    <a:lnTo>
                      <a:pt x="754" y="370"/>
                    </a:lnTo>
                    <a:lnTo>
                      <a:pt x="736" y="373"/>
                    </a:lnTo>
                    <a:lnTo>
                      <a:pt x="722" y="376"/>
                    </a:lnTo>
                    <a:lnTo>
                      <a:pt x="704" y="379"/>
                    </a:lnTo>
                    <a:lnTo>
                      <a:pt x="681" y="379"/>
                    </a:lnTo>
                    <a:lnTo>
                      <a:pt x="668" y="379"/>
                    </a:lnTo>
                    <a:lnTo>
                      <a:pt x="645" y="381"/>
                    </a:lnTo>
                    <a:lnTo>
                      <a:pt x="626" y="384"/>
                    </a:lnTo>
                    <a:lnTo>
                      <a:pt x="608" y="387"/>
                    </a:lnTo>
                    <a:lnTo>
                      <a:pt x="590" y="390"/>
                    </a:lnTo>
                    <a:lnTo>
                      <a:pt x="567" y="390"/>
                    </a:lnTo>
                    <a:lnTo>
                      <a:pt x="549" y="393"/>
                    </a:lnTo>
                    <a:lnTo>
                      <a:pt x="526" y="396"/>
                    </a:lnTo>
                    <a:lnTo>
                      <a:pt x="508" y="398"/>
                    </a:lnTo>
                    <a:lnTo>
                      <a:pt x="485" y="398"/>
                    </a:lnTo>
                    <a:lnTo>
                      <a:pt x="466" y="401"/>
                    </a:lnTo>
                    <a:lnTo>
                      <a:pt x="448" y="401"/>
                    </a:lnTo>
                    <a:lnTo>
                      <a:pt x="430" y="404"/>
                    </a:lnTo>
                    <a:lnTo>
                      <a:pt x="412" y="407"/>
                    </a:lnTo>
                    <a:lnTo>
                      <a:pt x="389" y="410"/>
                    </a:lnTo>
                    <a:lnTo>
                      <a:pt x="366" y="413"/>
                    </a:lnTo>
                    <a:lnTo>
                      <a:pt x="348" y="413"/>
                    </a:lnTo>
                    <a:lnTo>
                      <a:pt x="329" y="413"/>
                    </a:lnTo>
                    <a:lnTo>
                      <a:pt x="311" y="416"/>
                    </a:lnTo>
                    <a:lnTo>
                      <a:pt x="293" y="418"/>
                    </a:lnTo>
                    <a:lnTo>
                      <a:pt x="275" y="418"/>
                    </a:lnTo>
                    <a:lnTo>
                      <a:pt x="256" y="421"/>
                    </a:lnTo>
                    <a:lnTo>
                      <a:pt x="243" y="424"/>
                    </a:lnTo>
                    <a:lnTo>
                      <a:pt x="224" y="424"/>
                    </a:lnTo>
                    <a:lnTo>
                      <a:pt x="206" y="424"/>
                    </a:lnTo>
                    <a:lnTo>
                      <a:pt x="188" y="427"/>
                    </a:lnTo>
                    <a:lnTo>
                      <a:pt x="174" y="430"/>
                    </a:lnTo>
                    <a:lnTo>
                      <a:pt x="156" y="430"/>
                    </a:lnTo>
                    <a:lnTo>
                      <a:pt x="142" y="433"/>
                    </a:lnTo>
                    <a:lnTo>
                      <a:pt x="128" y="433"/>
                    </a:lnTo>
                    <a:lnTo>
                      <a:pt x="119" y="433"/>
                    </a:lnTo>
                    <a:lnTo>
                      <a:pt x="101" y="433"/>
                    </a:lnTo>
                    <a:lnTo>
                      <a:pt x="87" y="435"/>
                    </a:lnTo>
                    <a:lnTo>
                      <a:pt x="78" y="435"/>
                    </a:lnTo>
                    <a:lnTo>
                      <a:pt x="69" y="435"/>
                    </a:lnTo>
                    <a:lnTo>
                      <a:pt x="46" y="438"/>
                    </a:lnTo>
                    <a:lnTo>
                      <a:pt x="32" y="441"/>
                    </a:lnTo>
                    <a:lnTo>
                      <a:pt x="0" y="5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38" name="Freeform 192"/>
              <p:cNvSpPr>
                <a:spLocks/>
              </p:cNvSpPr>
              <p:nvPr>
                <p:custDataLst>
                  <p:tags r:id="rId23"/>
                </p:custDataLst>
              </p:nvPr>
            </p:nvSpPr>
            <p:spPr bwMode="gray">
              <a:xfrm>
                <a:off x="1134" y="1621"/>
                <a:ext cx="3424" cy="421"/>
              </a:xfrm>
              <a:custGeom>
                <a:avLst/>
                <a:gdLst>
                  <a:gd name="T0" fmla="*/ 0 w 3341"/>
                  <a:gd name="T1" fmla="*/ 22 h 461"/>
                  <a:gd name="T2" fmla="*/ 9 w 3341"/>
                  <a:gd name="T3" fmla="*/ 38 h 461"/>
                  <a:gd name="T4" fmla="*/ 14 w 3341"/>
                  <a:gd name="T5" fmla="*/ 57 h 461"/>
                  <a:gd name="T6" fmla="*/ 18 w 3341"/>
                  <a:gd name="T7" fmla="*/ 76 h 461"/>
                  <a:gd name="T8" fmla="*/ 18 w 3341"/>
                  <a:gd name="T9" fmla="*/ 92 h 461"/>
                  <a:gd name="T10" fmla="*/ 35 w 3341"/>
                  <a:gd name="T11" fmla="*/ 111 h 461"/>
                  <a:gd name="T12" fmla="*/ 35 w 3341"/>
                  <a:gd name="T13" fmla="*/ 130 h 461"/>
                  <a:gd name="T14" fmla="*/ 102 w 3341"/>
                  <a:gd name="T15" fmla="*/ 131 h 461"/>
                  <a:gd name="T16" fmla="*/ 247 w 3341"/>
                  <a:gd name="T17" fmla="*/ 134 h 461"/>
                  <a:gd name="T18" fmla="*/ 435 w 3341"/>
                  <a:gd name="T19" fmla="*/ 137 h 461"/>
                  <a:gd name="T20" fmla="*/ 664 w 3341"/>
                  <a:gd name="T21" fmla="*/ 142 h 461"/>
                  <a:gd name="T22" fmla="*/ 896 w 3341"/>
                  <a:gd name="T23" fmla="*/ 145 h 461"/>
                  <a:gd name="T24" fmla="*/ 1122 w 3341"/>
                  <a:gd name="T25" fmla="*/ 149 h 461"/>
                  <a:gd name="T26" fmla="*/ 1325 w 3341"/>
                  <a:gd name="T27" fmla="*/ 150 h 461"/>
                  <a:gd name="T28" fmla="*/ 1484 w 3341"/>
                  <a:gd name="T29" fmla="*/ 152 h 461"/>
                  <a:gd name="T30" fmla="*/ 1583 w 3341"/>
                  <a:gd name="T31" fmla="*/ 152 h 461"/>
                  <a:gd name="T32" fmla="*/ 1681 w 3341"/>
                  <a:gd name="T33" fmla="*/ 152 h 461"/>
                  <a:gd name="T34" fmla="*/ 1801 w 3341"/>
                  <a:gd name="T35" fmla="*/ 153 h 461"/>
                  <a:gd name="T36" fmla="*/ 1832 w 3341"/>
                  <a:gd name="T37" fmla="*/ 142 h 461"/>
                  <a:gd name="T38" fmla="*/ 1925 w 3341"/>
                  <a:gd name="T39" fmla="*/ 125 h 461"/>
                  <a:gd name="T40" fmla="*/ 2072 w 3341"/>
                  <a:gd name="T41" fmla="*/ 111 h 461"/>
                  <a:gd name="T42" fmla="*/ 2183 w 3341"/>
                  <a:gd name="T43" fmla="*/ 102 h 461"/>
                  <a:gd name="T44" fmla="*/ 2302 w 3341"/>
                  <a:gd name="T45" fmla="*/ 97 h 461"/>
                  <a:gd name="T46" fmla="*/ 2404 w 3341"/>
                  <a:gd name="T47" fmla="*/ 94 h 461"/>
                  <a:gd name="T48" fmla="*/ 2551 w 3341"/>
                  <a:gd name="T49" fmla="*/ 94 h 461"/>
                  <a:gd name="T50" fmla="*/ 2705 w 3341"/>
                  <a:gd name="T51" fmla="*/ 101 h 461"/>
                  <a:gd name="T52" fmla="*/ 2823 w 3341"/>
                  <a:gd name="T53" fmla="*/ 111 h 461"/>
                  <a:gd name="T54" fmla="*/ 2957 w 3341"/>
                  <a:gd name="T55" fmla="*/ 128 h 461"/>
                  <a:gd name="T56" fmla="*/ 3060 w 3341"/>
                  <a:gd name="T57" fmla="*/ 148 h 461"/>
                  <a:gd name="T58" fmla="*/ 3119 w 3341"/>
                  <a:gd name="T59" fmla="*/ 156 h 461"/>
                  <a:gd name="T60" fmla="*/ 3247 w 3341"/>
                  <a:gd name="T61" fmla="*/ 152 h 461"/>
                  <a:gd name="T62" fmla="*/ 3417 w 3341"/>
                  <a:gd name="T63" fmla="*/ 150 h 461"/>
                  <a:gd name="T64" fmla="*/ 3622 w 3341"/>
                  <a:gd name="T65" fmla="*/ 145 h 461"/>
                  <a:gd name="T66" fmla="*/ 3833 w 3341"/>
                  <a:gd name="T67" fmla="*/ 142 h 461"/>
                  <a:gd name="T68" fmla="*/ 4056 w 3341"/>
                  <a:gd name="T69" fmla="*/ 138 h 461"/>
                  <a:gd name="T70" fmla="*/ 4247 w 3341"/>
                  <a:gd name="T71" fmla="*/ 136 h 461"/>
                  <a:gd name="T72" fmla="*/ 4390 w 3341"/>
                  <a:gd name="T73" fmla="*/ 134 h 461"/>
                  <a:gd name="T74" fmla="*/ 4442 w 3341"/>
                  <a:gd name="T75" fmla="*/ 0 h 461"/>
                  <a:gd name="T76" fmla="*/ 4330 w 3341"/>
                  <a:gd name="T77" fmla="*/ 5 h 461"/>
                  <a:gd name="T78" fmla="*/ 4171 w 3341"/>
                  <a:gd name="T79" fmla="*/ 6 h 461"/>
                  <a:gd name="T80" fmla="*/ 3938 w 3341"/>
                  <a:gd name="T81" fmla="*/ 13 h 461"/>
                  <a:gd name="T82" fmla="*/ 3671 w 3341"/>
                  <a:gd name="T83" fmla="*/ 20 h 461"/>
                  <a:gd name="T84" fmla="*/ 3337 w 3341"/>
                  <a:gd name="T85" fmla="*/ 26 h 461"/>
                  <a:gd name="T86" fmla="*/ 2982 w 3341"/>
                  <a:gd name="T87" fmla="*/ 32 h 461"/>
                  <a:gd name="T88" fmla="*/ 2594 w 3341"/>
                  <a:gd name="T89" fmla="*/ 36 h 461"/>
                  <a:gd name="T90" fmla="*/ 2203 w 3341"/>
                  <a:gd name="T91" fmla="*/ 39 h 461"/>
                  <a:gd name="T92" fmla="*/ 1806 w 3341"/>
                  <a:gd name="T93" fmla="*/ 39 h 461"/>
                  <a:gd name="T94" fmla="*/ 1436 w 3341"/>
                  <a:gd name="T95" fmla="*/ 37 h 461"/>
                  <a:gd name="T96" fmla="*/ 1104 w 3341"/>
                  <a:gd name="T97" fmla="*/ 33 h 461"/>
                  <a:gd name="T98" fmla="*/ 815 w 3341"/>
                  <a:gd name="T99" fmla="*/ 28 h 461"/>
                  <a:gd name="T100" fmla="*/ 564 w 3341"/>
                  <a:gd name="T101" fmla="*/ 23 h 461"/>
                  <a:gd name="T102" fmla="*/ 348 w 3341"/>
                  <a:gd name="T103" fmla="*/ 17 h 461"/>
                  <a:gd name="T104" fmla="*/ 192 w 3341"/>
                  <a:gd name="T105" fmla="*/ 12 h 461"/>
                  <a:gd name="T106" fmla="*/ 73 w 3341"/>
                  <a:gd name="T107" fmla="*/ 7 h 4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41"/>
                  <a:gd name="T163" fmla="*/ 0 h 461"/>
                  <a:gd name="T164" fmla="*/ 3341 w 3341"/>
                  <a:gd name="T165" fmla="*/ 461 h 4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41" h="461">
                    <a:moveTo>
                      <a:pt x="0" y="14"/>
                    </a:moveTo>
                    <a:lnTo>
                      <a:pt x="0" y="22"/>
                    </a:lnTo>
                    <a:lnTo>
                      <a:pt x="0" y="31"/>
                    </a:lnTo>
                    <a:lnTo>
                      <a:pt x="0" y="42"/>
                    </a:lnTo>
                    <a:lnTo>
                      <a:pt x="0" y="54"/>
                    </a:lnTo>
                    <a:lnTo>
                      <a:pt x="0" y="57"/>
                    </a:lnTo>
                    <a:lnTo>
                      <a:pt x="0" y="65"/>
                    </a:lnTo>
                    <a:lnTo>
                      <a:pt x="0" y="71"/>
                    </a:lnTo>
                    <a:lnTo>
                      <a:pt x="5" y="76"/>
                    </a:lnTo>
                    <a:lnTo>
                      <a:pt x="5" y="82"/>
                    </a:lnTo>
                    <a:lnTo>
                      <a:pt x="5" y="88"/>
                    </a:lnTo>
                    <a:lnTo>
                      <a:pt x="5" y="96"/>
                    </a:lnTo>
                    <a:lnTo>
                      <a:pt x="9" y="105"/>
                    </a:lnTo>
                    <a:lnTo>
                      <a:pt x="9" y="113"/>
                    </a:lnTo>
                    <a:lnTo>
                      <a:pt x="9" y="119"/>
                    </a:lnTo>
                    <a:lnTo>
                      <a:pt x="9" y="128"/>
                    </a:lnTo>
                    <a:lnTo>
                      <a:pt x="14" y="136"/>
                    </a:lnTo>
                    <a:lnTo>
                      <a:pt x="14" y="142"/>
                    </a:lnTo>
                    <a:lnTo>
                      <a:pt x="14" y="153"/>
                    </a:lnTo>
                    <a:lnTo>
                      <a:pt x="14" y="159"/>
                    </a:lnTo>
                    <a:lnTo>
                      <a:pt x="14" y="168"/>
                    </a:lnTo>
                    <a:lnTo>
                      <a:pt x="14" y="173"/>
                    </a:lnTo>
                    <a:lnTo>
                      <a:pt x="14" y="182"/>
                    </a:lnTo>
                    <a:lnTo>
                      <a:pt x="14" y="190"/>
                    </a:lnTo>
                    <a:lnTo>
                      <a:pt x="18" y="199"/>
                    </a:lnTo>
                    <a:lnTo>
                      <a:pt x="18" y="205"/>
                    </a:lnTo>
                    <a:lnTo>
                      <a:pt x="18" y="216"/>
                    </a:lnTo>
                    <a:lnTo>
                      <a:pt x="18" y="225"/>
                    </a:lnTo>
                    <a:lnTo>
                      <a:pt x="18" y="230"/>
                    </a:lnTo>
                    <a:lnTo>
                      <a:pt x="18" y="239"/>
                    </a:lnTo>
                    <a:lnTo>
                      <a:pt x="18" y="244"/>
                    </a:lnTo>
                    <a:lnTo>
                      <a:pt x="18" y="253"/>
                    </a:lnTo>
                    <a:lnTo>
                      <a:pt x="18" y="262"/>
                    </a:lnTo>
                    <a:lnTo>
                      <a:pt x="18" y="267"/>
                    </a:lnTo>
                    <a:lnTo>
                      <a:pt x="18" y="273"/>
                    </a:lnTo>
                    <a:lnTo>
                      <a:pt x="18" y="281"/>
                    </a:lnTo>
                    <a:lnTo>
                      <a:pt x="23" y="290"/>
                    </a:lnTo>
                    <a:lnTo>
                      <a:pt x="23" y="296"/>
                    </a:lnTo>
                    <a:lnTo>
                      <a:pt x="23" y="304"/>
                    </a:lnTo>
                    <a:lnTo>
                      <a:pt x="23" y="310"/>
                    </a:lnTo>
                    <a:lnTo>
                      <a:pt x="23" y="316"/>
                    </a:lnTo>
                    <a:lnTo>
                      <a:pt x="23" y="327"/>
                    </a:lnTo>
                    <a:lnTo>
                      <a:pt x="23" y="341"/>
                    </a:lnTo>
                    <a:lnTo>
                      <a:pt x="23" y="350"/>
                    </a:lnTo>
                    <a:lnTo>
                      <a:pt x="23" y="361"/>
                    </a:lnTo>
                    <a:lnTo>
                      <a:pt x="23" y="367"/>
                    </a:lnTo>
                    <a:lnTo>
                      <a:pt x="23" y="375"/>
                    </a:lnTo>
                    <a:lnTo>
                      <a:pt x="23" y="381"/>
                    </a:lnTo>
                    <a:lnTo>
                      <a:pt x="23" y="387"/>
                    </a:lnTo>
                    <a:lnTo>
                      <a:pt x="23" y="390"/>
                    </a:lnTo>
                    <a:lnTo>
                      <a:pt x="27" y="390"/>
                    </a:lnTo>
                    <a:lnTo>
                      <a:pt x="37" y="390"/>
                    </a:lnTo>
                    <a:lnTo>
                      <a:pt x="50" y="390"/>
                    </a:lnTo>
                    <a:lnTo>
                      <a:pt x="69" y="390"/>
                    </a:lnTo>
                    <a:lnTo>
                      <a:pt x="78" y="390"/>
                    </a:lnTo>
                    <a:lnTo>
                      <a:pt x="91" y="390"/>
                    </a:lnTo>
                    <a:lnTo>
                      <a:pt x="101" y="393"/>
                    </a:lnTo>
                    <a:lnTo>
                      <a:pt x="114" y="393"/>
                    </a:lnTo>
                    <a:lnTo>
                      <a:pt x="133" y="395"/>
                    </a:lnTo>
                    <a:lnTo>
                      <a:pt x="146" y="398"/>
                    </a:lnTo>
                    <a:lnTo>
                      <a:pt x="164" y="398"/>
                    </a:lnTo>
                    <a:lnTo>
                      <a:pt x="183" y="398"/>
                    </a:lnTo>
                    <a:lnTo>
                      <a:pt x="201" y="398"/>
                    </a:lnTo>
                    <a:lnTo>
                      <a:pt x="219" y="401"/>
                    </a:lnTo>
                    <a:lnTo>
                      <a:pt x="238" y="401"/>
                    </a:lnTo>
                    <a:lnTo>
                      <a:pt x="260" y="404"/>
                    </a:lnTo>
                    <a:lnTo>
                      <a:pt x="279" y="404"/>
                    </a:lnTo>
                    <a:lnTo>
                      <a:pt x="306" y="407"/>
                    </a:lnTo>
                    <a:lnTo>
                      <a:pt x="324" y="410"/>
                    </a:lnTo>
                    <a:lnTo>
                      <a:pt x="352" y="410"/>
                    </a:lnTo>
                    <a:lnTo>
                      <a:pt x="375" y="412"/>
                    </a:lnTo>
                    <a:lnTo>
                      <a:pt x="398" y="412"/>
                    </a:lnTo>
                    <a:lnTo>
                      <a:pt x="420" y="415"/>
                    </a:lnTo>
                    <a:lnTo>
                      <a:pt x="443" y="418"/>
                    </a:lnTo>
                    <a:lnTo>
                      <a:pt x="466" y="421"/>
                    </a:lnTo>
                    <a:lnTo>
                      <a:pt x="494" y="421"/>
                    </a:lnTo>
                    <a:lnTo>
                      <a:pt x="521" y="421"/>
                    </a:lnTo>
                    <a:lnTo>
                      <a:pt x="544" y="424"/>
                    </a:lnTo>
                    <a:lnTo>
                      <a:pt x="567" y="424"/>
                    </a:lnTo>
                    <a:lnTo>
                      <a:pt x="594" y="427"/>
                    </a:lnTo>
                    <a:lnTo>
                      <a:pt x="617" y="427"/>
                    </a:lnTo>
                    <a:lnTo>
                      <a:pt x="644" y="432"/>
                    </a:lnTo>
                    <a:lnTo>
                      <a:pt x="667" y="432"/>
                    </a:lnTo>
                    <a:lnTo>
                      <a:pt x="695" y="432"/>
                    </a:lnTo>
                    <a:lnTo>
                      <a:pt x="717" y="432"/>
                    </a:lnTo>
                    <a:lnTo>
                      <a:pt x="745" y="435"/>
                    </a:lnTo>
                    <a:lnTo>
                      <a:pt x="768" y="435"/>
                    </a:lnTo>
                    <a:lnTo>
                      <a:pt x="791" y="438"/>
                    </a:lnTo>
                    <a:lnTo>
                      <a:pt x="813" y="438"/>
                    </a:lnTo>
                    <a:lnTo>
                      <a:pt x="836" y="441"/>
                    </a:lnTo>
                    <a:lnTo>
                      <a:pt x="859" y="441"/>
                    </a:lnTo>
                    <a:lnTo>
                      <a:pt x="882" y="444"/>
                    </a:lnTo>
                    <a:lnTo>
                      <a:pt x="905" y="444"/>
                    </a:lnTo>
                    <a:lnTo>
                      <a:pt x="928" y="444"/>
                    </a:lnTo>
                    <a:lnTo>
                      <a:pt x="946" y="444"/>
                    </a:lnTo>
                    <a:lnTo>
                      <a:pt x="969" y="444"/>
                    </a:lnTo>
                    <a:lnTo>
                      <a:pt x="987" y="444"/>
                    </a:lnTo>
                    <a:lnTo>
                      <a:pt x="1005" y="447"/>
                    </a:lnTo>
                    <a:lnTo>
                      <a:pt x="1024" y="447"/>
                    </a:lnTo>
                    <a:lnTo>
                      <a:pt x="1042" y="449"/>
                    </a:lnTo>
                    <a:lnTo>
                      <a:pt x="1060" y="449"/>
                    </a:lnTo>
                    <a:lnTo>
                      <a:pt x="1074" y="452"/>
                    </a:lnTo>
                    <a:lnTo>
                      <a:pt x="1092" y="452"/>
                    </a:lnTo>
                    <a:lnTo>
                      <a:pt x="1106" y="452"/>
                    </a:lnTo>
                    <a:lnTo>
                      <a:pt x="1115" y="452"/>
                    </a:lnTo>
                    <a:lnTo>
                      <a:pt x="1129" y="452"/>
                    </a:lnTo>
                    <a:lnTo>
                      <a:pt x="1138" y="452"/>
                    </a:lnTo>
                    <a:lnTo>
                      <a:pt x="1147" y="452"/>
                    </a:lnTo>
                    <a:lnTo>
                      <a:pt x="1156" y="452"/>
                    </a:lnTo>
                    <a:lnTo>
                      <a:pt x="1165" y="452"/>
                    </a:lnTo>
                    <a:lnTo>
                      <a:pt x="1179" y="452"/>
                    </a:lnTo>
                    <a:lnTo>
                      <a:pt x="1188" y="452"/>
                    </a:lnTo>
                    <a:lnTo>
                      <a:pt x="1202" y="452"/>
                    </a:lnTo>
                    <a:lnTo>
                      <a:pt x="1211" y="452"/>
                    </a:lnTo>
                    <a:lnTo>
                      <a:pt x="1220" y="452"/>
                    </a:lnTo>
                    <a:lnTo>
                      <a:pt x="1234" y="452"/>
                    </a:lnTo>
                    <a:lnTo>
                      <a:pt x="1238" y="452"/>
                    </a:lnTo>
                    <a:lnTo>
                      <a:pt x="1252" y="452"/>
                    </a:lnTo>
                    <a:lnTo>
                      <a:pt x="1266" y="452"/>
                    </a:lnTo>
                    <a:lnTo>
                      <a:pt x="1280" y="452"/>
                    </a:lnTo>
                    <a:lnTo>
                      <a:pt x="1289" y="452"/>
                    </a:lnTo>
                    <a:lnTo>
                      <a:pt x="1302" y="452"/>
                    </a:lnTo>
                    <a:lnTo>
                      <a:pt x="1321" y="455"/>
                    </a:lnTo>
                    <a:lnTo>
                      <a:pt x="1334" y="455"/>
                    </a:lnTo>
                    <a:lnTo>
                      <a:pt x="1339" y="455"/>
                    </a:lnTo>
                    <a:lnTo>
                      <a:pt x="1344" y="458"/>
                    </a:lnTo>
                    <a:lnTo>
                      <a:pt x="1344" y="455"/>
                    </a:lnTo>
                    <a:lnTo>
                      <a:pt x="1344" y="452"/>
                    </a:lnTo>
                    <a:lnTo>
                      <a:pt x="1348" y="449"/>
                    </a:lnTo>
                    <a:lnTo>
                      <a:pt x="1353" y="444"/>
                    </a:lnTo>
                    <a:lnTo>
                      <a:pt x="1353" y="432"/>
                    </a:lnTo>
                    <a:lnTo>
                      <a:pt x="1366" y="424"/>
                    </a:lnTo>
                    <a:lnTo>
                      <a:pt x="1371" y="415"/>
                    </a:lnTo>
                    <a:lnTo>
                      <a:pt x="1389" y="404"/>
                    </a:lnTo>
                    <a:lnTo>
                      <a:pt x="1394" y="398"/>
                    </a:lnTo>
                    <a:lnTo>
                      <a:pt x="1403" y="393"/>
                    </a:lnTo>
                    <a:lnTo>
                      <a:pt x="1412" y="387"/>
                    </a:lnTo>
                    <a:lnTo>
                      <a:pt x="1421" y="381"/>
                    </a:lnTo>
                    <a:lnTo>
                      <a:pt x="1435" y="375"/>
                    </a:lnTo>
                    <a:lnTo>
                      <a:pt x="1449" y="367"/>
                    </a:lnTo>
                    <a:lnTo>
                      <a:pt x="1458" y="361"/>
                    </a:lnTo>
                    <a:lnTo>
                      <a:pt x="1476" y="356"/>
                    </a:lnTo>
                    <a:lnTo>
                      <a:pt x="1490" y="350"/>
                    </a:lnTo>
                    <a:lnTo>
                      <a:pt x="1508" y="341"/>
                    </a:lnTo>
                    <a:lnTo>
                      <a:pt x="1526" y="336"/>
                    </a:lnTo>
                    <a:lnTo>
                      <a:pt x="1545" y="327"/>
                    </a:lnTo>
                    <a:lnTo>
                      <a:pt x="1554" y="324"/>
                    </a:lnTo>
                    <a:lnTo>
                      <a:pt x="1568" y="321"/>
                    </a:lnTo>
                    <a:lnTo>
                      <a:pt x="1577" y="318"/>
                    </a:lnTo>
                    <a:lnTo>
                      <a:pt x="1590" y="316"/>
                    </a:lnTo>
                    <a:lnTo>
                      <a:pt x="1600" y="313"/>
                    </a:lnTo>
                    <a:lnTo>
                      <a:pt x="1613" y="310"/>
                    </a:lnTo>
                    <a:lnTo>
                      <a:pt x="1627" y="304"/>
                    </a:lnTo>
                    <a:lnTo>
                      <a:pt x="1641" y="304"/>
                    </a:lnTo>
                    <a:lnTo>
                      <a:pt x="1650" y="301"/>
                    </a:lnTo>
                    <a:lnTo>
                      <a:pt x="1663" y="296"/>
                    </a:lnTo>
                    <a:lnTo>
                      <a:pt x="1677" y="293"/>
                    </a:lnTo>
                    <a:lnTo>
                      <a:pt x="1686" y="293"/>
                    </a:lnTo>
                    <a:lnTo>
                      <a:pt x="1700" y="290"/>
                    </a:lnTo>
                    <a:lnTo>
                      <a:pt x="1714" y="287"/>
                    </a:lnTo>
                    <a:lnTo>
                      <a:pt x="1723" y="284"/>
                    </a:lnTo>
                    <a:lnTo>
                      <a:pt x="1732" y="284"/>
                    </a:lnTo>
                    <a:lnTo>
                      <a:pt x="1746" y="284"/>
                    </a:lnTo>
                    <a:lnTo>
                      <a:pt x="1755" y="281"/>
                    </a:lnTo>
                    <a:lnTo>
                      <a:pt x="1769" y="279"/>
                    </a:lnTo>
                    <a:lnTo>
                      <a:pt x="1782" y="279"/>
                    </a:lnTo>
                    <a:lnTo>
                      <a:pt x="1791" y="279"/>
                    </a:lnTo>
                    <a:lnTo>
                      <a:pt x="1801" y="279"/>
                    </a:lnTo>
                    <a:lnTo>
                      <a:pt x="1814" y="279"/>
                    </a:lnTo>
                    <a:lnTo>
                      <a:pt x="1823" y="279"/>
                    </a:lnTo>
                    <a:lnTo>
                      <a:pt x="1842" y="279"/>
                    </a:lnTo>
                    <a:lnTo>
                      <a:pt x="1860" y="279"/>
                    </a:lnTo>
                    <a:lnTo>
                      <a:pt x="1878" y="279"/>
                    </a:lnTo>
                    <a:lnTo>
                      <a:pt x="1901" y="281"/>
                    </a:lnTo>
                    <a:lnTo>
                      <a:pt x="1915" y="281"/>
                    </a:lnTo>
                    <a:lnTo>
                      <a:pt x="1933" y="284"/>
                    </a:lnTo>
                    <a:lnTo>
                      <a:pt x="1951" y="284"/>
                    </a:lnTo>
                    <a:lnTo>
                      <a:pt x="1970" y="290"/>
                    </a:lnTo>
                    <a:lnTo>
                      <a:pt x="1988" y="293"/>
                    </a:lnTo>
                    <a:lnTo>
                      <a:pt x="2002" y="296"/>
                    </a:lnTo>
                    <a:lnTo>
                      <a:pt x="2015" y="301"/>
                    </a:lnTo>
                    <a:lnTo>
                      <a:pt x="2034" y="304"/>
                    </a:lnTo>
                    <a:lnTo>
                      <a:pt x="2043" y="307"/>
                    </a:lnTo>
                    <a:lnTo>
                      <a:pt x="2057" y="313"/>
                    </a:lnTo>
                    <a:lnTo>
                      <a:pt x="2070" y="316"/>
                    </a:lnTo>
                    <a:lnTo>
                      <a:pt x="2084" y="321"/>
                    </a:lnTo>
                    <a:lnTo>
                      <a:pt x="2093" y="324"/>
                    </a:lnTo>
                    <a:lnTo>
                      <a:pt x="2102" y="330"/>
                    </a:lnTo>
                    <a:lnTo>
                      <a:pt x="2111" y="336"/>
                    </a:lnTo>
                    <a:lnTo>
                      <a:pt x="2125" y="338"/>
                    </a:lnTo>
                    <a:lnTo>
                      <a:pt x="2148" y="347"/>
                    </a:lnTo>
                    <a:lnTo>
                      <a:pt x="2162" y="356"/>
                    </a:lnTo>
                    <a:lnTo>
                      <a:pt x="2180" y="364"/>
                    </a:lnTo>
                    <a:lnTo>
                      <a:pt x="2189" y="373"/>
                    </a:lnTo>
                    <a:lnTo>
                      <a:pt x="2203" y="378"/>
                    </a:lnTo>
                    <a:lnTo>
                      <a:pt x="2216" y="390"/>
                    </a:lnTo>
                    <a:lnTo>
                      <a:pt x="2230" y="398"/>
                    </a:lnTo>
                    <a:lnTo>
                      <a:pt x="2239" y="404"/>
                    </a:lnTo>
                    <a:lnTo>
                      <a:pt x="2253" y="412"/>
                    </a:lnTo>
                    <a:lnTo>
                      <a:pt x="2262" y="424"/>
                    </a:lnTo>
                    <a:lnTo>
                      <a:pt x="2271" y="432"/>
                    </a:lnTo>
                    <a:lnTo>
                      <a:pt x="2280" y="438"/>
                    </a:lnTo>
                    <a:lnTo>
                      <a:pt x="2285" y="444"/>
                    </a:lnTo>
                    <a:lnTo>
                      <a:pt x="2290" y="449"/>
                    </a:lnTo>
                    <a:lnTo>
                      <a:pt x="2299" y="458"/>
                    </a:lnTo>
                    <a:lnTo>
                      <a:pt x="2299" y="461"/>
                    </a:lnTo>
                    <a:lnTo>
                      <a:pt x="2303" y="461"/>
                    </a:lnTo>
                    <a:lnTo>
                      <a:pt x="2312" y="461"/>
                    </a:lnTo>
                    <a:lnTo>
                      <a:pt x="2322" y="461"/>
                    </a:lnTo>
                    <a:lnTo>
                      <a:pt x="2340" y="458"/>
                    </a:lnTo>
                    <a:lnTo>
                      <a:pt x="2349" y="455"/>
                    </a:lnTo>
                    <a:lnTo>
                      <a:pt x="2363" y="455"/>
                    </a:lnTo>
                    <a:lnTo>
                      <a:pt x="2372" y="455"/>
                    </a:lnTo>
                    <a:lnTo>
                      <a:pt x="2386" y="455"/>
                    </a:lnTo>
                    <a:lnTo>
                      <a:pt x="2404" y="452"/>
                    </a:lnTo>
                    <a:lnTo>
                      <a:pt x="2418" y="452"/>
                    </a:lnTo>
                    <a:lnTo>
                      <a:pt x="2436" y="452"/>
                    </a:lnTo>
                    <a:lnTo>
                      <a:pt x="2454" y="452"/>
                    </a:lnTo>
                    <a:lnTo>
                      <a:pt x="2472" y="449"/>
                    </a:lnTo>
                    <a:lnTo>
                      <a:pt x="2486" y="447"/>
                    </a:lnTo>
                    <a:lnTo>
                      <a:pt x="2504" y="444"/>
                    </a:lnTo>
                    <a:lnTo>
                      <a:pt x="2523" y="444"/>
                    </a:lnTo>
                    <a:lnTo>
                      <a:pt x="2546" y="444"/>
                    </a:lnTo>
                    <a:lnTo>
                      <a:pt x="2564" y="444"/>
                    </a:lnTo>
                    <a:lnTo>
                      <a:pt x="2587" y="441"/>
                    </a:lnTo>
                    <a:lnTo>
                      <a:pt x="2610" y="441"/>
                    </a:lnTo>
                    <a:lnTo>
                      <a:pt x="2628" y="438"/>
                    </a:lnTo>
                    <a:lnTo>
                      <a:pt x="2651" y="438"/>
                    </a:lnTo>
                    <a:lnTo>
                      <a:pt x="2678" y="432"/>
                    </a:lnTo>
                    <a:lnTo>
                      <a:pt x="2696" y="432"/>
                    </a:lnTo>
                    <a:lnTo>
                      <a:pt x="2719" y="432"/>
                    </a:lnTo>
                    <a:lnTo>
                      <a:pt x="2747" y="432"/>
                    </a:lnTo>
                    <a:lnTo>
                      <a:pt x="2765" y="430"/>
                    </a:lnTo>
                    <a:lnTo>
                      <a:pt x="2792" y="430"/>
                    </a:lnTo>
                    <a:lnTo>
                      <a:pt x="2815" y="427"/>
                    </a:lnTo>
                    <a:lnTo>
                      <a:pt x="2838" y="424"/>
                    </a:lnTo>
                    <a:lnTo>
                      <a:pt x="2856" y="424"/>
                    </a:lnTo>
                    <a:lnTo>
                      <a:pt x="2884" y="421"/>
                    </a:lnTo>
                    <a:lnTo>
                      <a:pt x="2907" y="421"/>
                    </a:lnTo>
                    <a:lnTo>
                      <a:pt x="2929" y="421"/>
                    </a:lnTo>
                    <a:lnTo>
                      <a:pt x="2952" y="418"/>
                    </a:lnTo>
                    <a:lnTo>
                      <a:pt x="2980" y="415"/>
                    </a:lnTo>
                    <a:lnTo>
                      <a:pt x="2998" y="412"/>
                    </a:lnTo>
                    <a:lnTo>
                      <a:pt x="3021" y="412"/>
                    </a:lnTo>
                    <a:lnTo>
                      <a:pt x="3039" y="412"/>
                    </a:lnTo>
                    <a:lnTo>
                      <a:pt x="3062" y="410"/>
                    </a:lnTo>
                    <a:lnTo>
                      <a:pt x="3085" y="410"/>
                    </a:lnTo>
                    <a:lnTo>
                      <a:pt x="3103" y="410"/>
                    </a:lnTo>
                    <a:lnTo>
                      <a:pt x="3126" y="404"/>
                    </a:lnTo>
                    <a:lnTo>
                      <a:pt x="3144" y="404"/>
                    </a:lnTo>
                    <a:lnTo>
                      <a:pt x="3162" y="404"/>
                    </a:lnTo>
                    <a:lnTo>
                      <a:pt x="3181" y="401"/>
                    </a:lnTo>
                    <a:lnTo>
                      <a:pt x="3199" y="401"/>
                    </a:lnTo>
                    <a:lnTo>
                      <a:pt x="3213" y="401"/>
                    </a:lnTo>
                    <a:lnTo>
                      <a:pt x="3231" y="398"/>
                    </a:lnTo>
                    <a:lnTo>
                      <a:pt x="3245" y="398"/>
                    </a:lnTo>
                    <a:lnTo>
                      <a:pt x="3258" y="398"/>
                    </a:lnTo>
                    <a:lnTo>
                      <a:pt x="3272" y="398"/>
                    </a:lnTo>
                    <a:lnTo>
                      <a:pt x="3281" y="398"/>
                    </a:lnTo>
                    <a:lnTo>
                      <a:pt x="3295" y="398"/>
                    </a:lnTo>
                    <a:lnTo>
                      <a:pt x="3304" y="398"/>
                    </a:lnTo>
                    <a:lnTo>
                      <a:pt x="3313" y="398"/>
                    </a:lnTo>
                    <a:lnTo>
                      <a:pt x="3332" y="398"/>
                    </a:lnTo>
                    <a:lnTo>
                      <a:pt x="3341" y="398"/>
                    </a:lnTo>
                    <a:lnTo>
                      <a:pt x="3309" y="0"/>
                    </a:lnTo>
                    <a:lnTo>
                      <a:pt x="3304" y="0"/>
                    </a:lnTo>
                    <a:lnTo>
                      <a:pt x="3295" y="0"/>
                    </a:lnTo>
                    <a:lnTo>
                      <a:pt x="3281" y="0"/>
                    </a:lnTo>
                    <a:lnTo>
                      <a:pt x="3263" y="2"/>
                    </a:lnTo>
                    <a:lnTo>
                      <a:pt x="3254" y="2"/>
                    </a:lnTo>
                    <a:lnTo>
                      <a:pt x="3245" y="5"/>
                    </a:lnTo>
                    <a:lnTo>
                      <a:pt x="3226" y="8"/>
                    </a:lnTo>
                    <a:lnTo>
                      <a:pt x="3213" y="8"/>
                    </a:lnTo>
                    <a:lnTo>
                      <a:pt x="3199" y="11"/>
                    </a:lnTo>
                    <a:lnTo>
                      <a:pt x="3181" y="14"/>
                    </a:lnTo>
                    <a:lnTo>
                      <a:pt x="3162" y="14"/>
                    </a:lnTo>
                    <a:lnTo>
                      <a:pt x="3144" y="17"/>
                    </a:lnTo>
                    <a:lnTo>
                      <a:pt x="3126" y="19"/>
                    </a:lnTo>
                    <a:lnTo>
                      <a:pt x="3108" y="19"/>
                    </a:lnTo>
                    <a:lnTo>
                      <a:pt x="3085" y="22"/>
                    </a:lnTo>
                    <a:lnTo>
                      <a:pt x="3062" y="25"/>
                    </a:lnTo>
                    <a:lnTo>
                      <a:pt x="3039" y="25"/>
                    </a:lnTo>
                    <a:lnTo>
                      <a:pt x="3012" y="31"/>
                    </a:lnTo>
                    <a:lnTo>
                      <a:pt x="2989" y="34"/>
                    </a:lnTo>
                    <a:lnTo>
                      <a:pt x="2966" y="34"/>
                    </a:lnTo>
                    <a:lnTo>
                      <a:pt x="2934" y="37"/>
                    </a:lnTo>
                    <a:lnTo>
                      <a:pt x="2907" y="42"/>
                    </a:lnTo>
                    <a:lnTo>
                      <a:pt x="2879" y="45"/>
                    </a:lnTo>
                    <a:lnTo>
                      <a:pt x="2852" y="48"/>
                    </a:lnTo>
                    <a:lnTo>
                      <a:pt x="2820" y="48"/>
                    </a:lnTo>
                    <a:lnTo>
                      <a:pt x="2792" y="54"/>
                    </a:lnTo>
                    <a:lnTo>
                      <a:pt x="2760" y="57"/>
                    </a:lnTo>
                    <a:lnTo>
                      <a:pt x="2733" y="59"/>
                    </a:lnTo>
                    <a:lnTo>
                      <a:pt x="2696" y="62"/>
                    </a:lnTo>
                    <a:lnTo>
                      <a:pt x="2660" y="65"/>
                    </a:lnTo>
                    <a:lnTo>
                      <a:pt x="2628" y="68"/>
                    </a:lnTo>
                    <a:lnTo>
                      <a:pt x="2591" y="68"/>
                    </a:lnTo>
                    <a:lnTo>
                      <a:pt x="2559" y="71"/>
                    </a:lnTo>
                    <a:lnTo>
                      <a:pt x="2523" y="76"/>
                    </a:lnTo>
                    <a:lnTo>
                      <a:pt x="2486" y="76"/>
                    </a:lnTo>
                    <a:lnTo>
                      <a:pt x="2450" y="79"/>
                    </a:lnTo>
                    <a:lnTo>
                      <a:pt x="2413" y="79"/>
                    </a:lnTo>
                    <a:lnTo>
                      <a:pt x="2376" y="85"/>
                    </a:lnTo>
                    <a:lnTo>
                      <a:pt x="2335" y="85"/>
                    </a:lnTo>
                    <a:lnTo>
                      <a:pt x="2299" y="88"/>
                    </a:lnTo>
                    <a:lnTo>
                      <a:pt x="2258" y="88"/>
                    </a:lnTo>
                    <a:lnTo>
                      <a:pt x="2221" y="94"/>
                    </a:lnTo>
                    <a:lnTo>
                      <a:pt x="2180" y="96"/>
                    </a:lnTo>
                    <a:lnTo>
                      <a:pt x="2143" y="99"/>
                    </a:lnTo>
                    <a:lnTo>
                      <a:pt x="2098" y="99"/>
                    </a:lnTo>
                    <a:lnTo>
                      <a:pt x="2057" y="102"/>
                    </a:lnTo>
                    <a:lnTo>
                      <a:pt x="2015" y="102"/>
                    </a:lnTo>
                    <a:lnTo>
                      <a:pt x="1979" y="105"/>
                    </a:lnTo>
                    <a:lnTo>
                      <a:pt x="1933" y="108"/>
                    </a:lnTo>
                    <a:lnTo>
                      <a:pt x="1892" y="111"/>
                    </a:lnTo>
                    <a:lnTo>
                      <a:pt x="1855" y="111"/>
                    </a:lnTo>
                    <a:lnTo>
                      <a:pt x="1810" y="113"/>
                    </a:lnTo>
                    <a:lnTo>
                      <a:pt x="1769" y="113"/>
                    </a:lnTo>
                    <a:lnTo>
                      <a:pt x="1723" y="113"/>
                    </a:lnTo>
                    <a:lnTo>
                      <a:pt x="1682" y="113"/>
                    </a:lnTo>
                    <a:lnTo>
                      <a:pt x="1641" y="116"/>
                    </a:lnTo>
                    <a:lnTo>
                      <a:pt x="1595" y="116"/>
                    </a:lnTo>
                    <a:lnTo>
                      <a:pt x="1558" y="119"/>
                    </a:lnTo>
                    <a:lnTo>
                      <a:pt x="1513" y="119"/>
                    </a:lnTo>
                    <a:lnTo>
                      <a:pt x="1472" y="119"/>
                    </a:lnTo>
                    <a:lnTo>
                      <a:pt x="1426" y="119"/>
                    </a:lnTo>
                    <a:lnTo>
                      <a:pt x="1389" y="119"/>
                    </a:lnTo>
                    <a:lnTo>
                      <a:pt x="1344" y="116"/>
                    </a:lnTo>
                    <a:lnTo>
                      <a:pt x="1302" y="116"/>
                    </a:lnTo>
                    <a:lnTo>
                      <a:pt x="1266" y="113"/>
                    </a:lnTo>
                    <a:lnTo>
                      <a:pt x="1225" y="113"/>
                    </a:lnTo>
                    <a:lnTo>
                      <a:pt x="1184" y="113"/>
                    </a:lnTo>
                    <a:lnTo>
                      <a:pt x="1147" y="113"/>
                    </a:lnTo>
                    <a:lnTo>
                      <a:pt x="1111" y="111"/>
                    </a:lnTo>
                    <a:lnTo>
                      <a:pt x="1069" y="111"/>
                    </a:lnTo>
                    <a:lnTo>
                      <a:pt x="1033" y="108"/>
                    </a:lnTo>
                    <a:lnTo>
                      <a:pt x="996" y="108"/>
                    </a:lnTo>
                    <a:lnTo>
                      <a:pt x="964" y="102"/>
                    </a:lnTo>
                    <a:lnTo>
                      <a:pt x="928" y="102"/>
                    </a:lnTo>
                    <a:lnTo>
                      <a:pt x="891" y="102"/>
                    </a:lnTo>
                    <a:lnTo>
                      <a:pt x="855" y="102"/>
                    </a:lnTo>
                    <a:lnTo>
                      <a:pt x="823" y="99"/>
                    </a:lnTo>
                    <a:lnTo>
                      <a:pt x="791" y="96"/>
                    </a:lnTo>
                    <a:lnTo>
                      <a:pt x="759" y="94"/>
                    </a:lnTo>
                    <a:lnTo>
                      <a:pt x="727" y="91"/>
                    </a:lnTo>
                    <a:lnTo>
                      <a:pt x="695" y="88"/>
                    </a:lnTo>
                    <a:lnTo>
                      <a:pt x="667" y="88"/>
                    </a:lnTo>
                    <a:lnTo>
                      <a:pt x="635" y="85"/>
                    </a:lnTo>
                    <a:lnTo>
                      <a:pt x="608" y="85"/>
                    </a:lnTo>
                    <a:lnTo>
                      <a:pt x="580" y="79"/>
                    </a:lnTo>
                    <a:lnTo>
                      <a:pt x="544" y="76"/>
                    </a:lnTo>
                    <a:lnTo>
                      <a:pt x="521" y="76"/>
                    </a:lnTo>
                    <a:lnTo>
                      <a:pt x="494" y="76"/>
                    </a:lnTo>
                    <a:lnTo>
                      <a:pt x="466" y="71"/>
                    </a:lnTo>
                    <a:lnTo>
                      <a:pt x="443" y="68"/>
                    </a:lnTo>
                    <a:lnTo>
                      <a:pt x="420" y="68"/>
                    </a:lnTo>
                    <a:lnTo>
                      <a:pt x="398" y="68"/>
                    </a:lnTo>
                    <a:lnTo>
                      <a:pt x="366" y="65"/>
                    </a:lnTo>
                    <a:lnTo>
                      <a:pt x="347" y="59"/>
                    </a:lnTo>
                    <a:lnTo>
                      <a:pt x="324" y="57"/>
                    </a:lnTo>
                    <a:lnTo>
                      <a:pt x="306" y="57"/>
                    </a:lnTo>
                    <a:lnTo>
                      <a:pt x="279" y="54"/>
                    </a:lnTo>
                    <a:lnTo>
                      <a:pt x="260" y="51"/>
                    </a:lnTo>
                    <a:lnTo>
                      <a:pt x="238" y="48"/>
                    </a:lnTo>
                    <a:lnTo>
                      <a:pt x="224" y="45"/>
                    </a:lnTo>
                    <a:lnTo>
                      <a:pt x="201" y="42"/>
                    </a:lnTo>
                    <a:lnTo>
                      <a:pt x="187" y="42"/>
                    </a:lnTo>
                    <a:lnTo>
                      <a:pt x="169" y="37"/>
                    </a:lnTo>
                    <a:lnTo>
                      <a:pt x="160" y="37"/>
                    </a:lnTo>
                    <a:lnTo>
                      <a:pt x="142" y="34"/>
                    </a:lnTo>
                    <a:lnTo>
                      <a:pt x="128" y="34"/>
                    </a:lnTo>
                    <a:lnTo>
                      <a:pt x="114" y="31"/>
                    </a:lnTo>
                    <a:lnTo>
                      <a:pt x="101" y="31"/>
                    </a:lnTo>
                    <a:lnTo>
                      <a:pt x="87" y="25"/>
                    </a:lnTo>
                    <a:lnTo>
                      <a:pt x="78" y="25"/>
                    </a:lnTo>
                    <a:lnTo>
                      <a:pt x="64" y="25"/>
                    </a:lnTo>
                    <a:lnTo>
                      <a:pt x="55" y="22"/>
                    </a:lnTo>
                    <a:lnTo>
                      <a:pt x="37" y="19"/>
                    </a:lnTo>
                    <a:lnTo>
                      <a:pt x="23" y="19"/>
                    </a:lnTo>
                    <a:lnTo>
                      <a:pt x="14" y="14"/>
                    </a:lnTo>
                    <a:lnTo>
                      <a:pt x="0"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39" name="Freeform 193"/>
              <p:cNvSpPr>
                <a:spLocks/>
              </p:cNvSpPr>
              <p:nvPr>
                <p:custDataLst>
                  <p:tags r:id="rId24"/>
                </p:custDataLst>
              </p:nvPr>
            </p:nvSpPr>
            <p:spPr bwMode="gray">
              <a:xfrm>
                <a:off x="904" y="576"/>
                <a:ext cx="3795" cy="815"/>
              </a:xfrm>
              <a:custGeom>
                <a:avLst/>
                <a:gdLst>
                  <a:gd name="T0" fmla="*/ 2011 w 3702"/>
                  <a:gd name="T1" fmla="*/ 26 h 892"/>
                  <a:gd name="T2" fmla="*/ 1766 w 3702"/>
                  <a:gd name="T3" fmla="*/ 50 h 892"/>
                  <a:gd name="T4" fmla="*/ 1520 w 3702"/>
                  <a:gd name="T5" fmla="*/ 77 h 892"/>
                  <a:gd name="T6" fmla="*/ 1280 w 3702"/>
                  <a:gd name="T7" fmla="*/ 103 h 892"/>
                  <a:gd name="T8" fmla="*/ 1048 w 3702"/>
                  <a:gd name="T9" fmla="*/ 131 h 892"/>
                  <a:gd name="T10" fmla="*/ 824 w 3702"/>
                  <a:gd name="T11" fmla="*/ 159 h 892"/>
                  <a:gd name="T12" fmla="*/ 623 w 3702"/>
                  <a:gd name="T13" fmla="*/ 187 h 892"/>
                  <a:gd name="T14" fmla="*/ 437 w 3702"/>
                  <a:gd name="T15" fmla="*/ 210 h 892"/>
                  <a:gd name="T16" fmla="*/ 277 w 3702"/>
                  <a:gd name="T17" fmla="*/ 232 h 892"/>
                  <a:gd name="T18" fmla="*/ 153 w 3702"/>
                  <a:gd name="T19" fmla="*/ 252 h 892"/>
                  <a:gd name="T20" fmla="*/ 58 w 3702"/>
                  <a:gd name="T21" fmla="*/ 268 h 892"/>
                  <a:gd name="T22" fmla="*/ 0 w 3702"/>
                  <a:gd name="T23" fmla="*/ 280 h 892"/>
                  <a:gd name="T24" fmla="*/ 53 w 3702"/>
                  <a:gd name="T25" fmla="*/ 283 h 892"/>
                  <a:gd name="T26" fmla="*/ 141 w 3702"/>
                  <a:gd name="T27" fmla="*/ 285 h 892"/>
                  <a:gd name="T28" fmla="*/ 277 w 3702"/>
                  <a:gd name="T29" fmla="*/ 288 h 892"/>
                  <a:gd name="T30" fmla="*/ 437 w 3702"/>
                  <a:gd name="T31" fmla="*/ 291 h 892"/>
                  <a:gd name="T32" fmla="*/ 623 w 3702"/>
                  <a:gd name="T33" fmla="*/ 293 h 892"/>
                  <a:gd name="T34" fmla="*/ 844 w 3702"/>
                  <a:gd name="T35" fmla="*/ 295 h 892"/>
                  <a:gd name="T36" fmla="*/ 1078 w 3702"/>
                  <a:gd name="T37" fmla="*/ 299 h 892"/>
                  <a:gd name="T38" fmla="*/ 1329 w 3702"/>
                  <a:gd name="T39" fmla="*/ 300 h 892"/>
                  <a:gd name="T40" fmla="*/ 1594 w 3702"/>
                  <a:gd name="T41" fmla="*/ 302 h 892"/>
                  <a:gd name="T42" fmla="*/ 1865 w 3702"/>
                  <a:gd name="T43" fmla="*/ 302 h 892"/>
                  <a:gd name="T44" fmla="*/ 2141 w 3702"/>
                  <a:gd name="T45" fmla="*/ 301 h 892"/>
                  <a:gd name="T46" fmla="*/ 2413 w 3702"/>
                  <a:gd name="T47" fmla="*/ 299 h 892"/>
                  <a:gd name="T48" fmla="*/ 2685 w 3702"/>
                  <a:gd name="T49" fmla="*/ 295 h 892"/>
                  <a:gd name="T50" fmla="*/ 2961 w 3702"/>
                  <a:gd name="T51" fmla="*/ 291 h 892"/>
                  <a:gd name="T52" fmla="*/ 3236 w 3702"/>
                  <a:gd name="T53" fmla="*/ 287 h 892"/>
                  <a:gd name="T54" fmla="*/ 3508 w 3702"/>
                  <a:gd name="T55" fmla="*/ 280 h 892"/>
                  <a:gd name="T56" fmla="*/ 3760 w 3702"/>
                  <a:gd name="T57" fmla="*/ 277 h 892"/>
                  <a:gd name="T58" fmla="*/ 4015 w 3702"/>
                  <a:gd name="T59" fmla="*/ 272 h 892"/>
                  <a:gd name="T60" fmla="*/ 4245 w 3702"/>
                  <a:gd name="T61" fmla="*/ 268 h 892"/>
                  <a:gd name="T62" fmla="*/ 4449 w 3702"/>
                  <a:gd name="T63" fmla="*/ 261 h 892"/>
                  <a:gd name="T64" fmla="*/ 4629 w 3702"/>
                  <a:gd name="T65" fmla="*/ 256 h 892"/>
                  <a:gd name="T66" fmla="*/ 4775 w 3702"/>
                  <a:gd name="T67" fmla="*/ 252 h 892"/>
                  <a:gd name="T68" fmla="*/ 4887 w 3702"/>
                  <a:gd name="T69" fmla="*/ 247 h 892"/>
                  <a:gd name="T70" fmla="*/ 4968 w 3702"/>
                  <a:gd name="T71" fmla="*/ 245 h 892"/>
                  <a:gd name="T72" fmla="*/ 4942 w 3702"/>
                  <a:gd name="T73" fmla="*/ 238 h 892"/>
                  <a:gd name="T74" fmla="*/ 4849 w 3702"/>
                  <a:gd name="T75" fmla="*/ 228 h 892"/>
                  <a:gd name="T76" fmla="*/ 4716 w 3702"/>
                  <a:gd name="T77" fmla="*/ 215 h 892"/>
                  <a:gd name="T78" fmla="*/ 4547 w 3702"/>
                  <a:gd name="T79" fmla="*/ 198 h 892"/>
                  <a:gd name="T80" fmla="*/ 4358 w 3702"/>
                  <a:gd name="T81" fmla="*/ 177 h 892"/>
                  <a:gd name="T82" fmla="*/ 4141 w 3702"/>
                  <a:gd name="T83" fmla="*/ 157 h 892"/>
                  <a:gd name="T84" fmla="*/ 3927 w 3702"/>
                  <a:gd name="T85" fmla="*/ 132 h 892"/>
                  <a:gd name="T86" fmla="*/ 3699 w 3702"/>
                  <a:gd name="T87" fmla="*/ 111 h 892"/>
                  <a:gd name="T88" fmla="*/ 3488 w 3702"/>
                  <a:gd name="T89" fmla="*/ 88 h 892"/>
                  <a:gd name="T90" fmla="*/ 3287 w 3702"/>
                  <a:gd name="T91" fmla="*/ 65 h 892"/>
                  <a:gd name="T92" fmla="*/ 3107 w 3702"/>
                  <a:gd name="T93" fmla="*/ 48 h 892"/>
                  <a:gd name="T94" fmla="*/ 2968 w 3702"/>
                  <a:gd name="T95" fmla="*/ 34 h 892"/>
                  <a:gd name="T96" fmla="*/ 2862 w 3702"/>
                  <a:gd name="T97" fmla="*/ 22 h 892"/>
                  <a:gd name="T98" fmla="*/ 2776 w 3702"/>
                  <a:gd name="T99" fmla="*/ 15 h 892"/>
                  <a:gd name="T100" fmla="*/ 2701 w 3702"/>
                  <a:gd name="T101" fmla="*/ 8 h 892"/>
                  <a:gd name="T102" fmla="*/ 2622 w 3702"/>
                  <a:gd name="T103" fmla="*/ 5 h 892"/>
                  <a:gd name="T104" fmla="*/ 2549 w 3702"/>
                  <a:gd name="T105" fmla="*/ 5 h 892"/>
                  <a:gd name="T106" fmla="*/ 2418 w 3702"/>
                  <a:gd name="T107" fmla="*/ 0 h 892"/>
                  <a:gd name="T108" fmla="*/ 2313 w 3702"/>
                  <a:gd name="T109" fmla="*/ 5 h 892"/>
                  <a:gd name="T110" fmla="*/ 2229 w 3702"/>
                  <a:gd name="T111" fmla="*/ 6 h 8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02"/>
                  <a:gd name="T169" fmla="*/ 0 h 892"/>
                  <a:gd name="T170" fmla="*/ 3702 w 3702"/>
                  <a:gd name="T171" fmla="*/ 892 h 8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02" h="892">
                    <a:moveTo>
                      <a:pt x="1632" y="26"/>
                    </a:moveTo>
                    <a:lnTo>
                      <a:pt x="1595" y="35"/>
                    </a:lnTo>
                    <a:lnTo>
                      <a:pt x="1563" y="49"/>
                    </a:lnTo>
                    <a:lnTo>
                      <a:pt x="1526" y="63"/>
                    </a:lnTo>
                    <a:lnTo>
                      <a:pt x="1494" y="77"/>
                    </a:lnTo>
                    <a:lnTo>
                      <a:pt x="1453" y="89"/>
                    </a:lnTo>
                    <a:lnTo>
                      <a:pt x="1421" y="103"/>
                    </a:lnTo>
                    <a:lnTo>
                      <a:pt x="1380" y="117"/>
                    </a:lnTo>
                    <a:lnTo>
                      <a:pt x="1348" y="131"/>
                    </a:lnTo>
                    <a:lnTo>
                      <a:pt x="1312" y="149"/>
                    </a:lnTo>
                    <a:lnTo>
                      <a:pt x="1275" y="160"/>
                    </a:lnTo>
                    <a:lnTo>
                      <a:pt x="1239" y="174"/>
                    </a:lnTo>
                    <a:lnTo>
                      <a:pt x="1202" y="191"/>
                    </a:lnTo>
                    <a:lnTo>
                      <a:pt x="1165" y="208"/>
                    </a:lnTo>
                    <a:lnTo>
                      <a:pt x="1129" y="225"/>
                    </a:lnTo>
                    <a:lnTo>
                      <a:pt x="1097" y="240"/>
                    </a:lnTo>
                    <a:lnTo>
                      <a:pt x="1060" y="257"/>
                    </a:lnTo>
                    <a:lnTo>
                      <a:pt x="1024" y="274"/>
                    </a:lnTo>
                    <a:lnTo>
                      <a:pt x="987" y="288"/>
                    </a:lnTo>
                    <a:lnTo>
                      <a:pt x="951" y="305"/>
                    </a:lnTo>
                    <a:lnTo>
                      <a:pt x="919" y="322"/>
                    </a:lnTo>
                    <a:lnTo>
                      <a:pt x="877" y="339"/>
                    </a:lnTo>
                    <a:lnTo>
                      <a:pt x="846" y="354"/>
                    </a:lnTo>
                    <a:lnTo>
                      <a:pt x="814" y="371"/>
                    </a:lnTo>
                    <a:lnTo>
                      <a:pt x="777" y="388"/>
                    </a:lnTo>
                    <a:lnTo>
                      <a:pt x="745" y="408"/>
                    </a:lnTo>
                    <a:lnTo>
                      <a:pt x="713" y="422"/>
                    </a:lnTo>
                    <a:lnTo>
                      <a:pt x="681" y="439"/>
                    </a:lnTo>
                    <a:lnTo>
                      <a:pt x="644" y="456"/>
                    </a:lnTo>
                    <a:lnTo>
                      <a:pt x="612" y="470"/>
                    </a:lnTo>
                    <a:lnTo>
                      <a:pt x="580" y="487"/>
                    </a:lnTo>
                    <a:lnTo>
                      <a:pt x="548" y="504"/>
                    </a:lnTo>
                    <a:lnTo>
                      <a:pt x="526" y="519"/>
                    </a:lnTo>
                    <a:lnTo>
                      <a:pt x="494" y="536"/>
                    </a:lnTo>
                    <a:lnTo>
                      <a:pt x="462" y="550"/>
                    </a:lnTo>
                    <a:lnTo>
                      <a:pt x="434" y="564"/>
                    </a:lnTo>
                    <a:lnTo>
                      <a:pt x="407" y="579"/>
                    </a:lnTo>
                    <a:lnTo>
                      <a:pt x="379" y="593"/>
                    </a:lnTo>
                    <a:lnTo>
                      <a:pt x="352" y="607"/>
                    </a:lnTo>
                    <a:lnTo>
                      <a:pt x="325" y="621"/>
                    </a:lnTo>
                    <a:lnTo>
                      <a:pt x="302" y="638"/>
                    </a:lnTo>
                    <a:lnTo>
                      <a:pt x="274" y="650"/>
                    </a:lnTo>
                    <a:lnTo>
                      <a:pt x="251" y="664"/>
                    </a:lnTo>
                    <a:lnTo>
                      <a:pt x="229" y="675"/>
                    </a:lnTo>
                    <a:lnTo>
                      <a:pt x="206" y="687"/>
                    </a:lnTo>
                    <a:lnTo>
                      <a:pt x="187" y="701"/>
                    </a:lnTo>
                    <a:lnTo>
                      <a:pt x="169" y="712"/>
                    </a:lnTo>
                    <a:lnTo>
                      <a:pt x="146" y="724"/>
                    </a:lnTo>
                    <a:lnTo>
                      <a:pt x="133" y="735"/>
                    </a:lnTo>
                    <a:lnTo>
                      <a:pt x="114" y="744"/>
                    </a:lnTo>
                    <a:lnTo>
                      <a:pt x="101" y="755"/>
                    </a:lnTo>
                    <a:lnTo>
                      <a:pt x="82" y="764"/>
                    </a:lnTo>
                    <a:lnTo>
                      <a:pt x="69" y="772"/>
                    </a:lnTo>
                    <a:lnTo>
                      <a:pt x="59" y="781"/>
                    </a:lnTo>
                    <a:lnTo>
                      <a:pt x="46" y="789"/>
                    </a:lnTo>
                    <a:lnTo>
                      <a:pt x="37" y="798"/>
                    </a:lnTo>
                    <a:lnTo>
                      <a:pt x="27" y="803"/>
                    </a:lnTo>
                    <a:lnTo>
                      <a:pt x="14" y="815"/>
                    </a:lnTo>
                    <a:lnTo>
                      <a:pt x="5" y="826"/>
                    </a:lnTo>
                    <a:lnTo>
                      <a:pt x="0" y="829"/>
                    </a:lnTo>
                    <a:lnTo>
                      <a:pt x="5" y="832"/>
                    </a:lnTo>
                    <a:lnTo>
                      <a:pt x="9" y="832"/>
                    </a:lnTo>
                    <a:lnTo>
                      <a:pt x="23" y="835"/>
                    </a:lnTo>
                    <a:lnTo>
                      <a:pt x="32" y="835"/>
                    </a:lnTo>
                    <a:lnTo>
                      <a:pt x="41" y="835"/>
                    </a:lnTo>
                    <a:lnTo>
                      <a:pt x="55" y="838"/>
                    </a:lnTo>
                    <a:lnTo>
                      <a:pt x="64" y="838"/>
                    </a:lnTo>
                    <a:lnTo>
                      <a:pt x="78" y="838"/>
                    </a:lnTo>
                    <a:lnTo>
                      <a:pt x="91" y="841"/>
                    </a:lnTo>
                    <a:lnTo>
                      <a:pt x="105" y="841"/>
                    </a:lnTo>
                    <a:lnTo>
                      <a:pt x="123" y="846"/>
                    </a:lnTo>
                    <a:lnTo>
                      <a:pt x="142" y="846"/>
                    </a:lnTo>
                    <a:lnTo>
                      <a:pt x="160" y="846"/>
                    </a:lnTo>
                    <a:lnTo>
                      <a:pt x="183" y="849"/>
                    </a:lnTo>
                    <a:lnTo>
                      <a:pt x="206" y="852"/>
                    </a:lnTo>
                    <a:lnTo>
                      <a:pt x="224" y="852"/>
                    </a:lnTo>
                    <a:lnTo>
                      <a:pt x="247" y="852"/>
                    </a:lnTo>
                    <a:lnTo>
                      <a:pt x="270" y="855"/>
                    </a:lnTo>
                    <a:lnTo>
                      <a:pt x="297" y="858"/>
                    </a:lnTo>
                    <a:lnTo>
                      <a:pt x="325" y="858"/>
                    </a:lnTo>
                    <a:lnTo>
                      <a:pt x="347" y="860"/>
                    </a:lnTo>
                    <a:lnTo>
                      <a:pt x="375" y="860"/>
                    </a:lnTo>
                    <a:lnTo>
                      <a:pt x="407" y="863"/>
                    </a:lnTo>
                    <a:lnTo>
                      <a:pt x="434" y="863"/>
                    </a:lnTo>
                    <a:lnTo>
                      <a:pt x="462" y="866"/>
                    </a:lnTo>
                    <a:lnTo>
                      <a:pt x="494" y="866"/>
                    </a:lnTo>
                    <a:lnTo>
                      <a:pt x="530" y="869"/>
                    </a:lnTo>
                    <a:lnTo>
                      <a:pt x="558" y="869"/>
                    </a:lnTo>
                    <a:lnTo>
                      <a:pt x="590" y="875"/>
                    </a:lnTo>
                    <a:lnTo>
                      <a:pt x="626" y="875"/>
                    </a:lnTo>
                    <a:lnTo>
                      <a:pt x="663" y="878"/>
                    </a:lnTo>
                    <a:lnTo>
                      <a:pt x="695" y="878"/>
                    </a:lnTo>
                    <a:lnTo>
                      <a:pt x="727" y="880"/>
                    </a:lnTo>
                    <a:lnTo>
                      <a:pt x="763" y="880"/>
                    </a:lnTo>
                    <a:lnTo>
                      <a:pt x="800" y="880"/>
                    </a:lnTo>
                    <a:lnTo>
                      <a:pt x="836" y="880"/>
                    </a:lnTo>
                    <a:lnTo>
                      <a:pt x="873" y="883"/>
                    </a:lnTo>
                    <a:lnTo>
                      <a:pt x="909" y="883"/>
                    </a:lnTo>
                    <a:lnTo>
                      <a:pt x="946" y="886"/>
                    </a:lnTo>
                    <a:lnTo>
                      <a:pt x="987" y="886"/>
                    </a:lnTo>
                    <a:lnTo>
                      <a:pt x="1028" y="889"/>
                    </a:lnTo>
                    <a:lnTo>
                      <a:pt x="1065" y="889"/>
                    </a:lnTo>
                    <a:lnTo>
                      <a:pt x="1106" y="889"/>
                    </a:lnTo>
                    <a:lnTo>
                      <a:pt x="1143" y="889"/>
                    </a:lnTo>
                    <a:lnTo>
                      <a:pt x="1184" y="892"/>
                    </a:lnTo>
                    <a:lnTo>
                      <a:pt x="1225" y="892"/>
                    </a:lnTo>
                    <a:lnTo>
                      <a:pt x="1266" y="892"/>
                    </a:lnTo>
                    <a:lnTo>
                      <a:pt x="1303" y="892"/>
                    </a:lnTo>
                    <a:lnTo>
                      <a:pt x="1344" y="892"/>
                    </a:lnTo>
                    <a:lnTo>
                      <a:pt x="1385" y="892"/>
                    </a:lnTo>
                    <a:lnTo>
                      <a:pt x="1426" y="892"/>
                    </a:lnTo>
                    <a:lnTo>
                      <a:pt x="1462" y="889"/>
                    </a:lnTo>
                    <a:lnTo>
                      <a:pt x="1508" y="889"/>
                    </a:lnTo>
                    <a:lnTo>
                      <a:pt x="1549" y="889"/>
                    </a:lnTo>
                    <a:lnTo>
                      <a:pt x="1590" y="889"/>
                    </a:lnTo>
                    <a:lnTo>
                      <a:pt x="1627" y="889"/>
                    </a:lnTo>
                    <a:lnTo>
                      <a:pt x="1673" y="889"/>
                    </a:lnTo>
                    <a:lnTo>
                      <a:pt x="1714" y="886"/>
                    </a:lnTo>
                    <a:lnTo>
                      <a:pt x="1755" y="886"/>
                    </a:lnTo>
                    <a:lnTo>
                      <a:pt x="1792" y="880"/>
                    </a:lnTo>
                    <a:lnTo>
                      <a:pt x="1837" y="880"/>
                    </a:lnTo>
                    <a:lnTo>
                      <a:pt x="1874" y="880"/>
                    </a:lnTo>
                    <a:lnTo>
                      <a:pt x="1919" y="878"/>
                    </a:lnTo>
                    <a:lnTo>
                      <a:pt x="1956" y="875"/>
                    </a:lnTo>
                    <a:lnTo>
                      <a:pt x="1993" y="872"/>
                    </a:lnTo>
                    <a:lnTo>
                      <a:pt x="2038" y="869"/>
                    </a:lnTo>
                    <a:lnTo>
                      <a:pt x="2079" y="866"/>
                    </a:lnTo>
                    <a:lnTo>
                      <a:pt x="2116" y="866"/>
                    </a:lnTo>
                    <a:lnTo>
                      <a:pt x="2157" y="863"/>
                    </a:lnTo>
                    <a:lnTo>
                      <a:pt x="2198" y="860"/>
                    </a:lnTo>
                    <a:lnTo>
                      <a:pt x="2239" y="858"/>
                    </a:lnTo>
                    <a:lnTo>
                      <a:pt x="2281" y="855"/>
                    </a:lnTo>
                    <a:lnTo>
                      <a:pt x="2317" y="852"/>
                    </a:lnTo>
                    <a:lnTo>
                      <a:pt x="2363" y="849"/>
                    </a:lnTo>
                    <a:lnTo>
                      <a:pt x="2404" y="846"/>
                    </a:lnTo>
                    <a:lnTo>
                      <a:pt x="2440" y="843"/>
                    </a:lnTo>
                    <a:lnTo>
                      <a:pt x="2482" y="841"/>
                    </a:lnTo>
                    <a:lnTo>
                      <a:pt x="2523" y="838"/>
                    </a:lnTo>
                    <a:lnTo>
                      <a:pt x="2564" y="835"/>
                    </a:lnTo>
                    <a:lnTo>
                      <a:pt x="2605" y="832"/>
                    </a:lnTo>
                    <a:lnTo>
                      <a:pt x="2642" y="829"/>
                    </a:lnTo>
                    <a:lnTo>
                      <a:pt x="2683" y="826"/>
                    </a:lnTo>
                    <a:lnTo>
                      <a:pt x="2719" y="826"/>
                    </a:lnTo>
                    <a:lnTo>
                      <a:pt x="2760" y="821"/>
                    </a:lnTo>
                    <a:lnTo>
                      <a:pt x="2792" y="818"/>
                    </a:lnTo>
                    <a:lnTo>
                      <a:pt x="2834" y="815"/>
                    </a:lnTo>
                    <a:lnTo>
                      <a:pt x="2870" y="812"/>
                    </a:lnTo>
                    <a:lnTo>
                      <a:pt x="2907" y="809"/>
                    </a:lnTo>
                    <a:lnTo>
                      <a:pt x="2948" y="803"/>
                    </a:lnTo>
                    <a:lnTo>
                      <a:pt x="2980" y="803"/>
                    </a:lnTo>
                    <a:lnTo>
                      <a:pt x="3016" y="801"/>
                    </a:lnTo>
                    <a:lnTo>
                      <a:pt x="3048" y="798"/>
                    </a:lnTo>
                    <a:lnTo>
                      <a:pt x="3085" y="792"/>
                    </a:lnTo>
                    <a:lnTo>
                      <a:pt x="3117" y="789"/>
                    </a:lnTo>
                    <a:lnTo>
                      <a:pt x="3153" y="789"/>
                    </a:lnTo>
                    <a:lnTo>
                      <a:pt x="3185" y="784"/>
                    </a:lnTo>
                    <a:lnTo>
                      <a:pt x="3213" y="781"/>
                    </a:lnTo>
                    <a:lnTo>
                      <a:pt x="3245" y="778"/>
                    </a:lnTo>
                    <a:lnTo>
                      <a:pt x="3281" y="775"/>
                    </a:lnTo>
                    <a:lnTo>
                      <a:pt x="3304" y="772"/>
                    </a:lnTo>
                    <a:lnTo>
                      <a:pt x="3332" y="769"/>
                    </a:lnTo>
                    <a:lnTo>
                      <a:pt x="3359" y="766"/>
                    </a:lnTo>
                    <a:lnTo>
                      <a:pt x="3391" y="764"/>
                    </a:lnTo>
                    <a:lnTo>
                      <a:pt x="3414" y="761"/>
                    </a:lnTo>
                    <a:lnTo>
                      <a:pt x="3437" y="758"/>
                    </a:lnTo>
                    <a:lnTo>
                      <a:pt x="3464" y="755"/>
                    </a:lnTo>
                    <a:lnTo>
                      <a:pt x="3487" y="752"/>
                    </a:lnTo>
                    <a:lnTo>
                      <a:pt x="3505" y="749"/>
                    </a:lnTo>
                    <a:lnTo>
                      <a:pt x="3528" y="749"/>
                    </a:lnTo>
                    <a:lnTo>
                      <a:pt x="3546" y="744"/>
                    </a:lnTo>
                    <a:lnTo>
                      <a:pt x="3574" y="744"/>
                    </a:lnTo>
                    <a:lnTo>
                      <a:pt x="3588" y="741"/>
                    </a:lnTo>
                    <a:lnTo>
                      <a:pt x="3606" y="738"/>
                    </a:lnTo>
                    <a:lnTo>
                      <a:pt x="3615" y="735"/>
                    </a:lnTo>
                    <a:lnTo>
                      <a:pt x="3629" y="732"/>
                    </a:lnTo>
                    <a:lnTo>
                      <a:pt x="3642" y="732"/>
                    </a:lnTo>
                    <a:lnTo>
                      <a:pt x="3656" y="729"/>
                    </a:lnTo>
                    <a:lnTo>
                      <a:pt x="3665" y="727"/>
                    </a:lnTo>
                    <a:lnTo>
                      <a:pt x="3674" y="727"/>
                    </a:lnTo>
                    <a:lnTo>
                      <a:pt x="3688" y="721"/>
                    </a:lnTo>
                    <a:lnTo>
                      <a:pt x="3697" y="721"/>
                    </a:lnTo>
                    <a:lnTo>
                      <a:pt x="3702" y="718"/>
                    </a:lnTo>
                    <a:lnTo>
                      <a:pt x="3697" y="715"/>
                    </a:lnTo>
                    <a:lnTo>
                      <a:pt x="3688" y="712"/>
                    </a:lnTo>
                    <a:lnTo>
                      <a:pt x="3670" y="704"/>
                    </a:lnTo>
                    <a:lnTo>
                      <a:pt x="3661" y="698"/>
                    </a:lnTo>
                    <a:lnTo>
                      <a:pt x="3647" y="695"/>
                    </a:lnTo>
                    <a:lnTo>
                      <a:pt x="3633" y="687"/>
                    </a:lnTo>
                    <a:lnTo>
                      <a:pt x="3620" y="687"/>
                    </a:lnTo>
                    <a:lnTo>
                      <a:pt x="3601" y="675"/>
                    </a:lnTo>
                    <a:lnTo>
                      <a:pt x="3583" y="670"/>
                    </a:lnTo>
                    <a:lnTo>
                      <a:pt x="3565" y="661"/>
                    </a:lnTo>
                    <a:lnTo>
                      <a:pt x="3546" y="653"/>
                    </a:lnTo>
                    <a:lnTo>
                      <a:pt x="3524" y="644"/>
                    </a:lnTo>
                    <a:lnTo>
                      <a:pt x="3501" y="635"/>
                    </a:lnTo>
                    <a:lnTo>
                      <a:pt x="3482" y="627"/>
                    </a:lnTo>
                    <a:lnTo>
                      <a:pt x="3455" y="618"/>
                    </a:lnTo>
                    <a:lnTo>
                      <a:pt x="3432" y="607"/>
                    </a:lnTo>
                    <a:lnTo>
                      <a:pt x="3405" y="596"/>
                    </a:lnTo>
                    <a:lnTo>
                      <a:pt x="3377" y="584"/>
                    </a:lnTo>
                    <a:lnTo>
                      <a:pt x="3350" y="573"/>
                    </a:lnTo>
                    <a:lnTo>
                      <a:pt x="3323" y="561"/>
                    </a:lnTo>
                    <a:lnTo>
                      <a:pt x="3295" y="550"/>
                    </a:lnTo>
                    <a:lnTo>
                      <a:pt x="3263" y="539"/>
                    </a:lnTo>
                    <a:lnTo>
                      <a:pt x="3236" y="524"/>
                    </a:lnTo>
                    <a:lnTo>
                      <a:pt x="3204" y="513"/>
                    </a:lnTo>
                    <a:lnTo>
                      <a:pt x="3172" y="502"/>
                    </a:lnTo>
                    <a:lnTo>
                      <a:pt x="3140" y="487"/>
                    </a:lnTo>
                    <a:lnTo>
                      <a:pt x="3112" y="473"/>
                    </a:lnTo>
                    <a:lnTo>
                      <a:pt x="3076" y="462"/>
                    </a:lnTo>
                    <a:lnTo>
                      <a:pt x="3044" y="448"/>
                    </a:lnTo>
                    <a:lnTo>
                      <a:pt x="3016" y="433"/>
                    </a:lnTo>
                    <a:lnTo>
                      <a:pt x="2980" y="422"/>
                    </a:lnTo>
                    <a:lnTo>
                      <a:pt x="2948" y="408"/>
                    </a:lnTo>
                    <a:lnTo>
                      <a:pt x="2916" y="393"/>
                    </a:lnTo>
                    <a:lnTo>
                      <a:pt x="2884" y="379"/>
                    </a:lnTo>
                    <a:lnTo>
                      <a:pt x="2847" y="365"/>
                    </a:lnTo>
                    <a:lnTo>
                      <a:pt x="2815" y="351"/>
                    </a:lnTo>
                    <a:lnTo>
                      <a:pt x="2783" y="336"/>
                    </a:lnTo>
                    <a:lnTo>
                      <a:pt x="2747" y="325"/>
                    </a:lnTo>
                    <a:lnTo>
                      <a:pt x="2715" y="311"/>
                    </a:lnTo>
                    <a:lnTo>
                      <a:pt x="2683" y="297"/>
                    </a:lnTo>
                    <a:lnTo>
                      <a:pt x="2651" y="285"/>
                    </a:lnTo>
                    <a:lnTo>
                      <a:pt x="2619" y="271"/>
                    </a:lnTo>
                    <a:lnTo>
                      <a:pt x="2591" y="260"/>
                    </a:lnTo>
                    <a:lnTo>
                      <a:pt x="2559" y="245"/>
                    </a:lnTo>
                    <a:lnTo>
                      <a:pt x="2527" y="231"/>
                    </a:lnTo>
                    <a:lnTo>
                      <a:pt x="2500" y="220"/>
                    </a:lnTo>
                    <a:lnTo>
                      <a:pt x="2472" y="208"/>
                    </a:lnTo>
                    <a:lnTo>
                      <a:pt x="2440" y="194"/>
                    </a:lnTo>
                    <a:lnTo>
                      <a:pt x="2413" y="183"/>
                    </a:lnTo>
                    <a:lnTo>
                      <a:pt x="2386" y="171"/>
                    </a:lnTo>
                    <a:lnTo>
                      <a:pt x="2363" y="160"/>
                    </a:lnTo>
                    <a:lnTo>
                      <a:pt x="2335" y="151"/>
                    </a:lnTo>
                    <a:lnTo>
                      <a:pt x="2308" y="140"/>
                    </a:lnTo>
                    <a:lnTo>
                      <a:pt x="2285" y="131"/>
                    </a:lnTo>
                    <a:lnTo>
                      <a:pt x="2262" y="123"/>
                    </a:lnTo>
                    <a:lnTo>
                      <a:pt x="2244" y="112"/>
                    </a:lnTo>
                    <a:lnTo>
                      <a:pt x="2221" y="106"/>
                    </a:lnTo>
                    <a:lnTo>
                      <a:pt x="2203" y="97"/>
                    </a:lnTo>
                    <a:lnTo>
                      <a:pt x="2185" y="89"/>
                    </a:lnTo>
                    <a:lnTo>
                      <a:pt x="2166" y="83"/>
                    </a:lnTo>
                    <a:lnTo>
                      <a:pt x="2153" y="74"/>
                    </a:lnTo>
                    <a:lnTo>
                      <a:pt x="2134" y="69"/>
                    </a:lnTo>
                    <a:lnTo>
                      <a:pt x="2125" y="66"/>
                    </a:lnTo>
                    <a:lnTo>
                      <a:pt x="2116" y="60"/>
                    </a:lnTo>
                    <a:lnTo>
                      <a:pt x="2098" y="55"/>
                    </a:lnTo>
                    <a:lnTo>
                      <a:pt x="2089" y="49"/>
                    </a:lnTo>
                    <a:lnTo>
                      <a:pt x="2079" y="46"/>
                    </a:lnTo>
                    <a:lnTo>
                      <a:pt x="2061" y="43"/>
                    </a:lnTo>
                    <a:lnTo>
                      <a:pt x="2052" y="37"/>
                    </a:lnTo>
                    <a:lnTo>
                      <a:pt x="2043" y="35"/>
                    </a:lnTo>
                    <a:lnTo>
                      <a:pt x="2025" y="32"/>
                    </a:lnTo>
                    <a:lnTo>
                      <a:pt x="2015" y="26"/>
                    </a:lnTo>
                    <a:lnTo>
                      <a:pt x="2006" y="23"/>
                    </a:lnTo>
                    <a:lnTo>
                      <a:pt x="1993" y="20"/>
                    </a:lnTo>
                    <a:lnTo>
                      <a:pt x="1979" y="20"/>
                    </a:lnTo>
                    <a:lnTo>
                      <a:pt x="1970" y="15"/>
                    </a:lnTo>
                    <a:lnTo>
                      <a:pt x="1956" y="15"/>
                    </a:lnTo>
                    <a:lnTo>
                      <a:pt x="1947" y="12"/>
                    </a:lnTo>
                    <a:lnTo>
                      <a:pt x="1938" y="12"/>
                    </a:lnTo>
                    <a:lnTo>
                      <a:pt x="1924" y="9"/>
                    </a:lnTo>
                    <a:lnTo>
                      <a:pt x="1915" y="9"/>
                    </a:lnTo>
                    <a:lnTo>
                      <a:pt x="1901" y="6"/>
                    </a:lnTo>
                    <a:lnTo>
                      <a:pt x="1892" y="6"/>
                    </a:lnTo>
                    <a:lnTo>
                      <a:pt x="1869" y="0"/>
                    </a:lnTo>
                    <a:lnTo>
                      <a:pt x="1856" y="0"/>
                    </a:lnTo>
                    <a:lnTo>
                      <a:pt x="1833" y="0"/>
                    </a:lnTo>
                    <a:lnTo>
                      <a:pt x="1814" y="0"/>
                    </a:lnTo>
                    <a:lnTo>
                      <a:pt x="1796" y="0"/>
                    </a:lnTo>
                    <a:lnTo>
                      <a:pt x="1782" y="3"/>
                    </a:lnTo>
                    <a:lnTo>
                      <a:pt x="1764" y="3"/>
                    </a:lnTo>
                    <a:lnTo>
                      <a:pt x="1750" y="6"/>
                    </a:lnTo>
                    <a:lnTo>
                      <a:pt x="1732" y="6"/>
                    </a:lnTo>
                    <a:lnTo>
                      <a:pt x="1718" y="9"/>
                    </a:lnTo>
                    <a:lnTo>
                      <a:pt x="1700" y="9"/>
                    </a:lnTo>
                    <a:lnTo>
                      <a:pt x="1696" y="9"/>
                    </a:lnTo>
                    <a:lnTo>
                      <a:pt x="1682" y="12"/>
                    </a:lnTo>
                    <a:lnTo>
                      <a:pt x="1673" y="15"/>
                    </a:lnTo>
                    <a:lnTo>
                      <a:pt x="1654" y="20"/>
                    </a:lnTo>
                    <a:lnTo>
                      <a:pt x="1641" y="20"/>
                    </a:lnTo>
                    <a:lnTo>
                      <a:pt x="1636" y="23"/>
                    </a:lnTo>
                    <a:lnTo>
                      <a:pt x="1632" y="2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0" name="Freeform 194"/>
              <p:cNvSpPr>
                <a:spLocks/>
              </p:cNvSpPr>
              <p:nvPr>
                <p:custDataLst>
                  <p:tags r:id="rId25"/>
                </p:custDataLst>
              </p:nvPr>
            </p:nvSpPr>
            <p:spPr bwMode="gray">
              <a:xfrm>
                <a:off x="1358" y="666"/>
                <a:ext cx="1270" cy="535"/>
              </a:xfrm>
              <a:custGeom>
                <a:avLst/>
                <a:gdLst>
                  <a:gd name="T0" fmla="*/ 1470 w 1239"/>
                  <a:gd name="T1" fmla="*/ 9 h 587"/>
                  <a:gd name="T2" fmla="*/ 1384 w 1239"/>
                  <a:gd name="T3" fmla="*/ 15 h 587"/>
                  <a:gd name="T4" fmla="*/ 1298 w 1239"/>
                  <a:gd name="T5" fmla="*/ 24 h 587"/>
                  <a:gd name="T6" fmla="*/ 1213 w 1239"/>
                  <a:gd name="T7" fmla="*/ 33 h 587"/>
                  <a:gd name="T8" fmla="*/ 1132 w 1239"/>
                  <a:gd name="T9" fmla="*/ 42 h 587"/>
                  <a:gd name="T10" fmla="*/ 1053 w 1239"/>
                  <a:gd name="T11" fmla="*/ 50 h 587"/>
                  <a:gd name="T12" fmla="*/ 971 w 1239"/>
                  <a:gd name="T13" fmla="*/ 59 h 587"/>
                  <a:gd name="T14" fmla="*/ 898 w 1239"/>
                  <a:gd name="T15" fmla="*/ 67 h 587"/>
                  <a:gd name="T16" fmla="*/ 818 w 1239"/>
                  <a:gd name="T17" fmla="*/ 77 h 587"/>
                  <a:gd name="T18" fmla="*/ 744 w 1239"/>
                  <a:gd name="T19" fmla="*/ 87 h 587"/>
                  <a:gd name="T20" fmla="*/ 669 w 1239"/>
                  <a:gd name="T21" fmla="*/ 95 h 587"/>
                  <a:gd name="T22" fmla="*/ 602 w 1239"/>
                  <a:gd name="T23" fmla="*/ 104 h 587"/>
                  <a:gd name="T24" fmla="*/ 542 w 1239"/>
                  <a:gd name="T25" fmla="*/ 113 h 587"/>
                  <a:gd name="T26" fmla="*/ 473 w 1239"/>
                  <a:gd name="T27" fmla="*/ 120 h 587"/>
                  <a:gd name="T28" fmla="*/ 418 w 1239"/>
                  <a:gd name="T29" fmla="*/ 129 h 587"/>
                  <a:gd name="T30" fmla="*/ 363 w 1239"/>
                  <a:gd name="T31" fmla="*/ 136 h 587"/>
                  <a:gd name="T32" fmla="*/ 302 w 1239"/>
                  <a:gd name="T33" fmla="*/ 145 h 587"/>
                  <a:gd name="T34" fmla="*/ 258 w 1239"/>
                  <a:gd name="T35" fmla="*/ 152 h 587"/>
                  <a:gd name="T36" fmla="*/ 215 w 1239"/>
                  <a:gd name="T37" fmla="*/ 159 h 587"/>
                  <a:gd name="T38" fmla="*/ 172 w 1239"/>
                  <a:gd name="T39" fmla="*/ 165 h 587"/>
                  <a:gd name="T40" fmla="*/ 130 w 1239"/>
                  <a:gd name="T41" fmla="*/ 170 h 587"/>
                  <a:gd name="T42" fmla="*/ 97 w 1239"/>
                  <a:gd name="T43" fmla="*/ 175 h 587"/>
                  <a:gd name="T44" fmla="*/ 66 w 1239"/>
                  <a:gd name="T45" fmla="*/ 181 h 587"/>
                  <a:gd name="T46" fmla="*/ 44 w 1239"/>
                  <a:gd name="T47" fmla="*/ 183 h 587"/>
                  <a:gd name="T48" fmla="*/ 14 w 1239"/>
                  <a:gd name="T49" fmla="*/ 190 h 587"/>
                  <a:gd name="T50" fmla="*/ 0 w 1239"/>
                  <a:gd name="T51" fmla="*/ 191 h 587"/>
                  <a:gd name="T52" fmla="*/ 0 w 1239"/>
                  <a:gd name="T53" fmla="*/ 191 h 587"/>
                  <a:gd name="T54" fmla="*/ 35 w 1239"/>
                  <a:gd name="T55" fmla="*/ 190 h 587"/>
                  <a:gd name="T56" fmla="*/ 66 w 1239"/>
                  <a:gd name="T57" fmla="*/ 183 h 587"/>
                  <a:gd name="T58" fmla="*/ 97 w 1239"/>
                  <a:gd name="T59" fmla="*/ 178 h 587"/>
                  <a:gd name="T60" fmla="*/ 141 w 1239"/>
                  <a:gd name="T61" fmla="*/ 173 h 587"/>
                  <a:gd name="T62" fmla="*/ 185 w 1239"/>
                  <a:gd name="T63" fmla="*/ 167 h 587"/>
                  <a:gd name="T64" fmla="*/ 234 w 1239"/>
                  <a:gd name="T65" fmla="*/ 160 h 587"/>
                  <a:gd name="T66" fmla="*/ 284 w 1239"/>
                  <a:gd name="T67" fmla="*/ 154 h 587"/>
                  <a:gd name="T68" fmla="*/ 344 w 1239"/>
                  <a:gd name="T69" fmla="*/ 148 h 587"/>
                  <a:gd name="T70" fmla="*/ 407 w 1239"/>
                  <a:gd name="T71" fmla="*/ 140 h 587"/>
                  <a:gd name="T72" fmla="*/ 461 w 1239"/>
                  <a:gd name="T73" fmla="*/ 132 h 587"/>
                  <a:gd name="T74" fmla="*/ 529 w 1239"/>
                  <a:gd name="T75" fmla="*/ 126 h 587"/>
                  <a:gd name="T76" fmla="*/ 602 w 1239"/>
                  <a:gd name="T77" fmla="*/ 117 h 587"/>
                  <a:gd name="T78" fmla="*/ 664 w 1239"/>
                  <a:gd name="T79" fmla="*/ 109 h 587"/>
                  <a:gd name="T80" fmla="*/ 739 w 1239"/>
                  <a:gd name="T81" fmla="*/ 102 h 587"/>
                  <a:gd name="T82" fmla="*/ 812 w 1239"/>
                  <a:gd name="T83" fmla="*/ 94 h 587"/>
                  <a:gd name="T84" fmla="*/ 879 w 1239"/>
                  <a:gd name="T85" fmla="*/ 87 h 587"/>
                  <a:gd name="T86" fmla="*/ 955 w 1239"/>
                  <a:gd name="T87" fmla="*/ 78 h 587"/>
                  <a:gd name="T88" fmla="*/ 1020 w 1239"/>
                  <a:gd name="T89" fmla="*/ 70 h 587"/>
                  <a:gd name="T90" fmla="*/ 1094 w 1239"/>
                  <a:gd name="T91" fmla="*/ 61 h 587"/>
                  <a:gd name="T92" fmla="*/ 1162 w 1239"/>
                  <a:gd name="T93" fmla="*/ 55 h 587"/>
                  <a:gd name="T94" fmla="*/ 1224 w 1239"/>
                  <a:gd name="T95" fmla="*/ 46 h 587"/>
                  <a:gd name="T96" fmla="*/ 1293 w 1239"/>
                  <a:gd name="T97" fmla="*/ 40 h 587"/>
                  <a:gd name="T98" fmla="*/ 1352 w 1239"/>
                  <a:gd name="T99" fmla="*/ 34 h 587"/>
                  <a:gd name="T100" fmla="*/ 1414 w 1239"/>
                  <a:gd name="T101" fmla="*/ 27 h 587"/>
                  <a:gd name="T102" fmla="*/ 1464 w 1239"/>
                  <a:gd name="T103" fmla="*/ 22 h 587"/>
                  <a:gd name="T104" fmla="*/ 1518 w 1239"/>
                  <a:gd name="T105" fmla="*/ 15 h 587"/>
                  <a:gd name="T106" fmla="*/ 1556 w 1239"/>
                  <a:gd name="T107" fmla="*/ 12 h 587"/>
                  <a:gd name="T108" fmla="*/ 1599 w 1239"/>
                  <a:gd name="T109" fmla="*/ 6 h 587"/>
                  <a:gd name="T110" fmla="*/ 1635 w 1239"/>
                  <a:gd name="T111" fmla="*/ 5 h 587"/>
                  <a:gd name="T112" fmla="*/ 1668 w 1239"/>
                  <a:gd name="T113" fmla="*/ 0 h 587"/>
                  <a:gd name="T114" fmla="*/ 1518 w 1239"/>
                  <a:gd name="T115" fmla="*/ 5 h 5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9"/>
                  <a:gd name="T175" fmla="*/ 0 h 587"/>
                  <a:gd name="T176" fmla="*/ 1239 w 1239"/>
                  <a:gd name="T177" fmla="*/ 587 h 5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9" h="587">
                    <a:moveTo>
                      <a:pt x="1129" y="14"/>
                    </a:moveTo>
                    <a:lnTo>
                      <a:pt x="1093" y="26"/>
                    </a:lnTo>
                    <a:lnTo>
                      <a:pt x="1061" y="34"/>
                    </a:lnTo>
                    <a:lnTo>
                      <a:pt x="1029" y="46"/>
                    </a:lnTo>
                    <a:lnTo>
                      <a:pt x="997" y="60"/>
                    </a:lnTo>
                    <a:lnTo>
                      <a:pt x="965" y="74"/>
                    </a:lnTo>
                    <a:lnTo>
                      <a:pt x="933" y="86"/>
                    </a:lnTo>
                    <a:lnTo>
                      <a:pt x="901" y="100"/>
                    </a:lnTo>
                    <a:lnTo>
                      <a:pt x="873" y="114"/>
                    </a:lnTo>
                    <a:lnTo>
                      <a:pt x="841" y="125"/>
                    </a:lnTo>
                    <a:lnTo>
                      <a:pt x="814" y="140"/>
                    </a:lnTo>
                    <a:lnTo>
                      <a:pt x="782" y="151"/>
                    </a:lnTo>
                    <a:lnTo>
                      <a:pt x="750" y="165"/>
                    </a:lnTo>
                    <a:lnTo>
                      <a:pt x="722" y="179"/>
                    </a:lnTo>
                    <a:lnTo>
                      <a:pt x="690" y="194"/>
                    </a:lnTo>
                    <a:lnTo>
                      <a:pt x="668" y="208"/>
                    </a:lnTo>
                    <a:lnTo>
                      <a:pt x="636" y="219"/>
                    </a:lnTo>
                    <a:lnTo>
                      <a:pt x="608" y="234"/>
                    </a:lnTo>
                    <a:lnTo>
                      <a:pt x="585" y="251"/>
                    </a:lnTo>
                    <a:lnTo>
                      <a:pt x="553" y="262"/>
                    </a:lnTo>
                    <a:lnTo>
                      <a:pt x="530" y="276"/>
                    </a:lnTo>
                    <a:lnTo>
                      <a:pt x="498" y="288"/>
                    </a:lnTo>
                    <a:lnTo>
                      <a:pt x="476" y="302"/>
                    </a:lnTo>
                    <a:lnTo>
                      <a:pt x="448" y="316"/>
                    </a:lnTo>
                    <a:lnTo>
                      <a:pt x="430" y="330"/>
                    </a:lnTo>
                    <a:lnTo>
                      <a:pt x="403" y="342"/>
                    </a:lnTo>
                    <a:lnTo>
                      <a:pt x="380" y="356"/>
                    </a:lnTo>
                    <a:lnTo>
                      <a:pt x="352" y="367"/>
                    </a:lnTo>
                    <a:lnTo>
                      <a:pt x="329" y="382"/>
                    </a:lnTo>
                    <a:lnTo>
                      <a:pt x="311" y="393"/>
                    </a:lnTo>
                    <a:lnTo>
                      <a:pt x="288" y="404"/>
                    </a:lnTo>
                    <a:lnTo>
                      <a:pt x="270" y="416"/>
                    </a:lnTo>
                    <a:lnTo>
                      <a:pt x="247" y="430"/>
                    </a:lnTo>
                    <a:lnTo>
                      <a:pt x="224" y="441"/>
                    </a:lnTo>
                    <a:lnTo>
                      <a:pt x="206" y="450"/>
                    </a:lnTo>
                    <a:lnTo>
                      <a:pt x="192" y="461"/>
                    </a:lnTo>
                    <a:lnTo>
                      <a:pt x="174" y="473"/>
                    </a:lnTo>
                    <a:lnTo>
                      <a:pt x="160" y="484"/>
                    </a:lnTo>
                    <a:lnTo>
                      <a:pt x="142" y="493"/>
                    </a:lnTo>
                    <a:lnTo>
                      <a:pt x="128" y="504"/>
                    </a:lnTo>
                    <a:lnTo>
                      <a:pt x="115" y="513"/>
                    </a:lnTo>
                    <a:lnTo>
                      <a:pt x="96" y="518"/>
                    </a:lnTo>
                    <a:lnTo>
                      <a:pt x="87" y="530"/>
                    </a:lnTo>
                    <a:lnTo>
                      <a:pt x="73" y="535"/>
                    </a:lnTo>
                    <a:lnTo>
                      <a:pt x="60" y="541"/>
                    </a:lnTo>
                    <a:lnTo>
                      <a:pt x="51" y="550"/>
                    </a:lnTo>
                    <a:lnTo>
                      <a:pt x="41" y="555"/>
                    </a:lnTo>
                    <a:lnTo>
                      <a:pt x="32" y="561"/>
                    </a:lnTo>
                    <a:lnTo>
                      <a:pt x="23" y="567"/>
                    </a:lnTo>
                    <a:lnTo>
                      <a:pt x="14" y="575"/>
                    </a:lnTo>
                    <a:lnTo>
                      <a:pt x="5" y="581"/>
                    </a:lnTo>
                    <a:lnTo>
                      <a:pt x="0" y="584"/>
                    </a:lnTo>
                    <a:lnTo>
                      <a:pt x="0" y="587"/>
                    </a:lnTo>
                    <a:lnTo>
                      <a:pt x="0" y="584"/>
                    </a:lnTo>
                    <a:lnTo>
                      <a:pt x="14" y="581"/>
                    </a:lnTo>
                    <a:lnTo>
                      <a:pt x="23" y="575"/>
                    </a:lnTo>
                    <a:lnTo>
                      <a:pt x="41" y="564"/>
                    </a:lnTo>
                    <a:lnTo>
                      <a:pt x="51" y="555"/>
                    </a:lnTo>
                    <a:lnTo>
                      <a:pt x="64" y="550"/>
                    </a:lnTo>
                    <a:lnTo>
                      <a:pt x="73" y="541"/>
                    </a:lnTo>
                    <a:lnTo>
                      <a:pt x="92" y="535"/>
                    </a:lnTo>
                    <a:lnTo>
                      <a:pt x="105" y="524"/>
                    </a:lnTo>
                    <a:lnTo>
                      <a:pt x="119" y="518"/>
                    </a:lnTo>
                    <a:lnTo>
                      <a:pt x="137" y="507"/>
                    </a:lnTo>
                    <a:lnTo>
                      <a:pt x="156" y="498"/>
                    </a:lnTo>
                    <a:lnTo>
                      <a:pt x="174" y="490"/>
                    </a:lnTo>
                    <a:lnTo>
                      <a:pt x="192" y="481"/>
                    </a:lnTo>
                    <a:lnTo>
                      <a:pt x="211" y="470"/>
                    </a:lnTo>
                    <a:lnTo>
                      <a:pt x="238" y="461"/>
                    </a:lnTo>
                    <a:lnTo>
                      <a:pt x="256" y="450"/>
                    </a:lnTo>
                    <a:lnTo>
                      <a:pt x="275" y="439"/>
                    </a:lnTo>
                    <a:lnTo>
                      <a:pt x="302" y="427"/>
                    </a:lnTo>
                    <a:lnTo>
                      <a:pt x="325" y="416"/>
                    </a:lnTo>
                    <a:lnTo>
                      <a:pt x="343" y="404"/>
                    </a:lnTo>
                    <a:lnTo>
                      <a:pt x="371" y="393"/>
                    </a:lnTo>
                    <a:lnTo>
                      <a:pt x="393" y="382"/>
                    </a:lnTo>
                    <a:lnTo>
                      <a:pt x="421" y="370"/>
                    </a:lnTo>
                    <a:lnTo>
                      <a:pt x="448" y="356"/>
                    </a:lnTo>
                    <a:lnTo>
                      <a:pt x="476" y="347"/>
                    </a:lnTo>
                    <a:lnTo>
                      <a:pt x="494" y="333"/>
                    </a:lnTo>
                    <a:lnTo>
                      <a:pt x="526" y="322"/>
                    </a:lnTo>
                    <a:lnTo>
                      <a:pt x="549" y="310"/>
                    </a:lnTo>
                    <a:lnTo>
                      <a:pt x="576" y="299"/>
                    </a:lnTo>
                    <a:lnTo>
                      <a:pt x="604" y="285"/>
                    </a:lnTo>
                    <a:lnTo>
                      <a:pt x="631" y="273"/>
                    </a:lnTo>
                    <a:lnTo>
                      <a:pt x="654" y="262"/>
                    </a:lnTo>
                    <a:lnTo>
                      <a:pt x="681" y="251"/>
                    </a:lnTo>
                    <a:lnTo>
                      <a:pt x="709" y="236"/>
                    </a:lnTo>
                    <a:lnTo>
                      <a:pt x="741" y="228"/>
                    </a:lnTo>
                    <a:lnTo>
                      <a:pt x="759" y="214"/>
                    </a:lnTo>
                    <a:lnTo>
                      <a:pt x="786" y="202"/>
                    </a:lnTo>
                    <a:lnTo>
                      <a:pt x="814" y="188"/>
                    </a:lnTo>
                    <a:lnTo>
                      <a:pt x="841" y="179"/>
                    </a:lnTo>
                    <a:lnTo>
                      <a:pt x="864" y="165"/>
                    </a:lnTo>
                    <a:lnTo>
                      <a:pt x="892" y="154"/>
                    </a:lnTo>
                    <a:lnTo>
                      <a:pt x="910" y="142"/>
                    </a:lnTo>
                    <a:lnTo>
                      <a:pt x="937" y="134"/>
                    </a:lnTo>
                    <a:lnTo>
                      <a:pt x="960" y="123"/>
                    </a:lnTo>
                    <a:lnTo>
                      <a:pt x="983" y="111"/>
                    </a:lnTo>
                    <a:lnTo>
                      <a:pt x="1006" y="103"/>
                    </a:lnTo>
                    <a:lnTo>
                      <a:pt x="1029" y="91"/>
                    </a:lnTo>
                    <a:lnTo>
                      <a:pt x="1051" y="83"/>
                    </a:lnTo>
                    <a:lnTo>
                      <a:pt x="1070" y="74"/>
                    </a:lnTo>
                    <a:lnTo>
                      <a:pt x="1088" y="66"/>
                    </a:lnTo>
                    <a:lnTo>
                      <a:pt x="1111" y="57"/>
                    </a:lnTo>
                    <a:lnTo>
                      <a:pt x="1129" y="48"/>
                    </a:lnTo>
                    <a:lnTo>
                      <a:pt x="1143" y="40"/>
                    </a:lnTo>
                    <a:lnTo>
                      <a:pt x="1157" y="34"/>
                    </a:lnTo>
                    <a:lnTo>
                      <a:pt x="1175" y="26"/>
                    </a:lnTo>
                    <a:lnTo>
                      <a:pt x="1189" y="20"/>
                    </a:lnTo>
                    <a:lnTo>
                      <a:pt x="1202" y="14"/>
                    </a:lnTo>
                    <a:lnTo>
                      <a:pt x="1216" y="9"/>
                    </a:lnTo>
                    <a:lnTo>
                      <a:pt x="1230" y="3"/>
                    </a:lnTo>
                    <a:lnTo>
                      <a:pt x="1239" y="0"/>
                    </a:lnTo>
                    <a:lnTo>
                      <a:pt x="1129"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1" name="Freeform 195"/>
              <p:cNvSpPr>
                <a:spLocks/>
              </p:cNvSpPr>
              <p:nvPr>
                <p:custDataLst>
                  <p:tags r:id="rId26"/>
                </p:custDataLst>
              </p:nvPr>
            </p:nvSpPr>
            <p:spPr bwMode="gray">
              <a:xfrm>
                <a:off x="1799" y="813"/>
                <a:ext cx="740" cy="393"/>
              </a:xfrm>
              <a:custGeom>
                <a:avLst/>
                <a:gdLst>
                  <a:gd name="T0" fmla="*/ 787 w 722"/>
                  <a:gd name="T1" fmla="*/ 13 h 430"/>
                  <a:gd name="T2" fmla="*/ 732 w 722"/>
                  <a:gd name="T3" fmla="*/ 20 h 430"/>
                  <a:gd name="T4" fmla="*/ 682 w 722"/>
                  <a:gd name="T5" fmla="*/ 26 h 430"/>
                  <a:gd name="T6" fmla="*/ 633 w 722"/>
                  <a:gd name="T7" fmla="*/ 34 h 430"/>
                  <a:gd name="T8" fmla="*/ 589 w 722"/>
                  <a:gd name="T9" fmla="*/ 40 h 430"/>
                  <a:gd name="T10" fmla="*/ 541 w 722"/>
                  <a:gd name="T11" fmla="*/ 47 h 430"/>
                  <a:gd name="T12" fmla="*/ 496 w 722"/>
                  <a:gd name="T13" fmla="*/ 53 h 430"/>
                  <a:gd name="T14" fmla="*/ 455 w 722"/>
                  <a:gd name="T15" fmla="*/ 59 h 430"/>
                  <a:gd name="T16" fmla="*/ 412 w 722"/>
                  <a:gd name="T17" fmla="*/ 67 h 430"/>
                  <a:gd name="T18" fmla="*/ 369 w 722"/>
                  <a:gd name="T19" fmla="*/ 73 h 430"/>
                  <a:gd name="T20" fmla="*/ 325 w 722"/>
                  <a:gd name="T21" fmla="*/ 80 h 430"/>
                  <a:gd name="T22" fmla="*/ 294 w 722"/>
                  <a:gd name="T23" fmla="*/ 85 h 430"/>
                  <a:gd name="T24" fmla="*/ 258 w 722"/>
                  <a:gd name="T25" fmla="*/ 92 h 430"/>
                  <a:gd name="T26" fmla="*/ 227 w 722"/>
                  <a:gd name="T27" fmla="*/ 98 h 430"/>
                  <a:gd name="T28" fmla="*/ 192 w 722"/>
                  <a:gd name="T29" fmla="*/ 103 h 430"/>
                  <a:gd name="T30" fmla="*/ 159 w 722"/>
                  <a:gd name="T31" fmla="*/ 110 h 430"/>
                  <a:gd name="T32" fmla="*/ 135 w 722"/>
                  <a:gd name="T33" fmla="*/ 115 h 430"/>
                  <a:gd name="T34" fmla="*/ 108 w 722"/>
                  <a:gd name="T35" fmla="*/ 120 h 430"/>
                  <a:gd name="T36" fmla="*/ 88 w 722"/>
                  <a:gd name="T37" fmla="*/ 122 h 430"/>
                  <a:gd name="T38" fmla="*/ 63 w 722"/>
                  <a:gd name="T39" fmla="*/ 127 h 430"/>
                  <a:gd name="T40" fmla="*/ 44 w 722"/>
                  <a:gd name="T41" fmla="*/ 133 h 430"/>
                  <a:gd name="T42" fmla="*/ 14 w 722"/>
                  <a:gd name="T43" fmla="*/ 139 h 430"/>
                  <a:gd name="T44" fmla="*/ 0 w 722"/>
                  <a:gd name="T45" fmla="*/ 144 h 430"/>
                  <a:gd name="T46" fmla="*/ 4 w 722"/>
                  <a:gd name="T47" fmla="*/ 145 h 430"/>
                  <a:gd name="T48" fmla="*/ 18 w 722"/>
                  <a:gd name="T49" fmla="*/ 142 h 430"/>
                  <a:gd name="T50" fmla="*/ 58 w 722"/>
                  <a:gd name="T51" fmla="*/ 138 h 430"/>
                  <a:gd name="T52" fmla="*/ 97 w 722"/>
                  <a:gd name="T53" fmla="*/ 133 h 430"/>
                  <a:gd name="T54" fmla="*/ 122 w 722"/>
                  <a:gd name="T55" fmla="*/ 129 h 430"/>
                  <a:gd name="T56" fmla="*/ 159 w 722"/>
                  <a:gd name="T57" fmla="*/ 126 h 430"/>
                  <a:gd name="T58" fmla="*/ 183 w 722"/>
                  <a:gd name="T59" fmla="*/ 121 h 430"/>
                  <a:gd name="T60" fmla="*/ 214 w 722"/>
                  <a:gd name="T61" fmla="*/ 115 h 430"/>
                  <a:gd name="T62" fmla="*/ 252 w 722"/>
                  <a:gd name="T63" fmla="*/ 109 h 430"/>
                  <a:gd name="T64" fmla="*/ 294 w 722"/>
                  <a:gd name="T65" fmla="*/ 102 h 430"/>
                  <a:gd name="T66" fmla="*/ 325 w 722"/>
                  <a:gd name="T67" fmla="*/ 97 h 430"/>
                  <a:gd name="T68" fmla="*/ 369 w 722"/>
                  <a:gd name="T69" fmla="*/ 92 h 430"/>
                  <a:gd name="T70" fmla="*/ 412 w 722"/>
                  <a:gd name="T71" fmla="*/ 84 h 430"/>
                  <a:gd name="T72" fmla="*/ 455 w 722"/>
                  <a:gd name="T73" fmla="*/ 78 h 430"/>
                  <a:gd name="T74" fmla="*/ 492 w 722"/>
                  <a:gd name="T75" fmla="*/ 71 h 430"/>
                  <a:gd name="T76" fmla="*/ 534 w 722"/>
                  <a:gd name="T77" fmla="*/ 65 h 430"/>
                  <a:gd name="T78" fmla="*/ 578 w 722"/>
                  <a:gd name="T79" fmla="*/ 59 h 430"/>
                  <a:gd name="T80" fmla="*/ 621 w 722"/>
                  <a:gd name="T81" fmla="*/ 53 h 430"/>
                  <a:gd name="T82" fmla="*/ 656 w 722"/>
                  <a:gd name="T83" fmla="*/ 47 h 430"/>
                  <a:gd name="T84" fmla="*/ 694 w 722"/>
                  <a:gd name="T85" fmla="*/ 40 h 430"/>
                  <a:gd name="T86" fmla="*/ 736 w 722"/>
                  <a:gd name="T87" fmla="*/ 34 h 430"/>
                  <a:gd name="T88" fmla="*/ 773 w 722"/>
                  <a:gd name="T89" fmla="*/ 28 h 430"/>
                  <a:gd name="T90" fmla="*/ 810 w 722"/>
                  <a:gd name="T91" fmla="*/ 24 h 430"/>
                  <a:gd name="T92" fmla="*/ 841 w 722"/>
                  <a:gd name="T93" fmla="*/ 18 h 430"/>
                  <a:gd name="T94" fmla="*/ 877 w 722"/>
                  <a:gd name="T95" fmla="*/ 14 h 430"/>
                  <a:gd name="T96" fmla="*/ 910 w 722"/>
                  <a:gd name="T97" fmla="*/ 9 h 430"/>
                  <a:gd name="T98" fmla="*/ 935 w 722"/>
                  <a:gd name="T99" fmla="*/ 5 h 430"/>
                  <a:gd name="T100" fmla="*/ 969 w 722"/>
                  <a:gd name="T101" fmla="*/ 0 h 430"/>
                  <a:gd name="T102" fmla="*/ 810 w 722"/>
                  <a:gd name="T103" fmla="*/ 11 h 4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2"/>
                  <a:gd name="T157" fmla="*/ 0 h 430"/>
                  <a:gd name="T158" fmla="*/ 722 w 722"/>
                  <a:gd name="T159" fmla="*/ 430 h 4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2" h="430">
                    <a:moveTo>
                      <a:pt x="603" y="29"/>
                    </a:moveTo>
                    <a:lnTo>
                      <a:pt x="585" y="37"/>
                    </a:lnTo>
                    <a:lnTo>
                      <a:pt x="567" y="46"/>
                    </a:lnTo>
                    <a:lnTo>
                      <a:pt x="544" y="57"/>
                    </a:lnTo>
                    <a:lnTo>
                      <a:pt x="525" y="66"/>
                    </a:lnTo>
                    <a:lnTo>
                      <a:pt x="507" y="77"/>
                    </a:lnTo>
                    <a:lnTo>
                      <a:pt x="489" y="89"/>
                    </a:lnTo>
                    <a:lnTo>
                      <a:pt x="471" y="97"/>
                    </a:lnTo>
                    <a:lnTo>
                      <a:pt x="457" y="109"/>
                    </a:lnTo>
                    <a:lnTo>
                      <a:pt x="439" y="117"/>
                    </a:lnTo>
                    <a:lnTo>
                      <a:pt x="420" y="129"/>
                    </a:lnTo>
                    <a:lnTo>
                      <a:pt x="402" y="137"/>
                    </a:lnTo>
                    <a:lnTo>
                      <a:pt x="388" y="148"/>
                    </a:lnTo>
                    <a:lnTo>
                      <a:pt x="370" y="157"/>
                    </a:lnTo>
                    <a:lnTo>
                      <a:pt x="352" y="168"/>
                    </a:lnTo>
                    <a:lnTo>
                      <a:pt x="338" y="177"/>
                    </a:lnTo>
                    <a:lnTo>
                      <a:pt x="320" y="188"/>
                    </a:lnTo>
                    <a:lnTo>
                      <a:pt x="306" y="197"/>
                    </a:lnTo>
                    <a:lnTo>
                      <a:pt x="288" y="205"/>
                    </a:lnTo>
                    <a:lnTo>
                      <a:pt x="274" y="217"/>
                    </a:lnTo>
                    <a:lnTo>
                      <a:pt x="260" y="225"/>
                    </a:lnTo>
                    <a:lnTo>
                      <a:pt x="242" y="234"/>
                    </a:lnTo>
                    <a:lnTo>
                      <a:pt x="233" y="242"/>
                    </a:lnTo>
                    <a:lnTo>
                      <a:pt x="219" y="254"/>
                    </a:lnTo>
                    <a:lnTo>
                      <a:pt x="206" y="262"/>
                    </a:lnTo>
                    <a:lnTo>
                      <a:pt x="192" y="271"/>
                    </a:lnTo>
                    <a:lnTo>
                      <a:pt x="178" y="279"/>
                    </a:lnTo>
                    <a:lnTo>
                      <a:pt x="169" y="288"/>
                    </a:lnTo>
                    <a:lnTo>
                      <a:pt x="155" y="297"/>
                    </a:lnTo>
                    <a:lnTo>
                      <a:pt x="142" y="305"/>
                    </a:lnTo>
                    <a:lnTo>
                      <a:pt x="132" y="314"/>
                    </a:lnTo>
                    <a:lnTo>
                      <a:pt x="119" y="322"/>
                    </a:lnTo>
                    <a:lnTo>
                      <a:pt x="114" y="331"/>
                    </a:lnTo>
                    <a:lnTo>
                      <a:pt x="100" y="336"/>
                    </a:lnTo>
                    <a:lnTo>
                      <a:pt x="91" y="345"/>
                    </a:lnTo>
                    <a:lnTo>
                      <a:pt x="82" y="351"/>
                    </a:lnTo>
                    <a:lnTo>
                      <a:pt x="73" y="356"/>
                    </a:lnTo>
                    <a:lnTo>
                      <a:pt x="64" y="362"/>
                    </a:lnTo>
                    <a:lnTo>
                      <a:pt x="55" y="368"/>
                    </a:lnTo>
                    <a:lnTo>
                      <a:pt x="50" y="376"/>
                    </a:lnTo>
                    <a:lnTo>
                      <a:pt x="46" y="382"/>
                    </a:lnTo>
                    <a:lnTo>
                      <a:pt x="32" y="391"/>
                    </a:lnTo>
                    <a:lnTo>
                      <a:pt x="18" y="402"/>
                    </a:lnTo>
                    <a:lnTo>
                      <a:pt x="14" y="408"/>
                    </a:lnTo>
                    <a:lnTo>
                      <a:pt x="4" y="416"/>
                    </a:lnTo>
                    <a:lnTo>
                      <a:pt x="0" y="425"/>
                    </a:lnTo>
                    <a:lnTo>
                      <a:pt x="0" y="430"/>
                    </a:lnTo>
                    <a:lnTo>
                      <a:pt x="4" y="428"/>
                    </a:lnTo>
                    <a:lnTo>
                      <a:pt x="14" y="425"/>
                    </a:lnTo>
                    <a:lnTo>
                      <a:pt x="18" y="419"/>
                    </a:lnTo>
                    <a:lnTo>
                      <a:pt x="36" y="413"/>
                    </a:lnTo>
                    <a:lnTo>
                      <a:pt x="46" y="405"/>
                    </a:lnTo>
                    <a:lnTo>
                      <a:pt x="64" y="396"/>
                    </a:lnTo>
                    <a:lnTo>
                      <a:pt x="73" y="391"/>
                    </a:lnTo>
                    <a:lnTo>
                      <a:pt x="82" y="385"/>
                    </a:lnTo>
                    <a:lnTo>
                      <a:pt x="91" y="379"/>
                    </a:lnTo>
                    <a:lnTo>
                      <a:pt x="105" y="373"/>
                    </a:lnTo>
                    <a:lnTo>
                      <a:pt x="119" y="368"/>
                    </a:lnTo>
                    <a:lnTo>
                      <a:pt x="128" y="356"/>
                    </a:lnTo>
                    <a:lnTo>
                      <a:pt x="137" y="353"/>
                    </a:lnTo>
                    <a:lnTo>
                      <a:pt x="151" y="345"/>
                    </a:lnTo>
                    <a:lnTo>
                      <a:pt x="160" y="336"/>
                    </a:lnTo>
                    <a:lnTo>
                      <a:pt x="174" y="328"/>
                    </a:lnTo>
                    <a:lnTo>
                      <a:pt x="187" y="319"/>
                    </a:lnTo>
                    <a:lnTo>
                      <a:pt x="206" y="314"/>
                    </a:lnTo>
                    <a:lnTo>
                      <a:pt x="219" y="302"/>
                    </a:lnTo>
                    <a:lnTo>
                      <a:pt x="233" y="297"/>
                    </a:lnTo>
                    <a:lnTo>
                      <a:pt x="242" y="285"/>
                    </a:lnTo>
                    <a:lnTo>
                      <a:pt x="260" y="277"/>
                    </a:lnTo>
                    <a:lnTo>
                      <a:pt x="274" y="268"/>
                    </a:lnTo>
                    <a:lnTo>
                      <a:pt x="292" y="260"/>
                    </a:lnTo>
                    <a:lnTo>
                      <a:pt x="306" y="248"/>
                    </a:lnTo>
                    <a:lnTo>
                      <a:pt x="320" y="240"/>
                    </a:lnTo>
                    <a:lnTo>
                      <a:pt x="338" y="228"/>
                    </a:lnTo>
                    <a:lnTo>
                      <a:pt x="352" y="220"/>
                    </a:lnTo>
                    <a:lnTo>
                      <a:pt x="366" y="211"/>
                    </a:lnTo>
                    <a:lnTo>
                      <a:pt x="384" y="205"/>
                    </a:lnTo>
                    <a:lnTo>
                      <a:pt x="398" y="194"/>
                    </a:lnTo>
                    <a:lnTo>
                      <a:pt x="416" y="185"/>
                    </a:lnTo>
                    <a:lnTo>
                      <a:pt x="430" y="174"/>
                    </a:lnTo>
                    <a:lnTo>
                      <a:pt x="448" y="166"/>
                    </a:lnTo>
                    <a:lnTo>
                      <a:pt x="462" y="154"/>
                    </a:lnTo>
                    <a:lnTo>
                      <a:pt x="480" y="146"/>
                    </a:lnTo>
                    <a:lnTo>
                      <a:pt x="489" y="137"/>
                    </a:lnTo>
                    <a:lnTo>
                      <a:pt x="507" y="129"/>
                    </a:lnTo>
                    <a:lnTo>
                      <a:pt x="516" y="117"/>
                    </a:lnTo>
                    <a:lnTo>
                      <a:pt x="535" y="109"/>
                    </a:lnTo>
                    <a:lnTo>
                      <a:pt x="548" y="100"/>
                    </a:lnTo>
                    <a:lnTo>
                      <a:pt x="567" y="94"/>
                    </a:lnTo>
                    <a:lnTo>
                      <a:pt x="576" y="83"/>
                    </a:lnTo>
                    <a:lnTo>
                      <a:pt x="589" y="77"/>
                    </a:lnTo>
                    <a:lnTo>
                      <a:pt x="603" y="69"/>
                    </a:lnTo>
                    <a:lnTo>
                      <a:pt x="617" y="60"/>
                    </a:lnTo>
                    <a:lnTo>
                      <a:pt x="626" y="54"/>
                    </a:lnTo>
                    <a:lnTo>
                      <a:pt x="640" y="46"/>
                    </a:lnTo>
                    <a:lnTo>
                      <a:pt x="653" y="40"/>
                    </a:lnTo>
                    <a:lnTo>
                      <a:pt x="663" y="35"/>
                    </a:lnTo>
                    <a:lnTo>
                      <a:pt x="676" y="26"/>
                    </a:lnTo>
                    <a:lnTo>
                      <a:pt x="685" y="20"/>
                    </a:lnTo>
                    <a:lnTo>
                      <a:pt x="695" y="12"/>
                    </a:lnTo>
                    <a:lnTo>
                      <a:pt x="704" y="9"/>
                    </a:lnTo>
                    <a:lnTo>
                      <a:pt x="722" y="0"/>
                    </a:lnTo>
                    <a:lnTo>
                      <a:pt x="603" y="2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2" name="Freeform 196"/>
              <p:cNvSpPr>
                <a:spLocks/>
              </p:cNvSpPr>
              <p:nvPr>
                <p:custDataLst>
                  <p:tags r:id="rId27"/>
                </p:custDataLst>
              </p:nvPr>
            </p:nvSpPr>
            <p:spPr bwMode="gray">
              <a:xfrm>
                <a:off x="2900" y="679"/>
                <a:ext cx="1128" cy="487"/>
              </a:xfrm>
              <a:custGeom>
                <a:avLst/>
                <a:gdLst>
                  <a:gd name="T0" fmla="*/ 225 w 1101"/>
                  <a:gd name="T1" fmla="*/ 18 h 533"/>
                  <a:gd name="T2" fmla="*/ 318 w 1101"/>
                  <a:gd name="T3" fmla="*/ 28 h 533"/>
                  <a:gd name="T4" fmla="*/ 416 w 1101"/>
                  <a:gd name="T5" fmla="*/ 38 h 533"/>
                  <a:gd name="T6" fmla="*/ 507 w 1101"/>
                  <a:gd name="T7" fmla="*/ 48 h 533"/>
                  <a:gd name="T8" fmla="*/ 604 w 1101"/>
                  <a:gd name="T9" fmla="*/ 60 h 533"/>
                  <a:gd name="T10" fmla="*/ 703 w 1101"/>
                  <a:gd name="T11" fmla="*/ 72 h 533"/>
                  <a:gd name="T12" fmla="*/ 795 w 1101"/>
                  <a:gd name="T13" fmla="*/ 84 h 533"/>
                  <a:gd name="T14" fmla="*/ 881 w 1101"/>
                  <a:gd name="T15" fmla="*/ 94 h 533"/>
                  <a:gd name="T16" fmla="*/ 958 w 1101"/>
                  <a:gd name="T17" fmla="*/ 105 h 533"/>
                  <a:gd name="T18" fmla="*/ 1045 w 1101"/>
                  <a:gd name="T19" fmla="*/ 117 h 533"/>
                  <a:gd name="T20" fmla="*/ 1125 w 1101"/>
                  <a:gd name="T21" fmla="*/ 127 h 533"/>
                  <a:gd name="T22" fmla="*/ 1192 w 1101"/>
                  <a:gd name="T23" fmla="*/ 137 h 533"/>
                  <a:gd name="T24" fmla="*/ 1254 w 1101"/>
                  <a:gd name="T25" fmla="*/ 145 h 533"/>
                  <a:gd name="T26" fmla="*/ 1314 w 1101"/>
                  <a:gd name="T27" fmla="*/ 154 h 533"/>
                  <a:gd name="T28" fmla="*/ 1369 w 1101"/>
                  <a:gd name="T29" fmla="*/ 162 h 533"/>
                  <a:gd name="T30" fmla="*/ 1406 w 1101"/>
                  <a:gd name="T31" fmla="*/ 169 h 533"/>
                  <a:gd name="T32" fmla="*/ 1455 w 1101"/>
                  <a:gd name="T33" fmla="*/ 176 h 533"/>
                  <a:gd name="T34" fmla="*/ 1472 w 1101"/>
                  <a:gd name="T35" fmla="*/ 181 h 533"/>
                  <a:gd name="T36" fmla="*/ 1442 w 1101"/>
                  <a:gd name="T37" fmla="*/ 177 h 533"/>
                  <a:gd name="T38" fmla="*/ 1413 w 1101"/>
                  <a:gd name="T39" fmla="*/ 172 h 533"/>
                  <a:gd name="T40" fmla="*/ 1364 w 1101"/>
                  <a:gd name="T41" fmla="*/ 166 h 533"/>
                  <a:gd name="T42" fmla="*/ 1301 w 1101"/>
                  <a:gd name="T43" fmla="*/ 160 h 533"/>
                  <a:gd name="T44" fmla="*/ 1241 w 1101"/>
                  <a:gd name="T45" fmla="*/ 152 h 533"/>
                  <a:gd name="T46" fmla="*/ 1167 w 1101"/>
                  <a:gd name="T47" fmla="*/ 143 h 533"/>
                  <a:gd name="T48" fmla="*/ 1086 w 1101"/>
                  <a:gd name="T49" fmla="*/ 132 h 533"/>
                  <a:gd name="T50" fmla="*/ 1001 w 1101"/>
                  <a:gd name="T51" fmla="*/ 123 h 533"/>
                  <a:gd name="T52" fmla="*/ 911 w 1101"/>
                  <a:gd name="T53" fmla="*/ 112 h 533"/>
                  <a:gd name="T54" fmla="*/ 813 w 1101"/>
                  <a:gd name="T55" fmla="*/ 101 h 533"/>
                  <a:gd name="T56" fmla="*/ 721 w 1101"/>
                  <a:gd name="T57" fmla="*/ 92 h 533"/>
                  <a:gd name="T58" fmla="*/ 624 w 1101"/>
                  <a:gd name="T59" fmla="*/ 80 h 533"/>
                  <a:gd name="T60" fmla="*/ 538 w 1101"/>
                  <a:gd name="T61" fmla="*/ 69 h 533"/>
                  <a:gd name="T62" fmla="*/ 446 w 1101"/>
                  <a:gd name="T63" fmla="*/ 58 h 533"/>
                  <a:gd name="T64" fmla="*/ 361 w 1101"/>
                  <a:gd name="T65" fmla="*/ 48 h 533"/>
                  <a:gd name="T66" fmla="*/ 281 w 1101"/>
                  <a:gd name="T67" fmla="*/ 37 h 533"/>
                  <a:gd name="T68" fmla="*/ 207 w 1101"/>
                  <a:gd name="T69" fmla="*/ 31 h 533"/>
                  <a:gd name="T70" fmla="*/ 141 w 1101"/>
                  <a:gd name="T71" fmla="*/ 22 h 533"/>
                  <a:gd name="T72" fmla="*/ 92 w 1101"/>
                  <a:gd name="T73" fmla="*/ 15 h 533"/>
                  <a:gd name="T74" fmla="*/ 44 w 1101"/>
                  <a:gd name="T75" fmla="*/ 8 h 533"/>
                  <a:gd name="T76" fmla="*/ 9 w 1101"/>
                  <a:gd name="T77" fmla="*/ 5 h 533"/>
                  <a:gd name="T78" fmla="*/ 0 w 1101"/>
                  <a:gd name="T79" fmla="*/ 0 h 533"/>
                  <a:gd name="T80" fmla="*/ 39 w 1101"/>
                  <a:gd name="T81" fmla="*/ 3 h 533"/>
                  <a:gd name="T82" fmla="*/ 92 w 1101"/>
                  <a:gd name="T83" fmla="*/ 5 h 533"/>
                  <a:gd name="T84" fmla="*/ 135 w 1101"/>
                  <a:gd name="T85" fmla="*/ 10 h 533"/>
                  <a:gd name="T86" fmla="*/ 164 w 1101"/>
                  <a:gd name="T87" fmla="*/ 13 h 5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01"/>
                  <a:gd name="T133" fmla="*/ 0 h 533"/>
                  <a:gd name="T134" fmla="*/ 1101 w 1101"/>
                  <a:gd name="T135" fmla="*/ 533 h 5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01" h="533">
                    <a:moveTo>
                      <a:pt x="128" y="37"/>
                    </a:moveTo>
                    <a:lnTo>
                      <a:pt x="151" y="46"/>
                    </a:lnTo>
                    <a:lnTo>
                      <a:pt x="169" y="54"/>
                    </a:lnTo>
                    <a:lnTo>
                      <a:pt x="192" y="63"/>
                    </a:lnTo>
                    <a:lnTo>
                      <a:pt x="215" y="74"/>
                    </a:lnTo>
                    <a:lnTo>
                      <a:pt x="238" y="83"/>
                    </a:lnTo>
                    <a:lnTo>
                      <a:pt x="265" y="91"/>
                    </a:lnTo>
                    <a:lnTo>
                      <a:pt x="283" y="103"/>
                    </a:lnTo>
                    <a:lnTo>
                      <a:pt x="311" y="114"/>
                    </a:lnTo>
                    <a:lnTo>
                      <a:pt x="334" y="126"/>
                    </a:lnTo>
                    <a:lnTo>
                      <a:pt x="352" y="137"/>
                    </a:lnTo>
                    <a:lnTo>
                      <a:pt x="379" y="146"/>
                    </a:lnTo>
                    <a:lnTo>
                      <a:pt x="407" y="157"/>
                    </a:lnTo>
                    <a:lnTo>
                      <a:pt x="425" y="165"/>
                    </a:lnTo>
                    <a:lnTo>
                      <a:pt x="452" y="180"/>
                    </a:lnTo>
                    <a:lnTo>
                      <a:pt x="475" y="191"/>
                    </a:lnTo>
                    <a:lnTo>
                      <a:pt x="503" y="202"/>
                    </a:lnTo>
                    <a:lnTo>
                      <a:pt x="525" y="214"/>
                    </a:lnTo>
                    <a:lnTo>
                      <a:pt x="548" y="222"/>
                    </a:lnTo>
                    <a:lnTo>
                      <a:pt x="571" y="237"/>
                    </a:lnTo>
                    <a:lnTo>
                      <a:pt x="594" y="245"/>
                    </a:lnTo>
                    <a:lnTo>
                      <a:pt x="612" y="257"/>
                    </a:lnTo>
                    <a:lnTo>
                      <a:pt x="635" y="268"/>
                    </a:lnTo>
                    <a:lnTo>
                      <a:pt x="658" y="279"/>
                    </a:lnTo>
                    <a:lnTo>
                      <a:pt x="681" y="291"/>
                    </a:lnTo>
                    <a:lnTo>
                      <a:pt x="699" y="299"/>
                    </a:lnTo>
                    <a:lnTo>
                      <a:pt x="717" y="311"/>
                    </a:lnTo>
                    <a:lnTo>
                      <a:pt x="740" y="322"/>
                    </a:lnTo>
                    <a:lnTo>
                      <a:pt x="763" y="333"/>
                    </a:lnTo>
                    <a:lnTo>
                      <a:pt x="781" y="345"/>
                    </a:lnTo>
                    <a:lnTo>
                      <a:pt x="800" y="353"/>
                    </a:lnTo>
                    <a:lnTo>
                      <a:pt x="823" y="365"/>
                    </a:lnTo>
                    <a:lnTo>
                      <a:pt x="841" y="376"/>
                    </a:lnTo>
                    <a:lnTo>
                      <a:pt x="859" y="385"/>
                    </a:lnTo>
                    <a:lnTo>
                      <a:pt x="877" y="393"/>
                    </a:lnTo>
                    <a:lnTo>
                      <a:pt x="891" y="405"/>
                    </a:lnTo>
                    <a:lnTo>
                      <a:pt x="909" y="413"/>
                    </a:lnTo>
                    <a:lnTo>
                      <a:pt x="923" y="422"/>
                    </a:lnTo>
                    <a:lnTo>
                      <a:pt x="937" y="430"/>
                    </a:lnTo>
                    <a:lnTo>
                      <a:pt x="955" y="439"/>
                    </a:lnTo>
                    <a:lnTo>
                      <a:pt x="969" y="450"/>
                    </a:lnTo>
                    <a:lnTo>
                      <a:pt x="982" y="456"/>
                    </a:lnTo>
                    <a:lnTo>
                      <a:pt x="996" y="464"/>
                    </a:lnTo>
                    <a:lnTo>
                      <a:pt x="1010" y="473"/>
                    </a:lnTo>
                    <a:lnTo>
                      <a:pt x="1024" y="479"/>
                    </a:lnTo>
                    <a:lnTo>
                      <a:pt x="1028" y="484"/>
                    </a:lnTo>
                    <a:lnTo>
                      <a:pt x="1042" y="493"/>
                    </a:lnTo>
                    <a:lnTo>
                      <a:pt x="1051" y="499"/>
                    </a:lnTo>
                    <a:lnTo>
                      <a:pt x="1060" y="504"/>
                    </a:lnTo>
                    <a:lnTo>
                      <a:pt x="1078" y="516"/>
                    </a:lnTo>
                    <a:lnTo>
                      <a:pt x="1088" y="521"/>
                    </a:lnTo>
                    <a:lnTo>
                      <a:pt x="1097" y="527"/>
                    </a:lnTo>
                    <a:lnTo>
                      <a:pt x="1101" y="530"/>
                    </a:lnTo>
                    <a:lnTo>
                      <a:pt x="1101" y="533"/>
                    </a:lnTo>
                    <a:lnTo>
                      <a:pt x="1097" y="533"/>
                    </a:lnTo>
                    <a:lnTo>
                      <a:pt x="1092" y="527"/>
                    </a:lnTo>
                    <a:lnTo>
                      <a:pt x="1078" y="524"/>
                    </a:lnTo>
                    <a:lnTo>
                      <a:pt x="1074" y="521"/>
                    </a:lnTo>
                    <a:lnTo>
                      <a:pt x="1065" y="516"/>
                    </a:lnTo>
                    <a:lnTo>
                      <a:pt x="1056" y="510"/>
                    </a:lnTo>
                    <a:lnTo>
                      <a:pt x="1042" y="504"/>
                    </a:lnTo>
                    <a:lnTo>
                      <a:pt x="1033" y="501"/>
                    </a:lnTo>
                    <a:lnTo>
                      <a:pt x="1019" y="493"/>
                    </a:lnTo>
                    <a:lnTo>
                      <a:pt x="1005" y="487"/>
                    </a:lnTo>
                    <a:lnTo>
                      <a:pt x="992" y="482"/>
                    </a:lnTo>
                    <a:lnTo>
                      <a:pt x="973" y="473"/>
                    </a:lnTo>
                    <a:lnTo>
                      <a:pt x="960" y="467"/>
                    </a:lnTo>
                    <a:lnTo>
                      <a:pt x="941" y="459"/>
                    </a:lnTo>
                    <a:lnTo>
                      <a:pt x="928" y="450"/>
                    </a:lnTo>
                    <a:lnTo>
                      <a:pt x="909" y="442"/>
                    </a:lnTo>
                    <a:lnTo>
                      <a:pt x="891" y="433"/>
                    </a:lnTo>
                    <a:lnTo>
                      <a:pt x="873" y="425"/>
                    </a:lnTo>
                    <a:lnTo>
                      <a:pt x="855" y="416"/>
                    </a:lnTo>
                    <a:lnTo>
                      <a:pt x="832" y="405"/>
                    </a:lnTo>
                    <a:lnTo>
                      <a:pt x="813" y="393"/>
                    </a:lnTo>
                    <a:lnTo>
                      <a:pt x="791" y="385"/>
                    </a:lnTo>
                    <a:lnTo>
                      <a:pt x="768" y="376"/>
                    </a:lnTo>
                    <a:lnTo>
                      <a:pt x="749" y="365"/>
                    </a:lnTo>
                    <a:lnTo>
                      <a:pt x="722" y="353"/>
                    </a:lnTo>
                    <a:lnTo>
                      <a:pt x="699" y="342"/>
                    </a:lnTo>
                    <a:lnTo>
                      <a:pt x="681" y="333"/>
                    </a:lnTo>
                    <a:lnTo>
                      <a:pt x="658" y="322"/>
                    </a:lnTo>
                    <a:lnTo>
                      <a:pt x="631" y="311"/>
                    </a:lnTo>
                    <a:lnTo>
                      <a:pt x="608" y="299"/>
                    </a:lnTo>
                    <a:lnTo>
                      <a:pt x="589" y="291"/>
                    </a:lnTo>
                    <a:lnTo>
                      <a:pt x="562" y="279"/>
                    </a:lnTo>
                    <a:lnTo>
                      <a:pt x="539" y="268"/>
                    </a:lnTo>
                    <a:lnTo>
                      <a:pt x="516" y="257"/>
                    </a:lnTo>
                    <a:lnTo>
                      <a:pt x="493" y="248"/>
                    </a:lnTo>
                    <a:lnTo>
                      <a:pt x="466" y="237"/>
                    </a:lnTo>
                    <a:lnTo>
                      <a:pt x="443" y="225"/>
                    </a:lnTo>
                    <a:lnTo>
                      <a:pt x="425" y="214"/>
                    </a:lnTo>
                    <a:lnTo>
                      <a:pt x="402" y="202"/>
                    </a:lnTo>
                    <a:lnTo>
                      <a:pt x="375" y="194"/>
                    </a:lnTo>
                    <a:lnTo>
                      <a:pt x="352" y="183"/>
                    </a:lnTo>
                    <a:lnTo>
                      <a:pt x="334" y="171"/>
                    </a:lnTo>
                    <a:lnTo>
                      <a:pt x="315" y="160"/>
                    </a:lnTo>
                    <a:lnTo>
                      <a:pt x="292" y="151"/>
                    </a:lnTo>
                    <a:lnTo>
                      <a:pt x="270" y="140"/>
                    </a:lnTo>
                    <a:lnTo>
                      <a:pt x="247" y="128"/>
                    </a:lnTo>
                    <a:lnTo>
                      <a:pt x="228" y="123"/>
                    </a:lnTo>
                    <a:lnTo>
                      <a:pt x="210" y="111"/>
                    </a:lnTo>
                    <a:lnTo>
                      <a:pt x="187" y="103"/>
                    </a:lnTo>
                    <a:lnTo>
                      <a:pt x="174" y="94"/>
                    </a:lnTo>
                    <a:lnTo>
                      <a:pt x="155" y="89"/>
                    </a:lnTo>
                    <a:lnTo>
                      <a:pt x="142" y="77"/>
                    </a:lnTo>
                    <a:lnTo>
                      <a:pt x="123" y="69"/>
                    </a:lnTo>
                    <a:lnTo>
                      <a:pt x="105" y="63"/>
                    </a:lnTo>
                    <a:lnTo>
                      <a:pt x="96" y="54"/>
                    </a:lnTo>
                    <a:lnTo>
                      <a:pt x="78" y="49"/>
                    </a:lnTo>
                    <a:lnTo>
                      <a:pt x="68" y="43"/>
                    </a:lnTo>
                    <a:lnTo>
                      <a:pt x="59" y="34"/>
                    </a:lnTo>
                    <a:lnTo>
                      <a:pt x="46" y="32"/>
                    </a:lnTo>
                    <a:lnTo>
                      <a:pt x="32" y="23"/>
                    </a:lnTo>
                    <a:lnTo>
                      <a:pt x="27" y="20"/>
                    </a:lnTo>
                    <a:lnTo>
                      <a:pt x="18" y="17"/>
                    </a:lnTo>
                    <a:lnTo>
                      <a:pt x="9" y="12"/>
                    </a:lnTo>
                    <a:lnTo>
                      <a:pt x="4" y="9"/>
                    </a:lnTo>
                    <a:lnTo>
                      <a:pt x="0" y="3"/>
                    </a:lnTo>
                    <a:lnTo>
                      <a:pt x="0" y="0"/>
                    </a:lnTo>
                    <a:lnTo>
                      <a:pt x="9" y="0"/>
                    </a:lnTo>
                    <a:lnTo>
                      <a:pt x="18" y="0"/>
                    </a:lnTo>
                    <a:lnTo>
                      <a:pt x="27" y="3"/>
                    </a:lnTo>
                    <a:lnTo>
                      <a:pt x="46" y="6"/>
                    </a:lnTo>
                    <a:lnTo>
                      <a:pt x="59" y="12"/>
                    </a:lnTo>
                    <a:lnTo>
                      <a:pt x="68" y="15"/>
                    </a:lnTo>
                    <a:lnTo>
                      <a:pt x="78" y="20"/>
                    </a:lnTo>
                    <a:lnTo>
                      <a:pt x="91" y="23"/>
                    </a:lnTo>
                    <a:lnTo>
                      <a:pt x="100" y="29"/>
                    </a:lnTo>
                    <a:lnTo>
                      <a:pt x="114" y="32"/>
                    </a:lnTo>
                    <a:lnTo>
                      <a:pt x="119" y="34"/>
                    </a:lnTo>
                    <a:lnTo>
                      <a:pt x="123" y="37"/>
                    </a:lnTo>
                    <a:lnTo>
                      <a:pt x="128"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3" name="Freeform 197"/>
              <p:cNvSpPr>
                <a:spLocks/>
              </p:cNvSpPr>
              <p:nvPr>
                <p:custDataLst>
                  <p:tags r:id="rId28"/>
                </p:custDataLst>
              </p:nvPr>
            </p:nvSpPr>
            <p:spPr bwMode="gray">
              <a:xfrm>
                <a:off x="1476" y="993"/>
                <a:ext cx="2230" cy="143"/>
              </a:xfrm>
              <a:custGeom>
                <a:avLst/>
                <a:gdLst>
                  <a:gd name="T0" fmla="*/ 338 w 2175"/>
                  <a:gd name="T1" fmla="*/ 19 h 156"/>
                  <a:gd name="T2" fmla="*/ 559 w 2175"/>
                  <a:gd name="T3" fmla="*/ 28 h 156"/>
                  <a:gd name="T4" fmla="*/ 776 w 2175"/>
                  <a:gd name="T5" fmla="*/ 37 h 156"/>
                  <a:gd name="T6" fmla="*/ 994 w 2175"/>
                  <a:gd name="T7" fmla="*/ 42 h 156"/>
                  <a:gd name="T8" fmla="*/ 1195 w 2175"/>
                  <a:gd name="T9" fmla="*/ 47 h 156"/>
                  <a:gd name="T10" fmla="*/ 1400 w 2175"/>
                  <a:gd name="T11" fmla="*/ 51 h 156"/>
                  <a:gd name="T12" fmla="*/ 1591 w 2175"/>
                  <a:gd name="T13" fmla="*/ 53 h 156"/>
                  <a:gd name="T14" fmla="*/ 1762 w 2175"/>
                  <a:gd name="T15" fmla="*/ 56 h 156"/>
                  <a:gd name="T16" fmla="*/ 1935 w 2175"/>
                  <a:gd name="T17" fmla="*/ 56 h 156"/>
                  <a:gd name="T18" fmla="*/ 2094 w 2175"/>
                  <a:gd name="T19" fmla="*/ 56 h 156"/>
                  <a:gd name="T20" fmla="*/ 2249 w 2175"/>
                  <a:gd name="T21" fmla="*/ 56 h 156"/>
                  <a:gd name="T22" fmla="*/ 2386 w 2175"/>
                  <a:gd name="T23" fmla="*/ 52 h 156"/>
                  <a:gd name="T24" fmla="*/ 2503 w 2175"/>
                  <a:gd name="T25" fmla="*/ 51 h 156"/>
                  <a:gd name="T26" fmla="*/ 2612 w 2175"/>
                  <a:gd name="T27" fmla="*/ 48 h 156"/>
                  <a:gd name="T28" fmla="*/ 2713 w 2175"/>
                  <a:gd name="T29" fmla="*/ 47 h 156"/>
                  <a:gd name="T30" fmla="*/ 2793 w 2175"/>
                  <a:gd name="T31" fmla="*/ 44 h 156"/>
                  <a:gd name="T32" fmla="*/ 2849 w 2175"/>
                  <a:gd name="T33" fmla="*/ 41 h 156"/>
                  <a:gd name="T34" fmla="*/ 2900 w 2175"/>
                  <a:gd name="T35" fmla="*/ 39 h 156"/>
                  <a:gd name="T36" fmla="*/ 2928 w 2175"/>
                  <a:gd name="T37" fmla="*/ 39 h 156"/>
                  <a:gd name="T38" fmla="*/ 2911 w 2175"/>
                  <a:gd name="T39" fmla="*/ 39 h 156"/>
                  <a:gd name="T40" fmla="*/ 2867 w 2175"/>
                  <a:gd name="T41" fmla="*/ 39 h 156"/>
                  <a:gd name="T42" fmla="*/ 2817 w 2175"/>
                  <a:gd name="T43" fmla="*/ 39 h 156"/>
                  <a:gd name="T44" fmla="*/ 2769 w 2175"/>
                  <a:gd name="T45" fmla="*/ 39 h 156"/>
                  <a:gd name="T46" fmla="*/ 2706 w 2175"/>
                  <a:gd name="T47" fmla="*/ 39 h 156"/>
                  <a:gd name="T48" fmla="*/ 2638 w 2175"/>
                  <a:gd name="T49" fmla="*/ 39 h 156"/>
                  <a:gd name="T50" fmla="*/ 2565 w 2175"/>
                  <a:gd name="T51" fmla="*/ 41 h 156"/>
                  <a:gd name="T52" fmla="*/ 2484 w 2175"/>
                  <a:gd name="T53" fmla="*/ 41 h 156"/>
                  <a:gd name="T54" fmla="*/ 2398 w 2175"/>
                  <a:gd name="T55" fmla="*/ 42 h 156"/>
                  <a:gd name="T56" fmla="*/ 2312 w 2175"/>
                  <a:gd name="T57" fmla="*/ 42 h 156"/>
                  <a:gd name="T58" fmla="*/ 2226 w 2175"/>
                  <a:gd name="T59" fmla="*/ 42 h 156"/>
                  <a:gd name="T60" fmla="*/ 2133 w 2175"/>
                  <a:gd name="T61" fmla="*/ 42 h 156"/>
                  <a:gd name="T62" fmla="*/ 2038 w 2175"/>
                  <a:gd name="T63" fmla="*/ 42 h 156"/>
                  <a:gd name="T64" fmla="*/ 1935 w 2175"/>
                  <a:gd name="T65" fmla="*/ 42 h 156"/>
                  <a:gd name="T66" fmla="*/ 1841 w 2175"/>
                  <a:gd name="T67" fmla="*/ 42 h 156"/>
                  <a:gd name="T68" fmla="*/ 1745 w 2175"/>
                  <a:gd name="T69" fmla="*/ 41 h 156"/>
                  <a:gd name="T70" fmla="*/ 1653 w 2175"/>
                  <a:gd name="T71" fmla="*/ 41 h 156"/>
                  <a:gd name="T72" fmla="*/ 1553 w 2175"/>
                  <a:gd name="T73" fmla="*/ 39 h 156"/>
                  <a:gd name="T74" fmla="*/ 1454 w 2175"/>
                  <a:gd name="T75" fmla="*/ 39 h 156"/>
                  <a:gd name="T76" fmla="*/ 1369 w 2175"/>
                  <a:gd name="T77" fmla="*/ 37 h 156"/>
                  <a:gd name="T78" fmla="*/ 1276 w 2175"/>
                  <a:gd name="T79" fmla="*/ 36 h 156"/>
                  <a:gd name="T80" fmla="*/ 1195 w 2175"/>
                  <a:gd name="T81" fmla="*/ 35 h 156"/>
                  <a:gd name="T82" fmla="*/ 1117 w 2175"/>
                  <a:gd name="T83" fmla="*/ 32 h 156"/>
                  <a:gd name="T84" fmla="*/ 1029 w 2175"/>
                  <a:gd name="T85" fmla="*/ 29 h 156"/>
                  <a:gd name="T86" fmla="*/ 949 w 2175"/>
                  <a:gd name="T87" fmla="*/ 28 h 156"/>
                  <a:gd name="T88" fmla="*/ 868 w 2175"/>
                  <a:gd name="T89" fmla="*/ 24 h 156"/>
                  <a:gd name="T90" fmla="*/ 790 w 2175"/>
                  <a:gd name="T91" fmla="*/ 23 h 156"/>
                  <a:gd name="T92" fmla="*/ 708 w 2175"/>
                  <a:gd name="T93" fmla="*/ 20 h 156"/>
                  <a:gd name="T94" fmla="*/ 633 w 2175"/>
                  <a:gd name="T95" fmla="*/ 17 h 156"/>
                  <a:gd name="T96" fmla="*/ 559 w 2175"/>
                  <a:gd name="T97" fmla="*/ 15 h 156"/>
                  <a:gd name="T98" fmla="*/ 492 w 2175"/>
                  <a:gd name="T99" fmla="*/ 15 h 156"/>
                  <a:gd name="T100" fmla="*/ 424 w 2175"/>
                  <a:gd name="T101" fmla="*/ 13 h 156"/>
                  <a:gd name="T102" fmla="*/ 364 w 2175"/>
                  <a:gd name="T103" fmla="*/ 12 h 156"/>
                  <a:gd name="T104" fmla="*/ 302 w 2175"/>
                  <a:gd name="T105" fmla="*/ 8 h 156"/>
                  <a:gd name="T106" fmla="*/ 246 w 2175"/>
                  <a:gd name="T107" fmla="*/ 7 h 156"/>
                  <a:gd name="T108" fmla="*/ 191 w 2175"/>
                  <a:gd name="T109" fmla="*/ 6 h 156"/>
                  <a:gd name="T110" fmla="*/ 147 w 2175"/>
                  <a:gd name="T111" fmla="*/ 5 h 156"/>
                  <a:gd name="T112" fmla="*/ 102 w 2175"/>
                  <a:gd name="T113" fmla="*/ 5 h 156"/>
                  <a:gd name="T114" fmla="*/ 53 w 2175"/>
                  <a:gd name="T115" fmla="*/ 5 h 156"/>
                  <a:gd name="T116" fmla="*/ 4 w 2175"/>
                  <a:gd name="T117" fmla="*/ 0 h 156"/>
                  <a:gd name="T118" fmla="*/ 191 w 2175"/>
                  <a:gd name="T119" fmla="*/ 13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75"/>
                  <a:gd name="T181" fmla="*/ 0 h 156"/>
                  <a:gd name="T182" fmla="*/ 2175 w 2175"/>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75" h="156">
                    <a:moveTo>
                      <a:pt x="141" y="34"/>
                    </a:moveTo>
                    <a:lnTo>
                      <a:pt x="196" y="43"/>
                    </a:lnTo>
                    <a:lnTo>
                      <a:pt x="251" y="54"/>
                    </a:lnTo>
                    <a:lnTo>
                      <a:pt x="306" y="63"/>
                    </a:lnTo>
                    <a:lnTo>
                      <a:pt x="361" y="74"/>
                    </a:lnTo>
                    <a:lnTo>
                      <a:pt x="415" y="80"/>
                    </a:lnTo>
                    <a:lnTo>
                      <a:pt x="470" y="88"/>
                    </a:lnTo>
                    <a:lnTo>
                      <a:pt x="521" y="97"/>
                    </a:lnTo>
                    <a:lnTo>
                      <a:pt x="575" y="105"/>
                    </a:lnTo>
                    <a:lnTo>
                      <a:pt x="630" y="111"/>
                    </a:lnTo>
                    <a:lnTo>
                      <a:pt x="685" y="117"/>
                    </a:lnTo>
                    <a:lnTo>
                      <a:pt x="735" y="119"/>
                    </a:lnTo>
                    <a:lnTo>
                      <a:pt x="786" y="128"/>
                    </a:lnTo>
                    <a:lnTo>
                      <a:pt x="836" y="128"/>
                    </a:lnTo>
                    <a:lnTo>
                      <a:pt x="886" y="134"/>
                    </a:lnTo>
                    <a:lnTo>
                      <a:pt x="936" y="137"/>
                    </a:lnTo>
                    <a:lnTo>
                      <a:pt x="991" y="142"/>
                    </a:lnTo>
                    <a:lnTo>
                      <a:pt x="1037" y="145"/>
                    </a:lnTo>
                    <a:lnTo>
                      <a:pt x="1083" y="148"/>
                    </a:lnTo>
                    <a:lnTo>
                      <a:pt x="1128" y="148"/>
                    </a:lnTo>
                    <a:lnTo>
                      <a:pt x="1179" y="151"/>
                    </a:lnTo>
                    <a:lnTo>
                      <a:pt x="1220" y="154"/>
                    </a:lnTo>
                    <a:lnTo>
                      <a:pt x="1266" y="156"/>
                    </a:lnTo>
                    <a:lnTo>
                      <a:pt x="1307" y="156"/>
                    </a:lnTo>
                    <a:lnTo>
                      <a:pt x="1352" y="156"/>
                    </a:lnTo>
                    <a:lnTo>
                      <a:pt x="1398" y="156"/>
                    </a:lnTo>
                    <a:lnTo>
                      <a:pt x="1435" y="156"/>
                    </a:lnTo>
                    <a:lnTo>
                      <a:pt x="1476" y="156"/>
                    </a:lnTo>
                    <a:lnTo>
                      <a:pt x="1517" y="156"/>
                    </a:lnTo>
                    <a:lnTo>
                      <a:pt x="1553" y="156"/>
                    </a:lnTo>
                    <a:lnTo>
                      <a:pt x="1590" y="156"/>
                    </a:lnTo>
                    <a:lnTo>
                      <a:pt x="1631" y="156"/>
                    </a:lnTo>
                    <a:lnTo>
                      <a:pt x="1668" y="156"/>
                    </a:lnTo>
                    <a:lnTo>
                      <a:pt x="1704" y="151"/>
                    </a:lnTo>
                    <a:lnTo>
                      <a:pt x="1732" y="148"/>
                    </a:lnTo>
                    <a:lnTo>
                      <a:pt x="1768" y="148"/>
                    </a:lnTo>
                    <a:lnTo>
                      <a:pt x="1796" y="148"/>
                    </a:lnTo>
                    <a:lnTo>
                      <a:pt x="1828" y="145"/>
                    </a:lnTo>
                    <a:lnTo>
                      <a:pt x="1855" y="145"/>
                    </a:lnTo>
                    <a:lnTo>
                      <a:pt x="1887" y="139"/>
                    </a:lnTo>
                    <a:lnTo>
                      <a:pt x="1914" y="139"/>
                    </a:lnTo>
                    <a:lnTo>
                      <a:pt x="1937" y="137"/>
                    </a:lnTo>
                    <a:lnTo>
                      <a:pt x="1965" y="137"/>
                    </a:lnTo>
                    <a:lnTo>
                      <a:pt x="1988" y="134"/>
                    </a:lnTo>
                    <a:lnTo>
                      <a:pt x="2010" y="131"/>
                    </a:lnTo>
                    <a:lnTo>
                      <a:pt x="2029" y="128"/>
                    </a:lnTo>
                    <a:lnTo>
                      <a:pt x="2052" y="128"/>
                    </a:lnTo>
                    <a:lnTo>
                      <a:pt x="2070" y="125"/>
                    </a:lnTo>
                    <a:lnTo>
                      <a:pt x="2088" y="122"/>
                    </a:lnTo>
                    <a:lnTo>
                      <a:pt x="2102" y="119"/>
                    </a:lnTo>
                    <a:lnTo>
                      <a:pt x="2111" y="117"/>
                    </a:lnTo>
                    <a:lnTo>
                      <a:pt x="2125" y="117"/>
                    </a:lnTo>
                    <a:lnTo>
                      <a:pt x="2138" y="114"/>
                    </a:lnTo>
                    <a:lnTo>
                      <a:pt x="2148" y="114"/>
                    </a:lnTo>
                    <a:lnTo>
                      <a:pt x="2157" y="111"/>
                    </a:lnTo>
                    <a:lnTo>
                      <a:pt x="2161" y="111"/>
                    </a:lnTo>
                    <a:lnTo>
                      <a:pt x="2170" y="111"/>
                    </a:lnTo>
                    <a:lnTo>
                      <a:pt x="2175" y="105"/>
                    </a:lnTo>
                    <a:lnTo>
                      <a:pt x="2170" y="105"/>
                    </a:lnTo>
                    <a:lnTo>
                      <a:pt x="2157" y="108"/>
                    </a:lnTo>
                    <a:lnTo>
                      <a:pt x="2148" y="108"/>
                    </a:lnTo>
                    <a:lnTo>
                      <a:pt x="2138" y="108"/>
                    </a:lnTo>
                    <a:lnTo>
                      <a:pt x="2125" y="108"/>
                    </a:lnTo>
                    <a:lnTo>
                      <a:pt x="2116" y="108"/>
                    </a:lnTo>
                    <a:lnTo>
                      <a:pt x="2102" y="108"/>
                    </a:lnTo>
                    <a:lnTo>
                      <a:pt x="2088" y="111"/>
                    </a:lnTo>
                    <a:lnTo>
                      <a:pt x="2079" y="111"/>
                    </a:lnTo>
                    <a:lnTo>
                      <a:pt x="2070" y="111"/>
                    </a:lnTo>
                    <a:lnTo>
                      <a:pt x="2052" y="111"/>
                    </a:lnTo>
                    <a:lnTo>
                      <a:pt x="2033" y="111"/>
                    </a:lnTo>
                    <a:lnTo>
                      <a:pt x="2020" y="114"/>
                    </a:lnTo>
                    <a:lnTo>
                      <a:pt x="2006" y="114"/>
                    </a:lnTo>
                    <a:lnTo>
                      <a:pt x="1988" y="114"/>
                    </a:lnTo>
                    <a:lnTo>
                      <a:pt x="1969" y="114"/>
                    </a:lnTo>
                    <a:lnTo>
                      <a:pt x="1956" y="114"/>
                    </a:lnTo>
                    <a:lnTo>
                      <a:pt x="1942" y="117"/>
                    </a:lnTo>
                    <a:lnTo>
                      <a:pt x="1919" y="117"/>
                    </a:lnTo>
                    <a:lnTo>
                      <a:pt x="1901" y="117"/>
                    </a:lnTo>
                    <a:lnTo>
                      <a:pt x="1882" y="117"/>
                    </a:lnTo>
                    <a:lnTo>
                      <a:pt x="1864" y="117"/>
                    </a:lnTo>
                    <a:lnTo>
                      <a:pt x="1841" y="117"/>
                    </a:lnTo>
                    <a:lnTo>
                      <a:pt x="1823" y="117"/>
                    </a:lnTo>
                    <a:lnTo>
                      <a:pt x="1800" y="117"/>
                    </a:lnTo>
                    <a:lnTo>
                      <a:pt x="1777" y="119"/>
                    </a:lnTo>
                    <a:lnTo>
                      <a:pt x="1759" y="119"/>
                    </a:lnTo>
                    <a:lnTo>
                      <a:pt x="1741" y="119"/>
                    </a:lnTo>
                    <a:lnTo>
                      <a:pt x="1713" y="119"/>
                    </a:lnTo>
                    <a:lnTo>
                      <a:pt x="1695" y="119"/>
                    </a:lnTo>
                    <a:lnTo>
                      <a:pt x="1672" y="119"/>
                    </a:lnTo>
                    <a:lnTo>
                      <a:pt x="1649" y="119"/>
                    </a:lnTo>
                    <a:lnTo>
                      <a:pt x="1627" y="119"/>
                    </a:lnTo>
                    <a:lnTo>
                      <a:pt x="1604" y="122"/>
                    </a:lnTo>
                    <a:lnTo>
                      <a:pt x="1581" y="119"/>
                    </a:lnTo>
                    <a:lnTo>
                      <a:pt x="1558" y="119"/>
                    </a:lnTo>
                    <a:lnTo>
                      <a:pt x="1535" y="119"/>
                    </a:lnTo>
                    <a:lnTo>
                      <a:pt x="1512" y="119"/>
                    </a:lnTo>
                    <a:lnTo>
                      <a:pt x="1485" y="119"/>
                    </a:lnTo>
                    <a:lnTo>
                      <a:pt x="1462" y="119"/>
                    </a:lnTo>
                    <a:lnTo>
                      <a:pt x="1435" y="119"/>
                    </a:lnTo>
                    <a:lnTo>
                      <a:pt x="1416" y="119"/>
                    </a:lnTo>
                    <a:lnTo>
                      <a:pt x="1389" y="119"/>
                    </a:lnTo>
                    <a:lnTo>
                      <a:pt x="1366" y="119"/>
                    </a:lnTo>
                    <a:lnTo>
                      <a:pt x="1343" y="117"/>
                    </a:lnTo>
                    <a:lnTo>
                      <a:pt x="1316" y="117"/>
                    </a:lnTo>
                    <a:lnTo>
                      <a:pt x="1293" y="117"/>
                    </a:lnTo>
                    <a:lnTo>
                      <a:pt x="1270" y="117"/>
                    </a:lnTo>
                    <a:lnTo>
                      <a:pt x="1247" y="117"/>
                    </a:lnTo>
                    <a:lnTo>
                      <a:pt x="1224" y="117"/>
                    </a:lnTo>
                    <a:lnTo>
                      <a:pt x="1197" y="114"/>
                    </a:lnTo>
                    <a:lnTo>
                      <a:pt x="1174" y="114"/>
                    </a:lnTo>
                    <a:lnTo>
                      <a:pt x="1151" y="114"/>
                    </a:lnTo>
                    <a:lnTo>
                      <a:pt x="1124" y="114"/>
                    </a:lnTo>
                    <a:lnTo>
                      <a:pt x="1101" y="111"/>
                    </a:lnTo>
                    <a:lnTo>
                      <a:pt x="1078" y="111"/>
                    </a:lnTo>
                    <a:lnTo>
                      <a:pt x="1055" y="108"/>
                    </a:lnTo>
                    <a:lnTo>
                      <a:pt x="1037" y="108"/>
                    </a:lnTo>
                    <a:lnTo>
                      <a:pt x="1014" y="105"/>
                    </a:lnTo>
                    <a:lnTo>
                      <a:pt x="991" y="105"/>
                    </a:lnTo>
                    <a:lnTo>
                      <a:pt x="968" y="102"/>
                    </a:lnTo>
                    <a:lnTo>
                      <a:pt x="946" y="100"/>
                    </a:lnTo>
                    <a:lnTo>
                      <a:pt x="923" y="100"/>
                    </a:lnTo>
                    <a:lnTo>
                      <a:pt x="904" y="97"/>
                    </a:lnTo>
                    <a:lnTo>
                      <a:pt x="886" y="97"/>
                    </a:lnTo>
                    <a:lnTo>
                      <a:pt x="868" y="94"/>
                    </a:lnTo>
                    <a:lnTo>
                      <a:pt x="845" y="91"/>
                    </a:lnTo>
                    <a:lnTo>
                      <a:pt x="827" y="91"/>
                    </a:lnTo>
                    <a:lnTo>
                      <a:pt x="804" y="85"/>
                    </a:lnTo>
                    <a:lnTo>
                      <a:pt x="786" y="85"/>
                    </a:lnTo>
                    <a:lnTo>
                      <a:pt x="763" y="82"/>
                    </a:lnTo>
                    <a:lnTo>
                      <a:pt x="745" y="80"/>
                    </a:lnTo>
                    <a:lnTo>
                      <a:pt x="726" y="77"/>
                    </a:lnTo>
                    <a:lnTo>
                      <a:pt x="703" y="77"/>
                    </a:lnTo>
                    <a:lnTo>
                      <a:pt x="681" y="74"/>
                    </a:lnTo>
                    <a:lnTo>
                      <a:pt x="662" y="71"/>
                    </a:lnTo>
                    <a:lnTo>
                      <a:pt x="644" y="68"/>
                    </a:lnTo>
                    <a:lnTo>
                      <a:pt x="626" y="68"/>
                    </a:lnTo>
                    <a:lnTo>
                      <a:pt x="603" y="65"/>
                    </a:lnTo>
                    <a:lnTo>
                      <a:pt x="585" y="63"/>
                    </a:lnTo>
                    <a:lnTo>
                      <a:pt x="566" y="60"/>
                    </a:lnTo>
                    <a:lnTo>
                      <a:pt x="548" y="60"/>
                    </a:lnTo>
                    <a:lnTo>
                      <a:pt x="525" y="57"/>
                    </a:lnTo>
                    <a:lnTo>
                      <a:pt x="507" y="54"/>
                    </a:lnTo>
                    <a:lnTo>
                      <a:pt x="489" y="51"/>
                    </a:lnTo>
                    <a:lnTo>
                      <a:pt x="470" y="51"/>
                    </a:lnTo>
                    <a:lnTo>
                      <a:pt x="452" y="48"/>
                    </a:lnTo>
                    <a:lnTo>
                      <a:pt x="434" y="45"/>
                    </a:lnTo>
                    <a:lnTo>
                      <a:pt x="415" y="43"/>
                    </a:lnTo>
                    <a:lnTo>
                      <a:pt x="402" y="43"/>
                    </a:lnTo>
                    <a:lnTo>
                      <a:pt x="383" y="40"/>
                    </a:lnTo>
                    <a:lnTo>
                      <a:pt x="365" y="40"/>
                    </a:lnTo>
                    <a:lnTo>
                      <a:pt x="351" y="37"/>
                    </a:lnTo>
                    <a:lnTo>
                      <a:pt x="333" y="34"/>
                    </a:lnTo>
                    <a:lnTo>
                      <a:pt x="315" y="34"/>
                    </a:lnTo>
                    <a:lnTo>
                      <a:pt x="301" y="31"/>
                    </a:lnTo>
                    <a:lnTo>
                      <a:pt x="283" y="31"/>
                    </a:lnTo>
                    <a:lnTo>
                      <a:pt x="269" y="31"/>
                    </a:lnTo>
                    <a:lnTo>
                      <a:pt x="256" y="28"/>
                    </a:lnTo>
                    <a:lnTo>
                      <a:pt x="237" y="28"/>
                    </a:lnTo>
                    <a:lnTo>
                      <a:pt x="224" y="23"/>
                    </a:lnTo>
                    <a:lnTo>
                      <a:pt x="210" y="23"/>
                    </a:lnTo>
                    <a:lnTo>
                      <a:pt x="196" y="20"/>
                    </a:lnTo>
                    <a:lnTo>
                      <a:pt x="182" y="20"/>
                    </a:lnTo>
                    <a:lnTo>
                      <a:pt x="169" y="17"/>
                    </a:lnTo>
                    <a:lnTo>
                      <a:pt x="160" y="17"/>
                    </a:lnTo>
                    <a:lnTo>
                      <a:pt x="141" y="17"/>
                    </a:lnTo>
                    <a:lnTo>
                      <a:pt x="132" y="14"/>
                    </a:lnTo>
                    <a:lnTo>
                      <a:pt x="123" y="11"/>
                    </a:lnTo>
                    <a:lnTo>
                      <a:pt x="109" y="11"/>
                    </a:lnTo>
                    <a:lnTo>
                      <a:pt x="100" y="11"/>
                    </a:lnTo>
                    <a:lnTo>
                      <a:pt x="86" y="8"/>
                    </a:lnTo>
                    <a:lnTo>
                      <a:pt x="77" y="8"/>
                    </a:lnTo>
                    <a:lnTo>
                      <a:pt x="73" y="8"/>
                    </a:lnTo>
                    <a:lnTo>
                      <a:pt x="54" y="8"/>
                    </a:lnTo>
                    <a:lnTo>
                      <a:pt x="41" y="8"/>
                    </a:lnTo>
                    <a:lnTo>
                      <a:pt x="27" y="3"/>
                    </a:lnTo>
                    <a:lnTo>
                      <a:pt x="18" y="3"/>
                    </a:lnTo>
                    <a:lnTo>
                      <a:pt x="4" y="0"/>
                    </a:lnTo>
                    <a:lnTo>
                      <a:pt x="0" y="0"/>
                    </a:lnTo>
                    <a:lnTo>
                      <a:pt x="141" y="3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4" name="Freeform 198"/>
              <p:cNvSpPr>
                <a:spLocks/>
              </p:cNvSpPr>
              <p:nvPr>
                <p:custDataLst>
                  <p:tags r:id="rId29"/>
                </p:custDataLst>
              </p:nvPr>
            </p:nvSpPr>
            <p:spPr bwMode="gray">
              <a:xfrm>
                <a:off x="1775" y="917"/>
                <a:ext cx="1172" cy="102"/>
              </a:xfrm>
              <a:custGeom>
                <a:avLst/>
                <a:gdLst>
                  <a:gd name="T0" fmla="*/ 148 w 1143"/>
                  <a:gd name="T1" fmla="*/ 6 h 111"/>
                  <a:gd name="T2" fmla="*/ 221 w 1143"/>
                  <a:gd name="T3" fmla="*/ 6 h 111"/>
                  <a:gd name="T4" fmla="*/ 309 w 1143"/>
                  <a:gd name="T5" fmla="*/ 10 h 111"/>
                  <a:gd name="T6" fmla="*/ 388 w 1143"/>
                  <a:gd name="T7" fmla="*/ 13 h 111"/>
                  <a:gd name="T8" fmla="*/ 483 w 1143"/>
                  <a:gd name="T9" fmla="*/ 15 h 111"/>
                  <a:gd name="T10" fmla="*/ 575 w 1143"/>
                  <a:gd name="T11" fmla="*/ 17 h 111"/>
                  <a:gd name="T12" fmla="*/ 669 w 1143"/>
                  <a:gd name="T13" fmla="*/ 18 h 111"/>
                  <a:gd name="T14" fmla="*/ 759 w 1143"/>
                  <a:gd name="T15" fmla="*/ 20 h 111"/>
                  <a:gd name="T16" fmla="*/ 853 w 1143"/>
                  <a:gd name="T17" fmla="*/ 22 h 111"/>
                  <a:gd name="T18" fmla="*/ 945 w 1143"/>
                  <a:gd name="T19" fmla="*/ 23 h 111"/>
                  <a:gd name="T20" fmla="*/ 1029 w 1143"/>
                  <a:gd name="T21" fmla="*/ 25 h 111"/>
                  <a:gd name="T22" fmla="*/ 1118 w 1143"/>
                  <a:gd name="T23" fmla="*/ 25 h 111"/>
                  <a:gd name="T24" fmla="*/ 1200 w 1143"/>
                  <a:gd name="T25" fmla="*/ 26 h 111"/>
                  <a:gd name="T26" fmla="*/ 1272 w 1143"/>
                  <a:gd name="T27" fmla="*/ 26 h 111"/>
                  <a:gd name="T28" fmla="*/ 1333 w 1143"/>
                  <a:gd name="T29" fmla="*/ 26 h 111"/>
                  <a:gd name="T30" fmla="*/ 1396 w 1143"/>
                  <a:gd name="T31" fmla="*/ 26 h 111"/>
                  <a:gd name="T32" fmla="*/ 1450 w 1143"/>
                  <a:gd name="T33" fmla="*/ 26 h 111"/>
                  <a:gd name="T34" fmla="*/ 1494 w 1143"/>
                  <a:gd name="T35" fmla="*/ 28 h 111"/>
                  <a:gd name="T36" fmla="*/ 1543 w 1143"/>
                  <a:gd name="T37" fmla="*/ 28 h 111"/>
                  <a:gd name="T38" fmla="*/ 1520 w 1143"/>
                  <a:gd name="T39" fmla="*/ 32 h 111"/>
                  <a:gd name="T40" fmla="*/ 1470 w 1143"/>
                  <a:gd name="T41" fmla="*/ 34 h 111"/>
                  <a:gd name="T42" fmla="*/ 1414 w 1143"/>
                  <a:gd name="T43" fmla="*/ 37 h 111"/>
                  <a:gd name="T44" fmla="*/ 1352 w 1143"/>
                  <a:gd name="T45" fmla="*/ 37 h 111"/>
                  <a:gd name="T46" fmla="*/ 1279 w 1143"/>
                  <a:gd name="T47" fmla="*/ 38 h 111"/>
                  <a:gd name="T48" fmla="*/ 1230 w 1143"/>
                  <a:gd name="T49" fmla="*/ 40 h 111"/>
                  <a:gd name="T50" fmla="*/ 1186 w 1143"/>
                  <a:gd name="T51" fmla="*/ 40 h 111"/>
                  <a:gd name="T52" fmla="*/ 1143 w 1143"/>
                  <a:gd name="T53" fmla="*/ 40 h 111"/>
                  <a:gd name="T54" fmla="*/ 1100 w 1143"/>
                  <a:gd name="T55" fmla="*/ 40 h 111"/>
                  <a:gd name="T56" fmla="*/ 1049 w 1143"/>
                  <a:gd name="T57" fmla="*/ 40 h 111"/>
                  <a:gd name="T58" fmla="*/ 1006 w 1143"/>
                  <a:gd name="T59" fmla="*/ 40 h 111"/>
                  <a:gd name="T60" fmla="*/ 951 w 1143"/>
                  <a:gd name="T61" fmla="*/ 38 h 111"/>
                  <a:gd name="T62" fmla="*/ 897 w 1143"/>
                  <a:gd name="T63" fmla="*/ 38 h 111"/>
                  <a:gd name="T64" fmla="*/ 845 w 1143"/>
                  <a:gd name="T65" fmla="*/ 37 h 111"/>
                  <a:gd name="T66" fmla="*/ 791 w 1143"/>
                  <a:gd name="T67" fmla="*/ 37 h 111"/>
                  <a:gd name="T68" fmla="*/ 729 w 1143"/>
                  <a:gd name="T69" fmla="*/ 37 h 111"/>
                  <a:gd name="T70" fmla="*/ 673 w 1143"/>
                  <a:gd name="T71" fmla="*/ 34 h 111"/>
                  <a:gd name="T72" fmla="*/ 611 w 1143"/>
                  <a:gd name="T73" fmla="*/ 32 h 111"/>
                  <a:gd name="T74" fmla="*/ 555 w 1143"/>
                  <a:gd name="T75" fmla="*/ 28 h 111"/>
                  <a:gd name="T76" fmla="*/ 499 w 1143"/>
                  <a:gd name="T77" fmla="*/ 28 h 111"/>
                  <a:gd name="T78" fmla="*/ 439 w 1143"/>
                  <a:gd name="T79" fmla="*/ 26 h 111"/>
                  <a:gd name="T80" fmla="*/ 382 w 1143"/>
                  <a:gd name="T81" fmla="*/ 23 h 111"/>
                  <a:gd name="T82" fmla="*/ 333 w 1143"/>
                  <a:gd name="T83" fmla="*/ 20 h 111"/>
                  <a:gd name="T84" fmla="*/ 278 w 1143"/>
                  <a:gd name="T85" fmla="*/ 17 h 111"/>
                  <a:gd name="T86" fmla="*/ 221 w 1143"/>
                  <a:gd name="T87" fmla="*/ 15 h 111"/>
                  <a:gd name="T88" fmla="*/ 179 w 1143"/>
                  <a:gd name="T89" fmla="*/ 13 h 111"/>
                  <a:gd name="T90" fmla="*/ 137 w 1143"/>
                  <a:gd name="T91" fmla="*/ 11 h 111"/>
                  <a:gd name="T92" fmla="*/ 93 w 1143"/>
                  <a:gd name="T93" fmla="*/ 7 h 111"/>
                  <a:gd name="T94" fmla="*/ 14 w 1143"/>
                  <a:gd name="T95" fmla="*/ 6 h 111"/>
                  <a:gd name="T96" fmla="*/ 14 w 1143"/>
                  <a:gd name="T97" fmla="*/ 0 h 111"/>
                  <a:gd name="T98" fmla="*/ 58 w 1143"/>
                  <a:gd name="T99" fmla="*/ 0 h 111"/>
                  <a:gd name="T100" fmla="*/ 97 w 1143"/>
                  <a:gd name="T101" fmla="*/ 0 h 1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3"/>
                  <a:gd name="T154" fmla="*/ 0 h 111"/>
                  <a:gd name="T155" fmla="*/ 1143 w 1143"/>
                  <a:gd name="T156" fmla="*/ 111 h 1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3" h="111">
                    <a:moveTo>
                      <a:pt x="78" y="0"/>
                    </a:moveTo>
                    <a:lnTo>
                      <a:pt x="96" y="3"/>
                    </a:lnTo>
                    <a:lnTo>
                      <a:pt x="110" y="6"/>
                    </a:lnTo>
                    <a:lnTo>
                      <a:pt x="133" y="12"/>
                    </a:lnTo>
                    <a:lnTo>
                      <a:pt x="151" y="15"/>
                    </a:lnTo>
                    <a:lnTo>
                      <a:pt x="165" y="17"/>
                    </a:lnTo>
                    <a:lnTo>
                      <a:pt x="187" y="20"/>
                    </a:lnTo>
                    <a:lnTo>
                      <a:pt x="206" y="23"/>
                    </a:lnTo>
                    <a:lnTo>
                      <a:pt x="229" y="26"/>
                    </a:lnTo>
                    <a:lnTo>
                      <a:pt x="247" y="29"/>
                    </a:lnTo>
                    <a:lnTo>
                      <a:pt x="265" y="29"/>
                    </a:lnTo>
                    <a:lnTo>
                      <a:pt x="288" y="34"/>
                    </a:lnTo>
                    <a:lnTo>
                      <a:pt x="311" y="34"/>
                    </a:lnTo>
                    <a:lnTo>
                      <a:pt x="334" y="37"/>
                    </a:lnTo>
                    <a:lnTo>
                      <a:pt x="357" y="40"/>
                    </a:lnTo>
                    <a:lnTo>
                      <a:pt x="379" y="43"/>
                    </a:lnTo>
                    <a:lnTo>
                      <a:pt x="402" y="46"/>
                    </a:lnTo>
                    <a:lnTo>
                      <a:pt x="425" y="46"/>
                    </a:lnTo>
                    <a:lnTo>
                      <a:pt x="448" y="49"/>
                    </a:lnTo>
                    <a:lnTo>
                      <a:pt x="471" y="49"/>
                    </a:lnTo>
                    <a:lnTo>
                      <a:pt x="494" y="52"/>
                    </a:lnTo>
                    <a:lnTo>
                      <a:pt x="517" y="52"/>
                    </a:lnTo>
                    <a:lnTo>
                      <a:pt x="539" y="54"/>
                    </a:lnTo>
                    <a:lnTo>
                      <a:pt x="562" y="54"/>
                    </a:lnTo>
                    <a:lnTo>
                      <a:pt x="590" y="57"/>
                    </a:lnTo>
                    <a:lnTo>
                      <a:pt x="608" y="57"/>
                    </a:lnTo>
                    <a:lnTo>
                      <a:pt x="631" y="60"/>
                    </a:lnTo>
                    <a:lnTo>
                      <a:pt x="654" y="60"/>
                    </a:lnTo>
                    <a:lnTo>
                      <a:pt x="676" y="63"/>
                    </a:lnTo>
                    <a:lnTo>
                      <a:pt x="699" y="63"/>
                    </a:lnTo>
                    <a:lnTo>
                      <a:pt x="722" y="63"/>
                    </a:lnTo>
                    <a:lnTo>
                      <a:pt x="745" y="63"/>
                    </a:lnTo>
                    <a:lnTo>
                      <a:pt x="763" y="69"/>
                    </a:lnTo>
                    <a:lnTo>
                      <a:pt x="786" y="69"/>
                    </a:lnTo>
                    <a:lnTo>
                      <a:pt x="809" y="69"/>
                    </a:lnTo>
                    <a:lnTo>
                      <a:pt x="827" y="69"/>
                    </a:lnTo>
                    <a:lnTo>
                      <a:pt x="850" y="69"/>
                    </a:lnTo>
                    <a:lnTo>
                      <a:pt x="864" y="69"/>
                    </a:lnTo>
                    <a:lnTo>
                      <a:pt x="887" y="71"/>
                    </a:lnTo>
                    <a:lnTo>
                      <a:pt x="905" y="71"/>
                    </a:lnTo>
                    <a:lnTo>
                      <a:pt x="923" y="71"/>
                    </a:lnTo>
                    <a:lnTo>
                      <a:pt x="942" y="71"/>
                    </a:lnTo>
                    <a:lnTo>
                      <a:pt x="955" y="71"/>
                    </a:lnTo>
                    <a:lnTo>
                      <a:pt x="974" y="71"/>
                    </a:lnTo>
                    <a:lnTo>
                      <a:pt x="987" y="71"/>
                    </a:lnTo>
                    <a:lnTo>
                      <a:pt x="1006" y="71"/>
                    </a:lnTo>
                    <a:lnTo>
                      <a:pt x="1019" y="74"/>
                    </a:lnTo>
                    <a:lnTo>
                      <a:pt x="1033" y="74"/>
                    </a:lnTo>
                    <a:lnTo>
                      <a:pt x="1051" y="74"/>
                    </a:lnTo>
                    <a:lnTo>
                      <a:pt x="1060" y="74"/>
                    </a:lnTo>
                    <a:lnTo>
                      <a:pt x="1074" y="74"/>
                    </a:lnTo>
                    <a:lnTo>
                      <a:pt x="1083" y="74"/>
                    </a:lnTo>
                    <a:lnTo>
                      <a:pt x="1092" y="77"/>
                    </a:lnTo>
                    <a:lnTo>
                      <a:pt x="1106" y="77"/>
                    </a:lnTo>
                    <a:lnTo>
                      <a:pt x="1124" y="80"/>
                    </a:lnTo>
                    <a:lnTo>
                      <a:pt x="1133" y="80"/>
                    </a:lnTo>
                    <a:lnTo>
                      <a:pt x="1143" y="80"/>
                    </a:lnTo>
                    <a:lnTo>
                      <a:pt x="1143" y="83"/>
                    </a:lnTo>
                    <a:lnTo>
                      <a:pt x="1124" y="89"/>
                    </a:lnTo>
                    <a:lnTo>
                      <a:pt x="1106" y="91"/>
                    </a:lnTo>
                    <a:lnTo>
                      <a:pt x="1097" y="91"/>
                    </a:lnTo>
                    <a:lnTo>
                      <a:pt x="1088" y="94"/>
                    </a:lnTo>
                    <a:lnTo>
                      <a:pt x="1074" y="94"/>
                    </a:lnTo>
                    <a:lnTo>
                      <a:pt x="1060" y="100"/>
                    </a:lnTo>
                    <a:lnTo>
                      <a:pt x="1047" y="100"/>
                    </a:lnTo>
                    <a:lnTo>
                      <a:pt x="1033" y="100"/>
                    </a:lnTo>
                    <a:lnTo>
                      <a:pt x="1015" y="103"/>
                    </a:lnTo>
                    <a:lnTo>
                      <a:pt x="1001" y="103"/>
                    </a:lnTo>
                    <a:lnTo>
                      <a:pt x="983" y="103"/>
                    </a:lnTo>
                    <a:lnTo>
                      <a:pt x="964" y="106"/>
                    </a:lnTo>
                    <a:lnTo>
                      <a:pt x="946" y="106"/>
                    </a:lnTo>
                    <a:lnTo>
                      <a:pt x="932" y="109"/>
                    </a:lnTo>
                    <a:lnTo>
                      <a:pt x="919" y="109"/>
                    </a:lnTo>
                    <a:lnTo>
                      <a:pt x="910" y="109"/>
                    </a:lnTo>
                    <a:lnTo>
                      <a:pt x="900" y="109"/>
                    </a:lnTo>
                    <a:lnTo>
                      <a:pt x="887" y="109"/>
                    </a:lnTo>
                    <a:lnTo>
                      <a:pt x="878" y="109"/>
                    </a:lnTo>
                    <a:lnTo>
                      <a:pt x="864" y="109"/>
                    </a:lnTo>
                    <a:lnTo>
                      <a:pt x="855" y="109"/>
                    </a:lnTo>
                    <a:lnTo>
                      <a:pt x="846" y="111"/>
                    </a:lnTo>
                    <a:lnTo>
                      <a:pt x="832" y="111"/>
                    </a:lnTo>
                    <a:lnTo>
                      <a:pt x="823" y="111"/>
                    </a:lnTo>
                    <a:lnTo>
                      <a:pt x="814" y="111"/>
                    </a:lnTo>
                    <a:lnTo>
                      <a:pt x="800" y="111"/>
                    </a:lnTo>
                    <a:lnTo>
                      <a:pt x="786" y="111"/>
                    </a:lnTo>
                    <a:lnTo>
                      <a:pt x="777" y="111"/>
                    </a:lnTo>
                    <a:lnTo>
                      <a:pt x="763" y="111"/>
                    </a:lnTo>
                    <a:lnTo>
                      <a:pt x="754" y="111"/>
                    </a:lnTo>
                    <a:lnTo>
                      <a:pt x="745" y="109"/>
                    </a:lnTo>
                    <a:lnTo>
                      <a:pt x="727" y="106"/>
                    </a:lnTo>
                    <a:lnTo>
                      <a:pt x="718" y="106"/>
                    </a:lnTo>
                    <a:lnTo>
                      <a:pt x="704" y="106"/>
                    </a:lnTo>
                    <a:lnTo>
                      <a:pt x="686" y="106"/>
                    </a:lnTo>
                    <a:lnTo>
                      <a:pt x="676" y="106"/>
                    </a:lnTo>
                    <a:lnTo>
                      <a:pt x="663" y="106"/>
                    </a:lnTo>
                    <a:lnTo>
                      <a:pt x="654" y="106"/>
                    </a:lnTo>
                    <a:lnTo>
                      <a:pt x="635" y="103"/>
                    </a:lnTo>
                    <a:lnTo>
                      <a:pt x="626" y="103"/>
                    </a:lnTo>
                    <a:lnTo>
                      <a:pt x="608" y="103"/>
                    </a:lnTo>
                    <a:lnTo>
                      <a:pt x="599" y="103"/>
                    </a:lnTo>
                    <a:lnTo>
                      <a:pt x="585" y="100"/>
                    </a:lnTo>
                    <a:lnTo>
                      <a:pt x="571" y="100"/>
                    </a:lnTo>
                    <a:lnTo>
                      <a:pt x="558" y="100"/>
                    </a:lnTo>
                    <a:lnTo>
                      <a:pt x="539" y="100"/>
                    </a:lnTo>
                    <a:lnTo>
                      <a:pt x="526" y="94"/>
                    </a:lnTo>
                    <a:lnTo>
                      <a:pt x="512" y="94"/>
                    </a:lnTo>
                    <a:lnTo>
                      <a:pt x="498" y="91"/>
                    </a:lnTo>
                    <a:lnTo>
                      <a:pt x="485" y="91"/>
                    </a:lnTo>
                    <a:lnTo>
                      <a:pt x="471" y="91"/>
                    </a:lnTo>
                    <a:lnTo>
                      <a:pt x="453" y="89"/>
                    </a:lnTo>
                    <a:lnTo>
                      <a:pt x="443" y="83"/>
                    </a:lnTo>
                    <a:lnTo>
                      <a:pt x="430" y="83"/>
                    </a:lnTo>
                    <a:lnTo>
                      <a:pt x="411" y="80"/>
                    </a:lnTo>
                    <a:lnTo>
                      <a:pt x="398" y="80"/>
                    </a:lnTo>
                    <a:lnTo>
                      <a:pt x="384" y="77"/>
                    </a:lnTo>
                    <a:lnTo>
                      <a:pt x="370" y="77"/>
                    </a:lnTo>
                    <a:lnTo>
                      <a:pt x="352" y="74"/>
                    </a:lnTo>
                    <a:lnTo>
                      <a:pt x="343" y="71"/>
                    </a:lnTo>
                    <a:lnTo>
                      <a:pt x="325" y="71"/>
                    </a:lnTo>
                    <a:lnTo>
                      <a:pt x="315" y="69"/>
                    </a:lnTo>
                    <a:lnTo>
                      <a:pt x="297" y="63"/>
                    </a:lnTo>
                    <a:lnTo>
                      <a:pt x="283" y="63"/>
                    </a:lnTo>
                    <a:lnTo>
                      <a:pt x="270" y="60"/>
                    </a:lnTo>
                    <a:lnTo>
                      <a:pt x="256" y="57"/>
                    </a:lnTo>
                    <a:lnTo>
                      <a:pt x="247" y="54"/>
                    </a:lnTo>
                    <a:lnTo>
                      <a:pt x="229" y="52"/>
                    </a:lnTo>
                    <a:lnTo>
                      <a:pt x="215" y="49"/>
                    </a:lnTo>
                    <a:lnTo>
                      <a:pt x="206" y="49"/>
                    </a:lnTo>
                    <a:lnTo>
                      <a:pt x="192" y="46"/>
                    </a:lnTo>
                    <a:lnTo>
                      <a:pt x="178" y="43"/>
                    </a:lnTo>
                    <a:lnTo>
                      <a:pt x="165" y="40"/>
                    </a:lnTo>
                    <a:lnTo>
                      <a:pt x="155" y="37"/>
                    </a:lnTo>
                    <a:lnTo>
                      <a:pt x="142" y="34"/>
                    </a:lnTo>
                    <a:lnTo>
                      <a:pt x="133" y="34"/>
                    </a:lnTo>
                    <a:lnTo>
                      <a:pt x="123" y="32"/>
                    </a:lnTo>
                    <a:lnTo>
                      <a:pt x="110" y="29"/>
                    </a:lnTo>
                    <a:lnTo>
                      <a:pt x="101" y="29"/>
                    </a:lnTo>
                    <a:lnTo>
                      <a:pt x="87" y="23"/>
                    </a:lnTo>
                    <a:lnTo>
                      <a:pt x="78" y="23"/>
                    </a:lnTo>
                    <a:lnTo>
                      <a:pt x="69" y="20"/>
                    </a:lnTo>
                    <a:lnTo>
                      <a:pt x="50" y="17"/>
                    </a:lnTo>
                    <a:lnTo>
                      <a:pt x="32" y="15"/>
                    </a:lnTo>
                    <a:lnTo>
                      <a:pt x="14" y="6"/>
                    </a:lnTo>
                    <a:lnTo>
                      <a:pt x="0" y="6"/>
                    </a:lnTo>
                    <a:lnTo>
                      <a:pt x="5" y="0"/>
                    </a:lnTo>
                    <a:lnTo>
                      <a:pt x="14" y="0"/>
                    </a:lnTo>
                    <a:lnTo>
                      <a:pt x="23" y="0"/>
                    </a:lnTo>
                    <a:lnTo>
                      <a:pt x="37" y="0"/>
                    </a:lnTo>
                    <a:lnTo>
                      <a:pt x="46" y="0"/>
                    </a:lnTo>
                    <a:lnTo>
                      <a:pt x="55" y="0"/>
                    </a:lnTo>
                    <a:lnTo>
                      <a:pt x="64" y="0"/>
                    </a:lnTo>
                    <a:lnTo>
                      <a:pt x="73" y="0"/>
                    </a:lnTo>
                    <a:lnTo>
                      <a:pt x="7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5" name="Freeform 199"/>
              <p:cNvSpPr>
                <a:spLocks/>
              </p:cNvSpPr>
              <p:nvPr>
                <p:custDataLst>
                  <p:tags r:id="rId30"/>
                </p:custDataLst>
              </p:nvPr>
            </p:nvSpPr>
            <p:spPr bwMode="gray">
              <a:xfrm>
                <a:off x="632" y="1094"/>
                <a:ext cx="750" cy="290"/>
              </a:xfrm>
              <a:custGeom>
                <a:avLst/>
                <a:gdLst>
                  <a:gd name="T0" fmla="*/ 548 w 731"/>
                  <a:gd name="T1" fmla="*/ 6 h 316"/>
                  <a:gd name="T2" fmla="*/ 472 w 731"/>
                  <a:gd name="T3" fmla="*/ 16 h 316"/>
                  <a:gd name="T4" fmla="*/ 391 w 731"/>
                  <a:gd name="T5" fmla="*/ 28 h 316"/>
                  <a:gd name="T6" fmla="*/ 310 w 731"/>
                  <a:gd name="T7" fmla="*/ 39 h 316"/>
                  <a:gd name="T8" fmla="*/ 243 w 731"/>
                  <a:gd name="T9" fmla="*/ 50 h 316"/>
                  <a:gd name="T10" fmla="*/ 173 w 731"/>
                  <a:gd name="T11" fmla="*/ 60 h 316"/>
                  <a:gd name="T12" fmla="*/ 118 w 731"/>
                  <a:gd name="T13" fmla="*/ 70 h 316"/>
                  <a:gd name="T14" fmla="*/ 66 w 731"/>
                  <a:gd name="T15" fmla="*/ 77 h 316"/>
                  <a:gd name="T16" fmla="*/ 14 w 731"/>
                  <a:gd name="T17" fmla="*/ 87 h 316"/>
                  <a:gd name="T18" fmla="*/ 5 w 731"/>
                  <a:gd name="T19" fmla="*/ 90 h 316"/>
                  <a:gd name="T20" fmla="*/ 49 w 731"/>
                  <a:gd name="T21" fmla="*/ 90 h 316"/>
                  <a:gd name="T22" fmla="*/ 93 w 731"/>
                  <a:gd name="T23" fmla="*/ 92 h 316"/>
                  <a:gd name="T24" fmla="*/ 143 w 731"/>
                  <a:gd name="T25" fmla="*/ 95 h 316"/>
                  <a:gd name="T26" fmla="*/ 194 w 731"/>
                  <a:gd name="T27" fmla="*/ 96 h 316"/>
                  <a:gd name="T28" fmla="*/ 249 w 731"/>
                  <a:gd name="T29" fmla="*/ 98 h 316"/>
                  <a:gd name="T30" fmla="*/ 305 w 731"/>
                  <a:gd name="T31" fmla="*/ 98 h 316"/>
                  <a:gd name="T32" fmla="*/ 353 w 731"/>
                  <a:gd name="T33" fmla="*/ 100 h 316"/>
                  <a:gd name="T34" fmla="*/ 404 w 731"/>
                  <a:gd name="T35" fmla="*/ 103 h 316"/>
                  <a:gd name="T36" fmla="*/ 448 w 731"/>
                  <a:gd name="T37" fmla="*/ 104 h 316"/>
                  <a:gd name="T38" fmla="*/ 499 w 731"/>
                  <a:gd name="T39" fmla="*/ 106 h 316"/>
                  <a:gd name="T40" fmla="*/ 559 w 731"/>
                  <a:gd name="T41" fmla="*/ 106 h 316"/>
                  <a:gd name="T42" fmla="*/ 629 w 731"/>
                  <a:gd name="T43" fmla="*/ 107 h 316"/>
                  <a:gd name="T44" fmla="*/ 710 w 731"/>
                  <a:gd name="T45" fmla="*/ 108 h 316"/>
                  <a:gd name="T46" fmla="*/ 789 w 731"/>
                  <a:gd name="T47" fmla="*/ 110 h 316"/>
                  <a:gd name="T48" fmla="*/ 864 w 731"/>
                  <a:gd name="T49" fmla="*/ 110 h 316"/>
                  <a:gd name="T50" fmla="*/ 927 w 731"/>
                  <a:gd name="T51" fmla="*/ 111 h 316"/>
                  <a:gd name="T52" fmla="*/ 982 w 731"/>
                  <a:gd name="T53" fmla="*/ 113 h 316"/>
                  <a:gd name="T54" fmla="*/ 972 w 731"/>
                  <a:gd name="T55" fmla="*/ 110 h 316"/>
                  <a:gd name="T56" fmla="*/ 921 w 731"/>
                  <a:gd name="T57" fmla="*/ 107 h 316"/>
                  <a:gd name="T58" fmla="*/ 878 w 731"/>
                  <a:gd name="T59" fmla="*/ 107 h 316"/>
                  <a:gd name="T60" fmla="*/ 827 w 731"/>
                  <a:gd name="T61" fmla="*/ 104 h 316"/>
                  <a:gd name="T62" fmla="*/ 773 w 731"/>
                  <a:gd name="T63" fmla="*/ 101 h 316"/>
                  <a:gd name="T64" fmla="*/ 716 w 731"/>
                  <a:gd name="T65" fmla="*/ 98 h 316"/>
                  <a:gd name="T66" fmla="*/ 659 w 731"/>
                  <a:gd name="T67" fmla="*/ 97 h 316"/>
                  <a:gd name="T68" fmla="*/ 603 w 731"/>
                  <a:gd name="T69" fmla="*/ 95 h 316"/>
                  <a:gd name="T70" fmla="*/ 541 w 731"/>
                  <a:gd name="T71" fmla="*/ 90 h 316"/>
                  <a:gd name="T72" fmla="*/ 484 w 731"/>
                  <a:gd name="T73" fmla="*/ 89 h 316"/>
                  <a:gd name="T74" fmla="*/ 422 w 731"/>
                  <a:gd name="T75" fmla="*/ 84 h 316"/>
                  <a:gd name="T76" fmla="*/ 379 w 731"/>
                  <a:gd name="T77" fmla="*/ 83 h 316"/>
                  <a:gd name="T78" fmla="*/ 329 w 731"/>
                  <a:gd name="T79" fmla="*/ 82 h 316"/>
                  <a:gd name="T80" fmla="*/ 286 w 731"/>
                  <a:gd name="T81" fmla="*/ 80 h 316"/>
                  <a:gd name="T82" fmla="*/ 243 w 731"/>
                  <a:gd name="T83" fmla="*/ 76 h 316"/>
                  <a:gd name="T84" fmla="*/ 199 w 731"/>
                  <a:gd name="T85" fmla="*/ 76 h 316"/>
                  <a:gd name="T86" fmla="*/ 603 w 731"/>
                  <a:gd name="T87" fmla="*/ 0 h 3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1"/>
                  <a:gd name="T133" fmla="*/ 0 h 316"/>
                  <a:gd name="T134" fmla="*/ 731 w 731"/>
                  <a:gd name="T135" fmla="*/ 316 h 3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1" h="316">
                    <a:moveTo>
                      <a:pt x="443" y="0"/>
                    </a:moveTo>
                    <a:lnTo>
                      <a:pt x="425" y="6"/>
                    </a:lnTo>
                    <a:lnTo>
                      <a:pt x="402" y="17"/>
                    </a:lnTo>
                    <a:lnTo>
                      <a:pt x="384" y="26"/>
                    </a:lnTo>
                    <a:lnTo>
                      <a:pt x="366" y="37"/>
                    </a:lnTo>
                    <a:lnTo>
                      <a:pt x="347" y="45"/>
                    </a:lnTo>
                    <a:lnTo>
                      <a:pt x="329" y="57"/>
                    </a:lnTo>
                    <a:lnTo>
                      <a:pt x="306" y="65"/>
                    </a:lnTo>
                    <a:lnTo>
                      <a:pt x="288" y="77"/>
                    </a:lnTo>
                    <a:lnTo>
                      <a:pt x="265" y="88"/>
                    </a:lnTo>
                    <a:lnTo>
                      <a:pt x="247" y="100"/>
                    </a:lnTo>
                    <a:lnTo>
                      <a:pt x="228" y="108"/>
                    </a:lnTo>
                    <a:lnTo>
                      <a:pt x="210" y="120"/>
                    </a:lnTo>
                    <a:lnTo>
                      <a:pt x="192" y="128"/>
                    </a:lnTo>
                    <a:lnTo>
                      <a:pt x="178" y="139"/>
                    </a:lnTo>
                    <a:lnTo>
                      <a:pt x="160" y="148"/>
                    </a:lnTo>
                    <a:lnTo>
                      <a:pt x="142" y="159"/>
                    </a:lnTo>
                    <a:lnTo>
                      <a:pt x="128" y="168"/>
                    </a:lnTo>
                    <a:lnTo>
                      <a:pt x="114" y="176"/>
                    </a:lnTo>
                    <a:lnTo>
                      <a:pt x="96" y="188"/>
                    </a:lnTo>
                    <a:lnTo>
                      <a:pt x="87" y="196"/>
                    </a:lnTo>
                    <a:lnTo>
                      <a:pt x="73" y="202"/>
                    </a:lnTo>
                    <a:lnTo>
                      <a:pt x="59" y="211"/>
                    </a:lnTo>
                    <a:lnTo>
                      <a:pt x="50" y="219"/>
                    </a:lnTo>
                    <a:lnTo>
                      <a:pt x="41" y="225"/>
                    </a:lnTo>
                    <a:lnTo>
                      <a:pt x="23" y="233"/>
                    </a:lnTo>
                    <a:lnTo>
                      <a:pt x="14" y="242"/>
                    </a:lnTo>
                    <a:lnTo>
                      <a:pt x="5" y="248"/>
                    </a:lnTo>
                    <a:lnTo>
                      <a:pt x="0" y="251"/>
                    </a:lnTo>
                    <a:lnTo>
                      <a:pt x="5" y="251"/>
                    </a:lnTo>
                    <a:lnTo>
                      <a:pt x="14" y="251"/>
                    </a:lnTo>
                    <a:lnTo>
                      <a:pt x="23" y="253"/>
                    </a:lnTo>
                    <a:lnTo>
                      <a:pt x="37" y="253"/>
                    </a:lnTo>
                    <a:lnTo>
                      <a:pt x="46" y="253"/>
                    </a:lnTo>
                    <a:lnTo>
                      <a:pt x="55" y="256"/>
                    </a:lnTo>
                    <a:lnTo>
                      <a:pt x="69" y="259"/>
                    </a:lnTo>
                    <a:lnTo>
                      <a:pt x="82" y="262"/>
                    </a:lnTo>
                    <a:lnTo>
                      <a:pt x="91" y="262"/>
                    </a:lnTo>
                    <a:lnTo>
                      <a:pt x="105" y="265"/>
                    </a:lnTo>
                    <a:lnTo>
                      <a:pt x="114" y="265"/>
                    </a:lnTo>
                    <a:lnTo>
                      <a:pt x="128" y="268"/>
                    </a:lnTo>
                    <a:lnTo>
                      <a:pt x="142" y="268"/>
                    </a:lnTo>
                    <a:lnTo>
                      <a:pt x="155" y="270"/>
                    </a:lnTo>
                    <a:lnTo>
                      <a:pt x="169" y="270"/>
                    </a:lnTo>
                    <a:lnTo>
                      <a:pt x="183" y="273"/>
                    </a:lnTo>
                    <a:lnTo>
                      <a:pt x="192" y="273"/>
                    </a:lnTo>
                    <a:lnTo>
                      <a:pt x="210" y="276"/>
                    </a:lnTo>
                    <a:lnTo>
                      <a:pt x="224" y="279"/>
                    </a:lnTo>
                    <a:lnTo>
                      <a:pt x="238" y="282"/>
                    </a:lnTo>
                    <a:lnTo>
                      <a:pt x="247" y="282"/>
                    </a:lnTo>
                    <a:lnTo>
                      <a:pt x="260" y="282"/>
                    </a:lnTo>
                    <a:lnTo>
                      <a:pt x="274" y="282"/>
                    </a:lnTo>
                    <a:lnTo>
                      <a:pt x="288" y="285"/>
                    </a:lnTo>
                    <a:lnTo>
                      <a:pt x="297" y="288"/>
                    </a:lnTo>
                    <a:lnTo>
                      <a:pt x="311" y="288"/>
                    </a:lnTo>
                    <a:lnTo>
                      <a:pt x="320" y="288"/>
                    </a:lnTo>
                    <a:lnTo>
                      <a:pt x="329" y="290"/>
                    </a:lnTo>
                    <a:lnTo>
                      <a:pt x="338" y="290"/>
                    </a:lnTo>
                    <a:lnTo>
                      <a:pt x="352" y="290"/>
                    </a:lnTo>
                    <a:lnTo>
                      <a:pt x="366" y="293"/>
                    </a:lnTo>
                    <a:lnTo>
                      <a:pt x="379" y="293"/>
                    </a:lnTo>
                    <a:lnTo>
                      <a:pt x="393" y="293"/>
                    </a:lnTo>
                    <a:lnTo>
                      <a:pt x="411" y="293"/>
                    </a:lnTo>
                    <a:lnTo>
                      <a:pt x="425" y="296"/>
                    </a:lnTo>
                    <a:lnTo>
                      <a:pt x="448" y="299"/>
                    </a:lnTo>
                    <a:lnTo>
                      <a:pt x="462" y="299"/>
                    </a:lnTo>
                    <a:lnTo>
                      <a:pt x="480" y="302"/>
                    </a:lnTo>
                    <a:lnTo>
                      <a:pt x="503" y="302"/>
                    </a:lnTo>
                    <a:lnTo>
                      <a:pt x="521" y="305"/>
                    </a:lnTo>
                    <a:lnTo>
                      <a:pt x="539" y="305"/>
                    </a:lnTo>
                    <a:lnTo>
                      <a:pt x="558" y="307"/>
                    </a:lnTo>
                    <a:lnTo>
                      <a:pt x="580" y="310"/>
                    </a:lnTo>
                    <a:lnTo>
                      <a:pt x="599" y="310"/>
                    </a:lnTo>
                    <a:lnTo>
                      <a:pt x="617" y="310"/>
                    </a:lnTo>
                    <a:lnTo>
                      <a:pt x="635" y="310"/>
                    </a:lnTo>
                    <a:lnTo>
                      <a:pt x="649" y="313"/>
                    </a:lnTo>
                    <a:lnTo>
                      <a:pt x="672" y="313"/>
                    </a:lnTo>
                    <a:lnTo>
                      <a:pt x="681" y="313"/>
                    </a:lnTo>
                    <a:lnTo>
                      <a:pt x="699" y="316"/>
                    </a:lnTo>
                    <a:lnTo>
                      <a:pt x="708" y="316"/>
                    </a:lnTo>
                    <a:lnTo>
                      <a:pt x="722" y="316"/>
                    </a:lnTo>
                    <a:lnTo>
                      <a:pt x="731" y="316"/>
                    </a:lnTo>
                    <a:lnTo>
                      <a:pt x="731" y="313"/>
                    </a:lnTo>
                    <a:lnTo>
                      <a:pt x="713" y="310"/>
                    </a:lnTo>
                    <a:lnTo>
                      <a:pt x="695" y="307"/>
                    </a:lnTo>
                    <a:lnTo>
                      <a:pt x="690" y="305"/>
                    </a:lnTo>
                    <a:lnTo>
                      <a:pt x="676" y="302"/>
                    </a:lnTo>
                    <a:lnTo>
                      <a:pt x="667" y="302"/>
                    </a:lnTo>
                    <a:lnTo>
                      <a:pt x="658" y="302"/>
                    </a:lnTo>
                    <a:lnTo>
                      <a:pt x="644" y="299"/>
                    </a:lnTo>
                    <a:lnTo>
                      <a:pt x="635" y="296"/>
                    </a:lnTo>
                    <a:lnTo>
                      <a:pt x="617" y="293"/>
                    </a:lnTo>
                    <a:lnTo>
                      <a:pt x="608" y="290"/>
                    </a:lnTo>
                    <a:lnTo>
                      <a:pt x="590" y="290"/>
                    </a:lnTo>
                    <a:lnTo>
                      <a:pt x="580" y="288"/>
                    </a:lnTo>
                    <a:lnTo>
                      <a:pt x="567" y="285"/>
                    </a:lnTo>
                    <a:lnTo>
                      <a:pt x="558" y="285"/>
                    </a:lnTo>
                    <a:lnTo>
                      <a:pt x="539" y="282"/>
                    </a:lnTo>
                    <a:lnTo>
                      <a:pt x="526" y="279"/>
                    </a:lnTo>
                    <a:lnTo>
                      <a:pt x="512" y="276"/>
                    </a:lnTo>
                    <a:lnTo>
                      <a:pt x="503" y="273"/>
                    </a:lnTo>
                    <a:lnTo>
                      <a:pt x="484" y="270"/>
                    </a:lnTo>
                    <a:lnTo>
                      <a:pt x="471" y="268"/>
                    </a:lnTo>
                    <a:lnTo>
                      <a:pt x="457" y="265"/>
                    </a:lnTo>
                    <a:lnTo>
                      <a:pt x="443" y="265"/>
                    </a:lnTo>
                    <a:lnTo>
                      <a:pt x="425" y="262"/>
                    </a:lnTo>
                    <a:lnTo>
                      <a:pt x="411" y="259"/>
                    </a:lnTo>
                    <a:lnTo>
                      <a:pt x="398" y="253"/>
                    </a:lnTo>
                    <a:lnTo>
                      <a:pt x="384" y="253"/>
                    </a:lnTo>
                    <a:lnTo>
                      <a:pt x="370" y="251"/>
                    </a:lnTo>
                    <a:lnTo>
                      <a:pt x="356" y="248"/>
                    </a:lnTo>
                    <a:lnTo>
                      <a:pt x="343" y="245"/>
                    </a:lnTo>
                    <a:lnTo>
                      <a:pt x="329" y="242"/>
                    </a:lnTo>
                    <a:lnTo>
                      <a:pt x="311" y="239"/>
                    </a:lnTo>
                    <a:lnTo>
                      <a:pt x="302" y="239"/>
                    </a:lnTo>
                    <a:lnTo>
                      <a:pt x="292" y="233"/>
                    </a:lnTo>
                    <a:lnTo>
                      <a:pt x="279" y="233"/>
                    </a:lnTo>
                    <a:lnTo>
                      <a:pt x="265" y="231"/>
                    </a:lnTo>
                    <a:lnTo>
                      <a:pt x="256" y="231"/>
                    </a:lnTo>
                    <a:lnTo>
                      <a:pt x="242" y="228"/>
                    </a:lnTo>
                    <a:lnTo>
                      <a:pt x="238" y="225"/>
                    </a:lnTo>
                    <a:lnTo>
                      <a:pt x="224" y="225"/>
                    </a:lnTo>
                    <a:lnTo>
                      <a:pt x="210" y="222"/>
                    </a:lnTo>
                    <a:lnTo>
                      <a:pt x="201" y="219"/>
                    </a:lnTo>
                    <a:lnTo>
                      <a:pt x="192" y="219"/>
                    </a:lnTo>
                    <a:lnTo>
                      <a:pt x="178" y="216"/>
                    </a:lnTo>
                    <a:lnTo>
                      <a:pt x="169" y="214"/>
                    </a:lnTo>
                    <a:lnTo>
                      <a:pt x="155" y="211"/>
                    </a:lnTo>
                    <a:lnTo>
                      <a:pt x="146" y="211"/>
                    </a:lnTo>
                    <a:lnTo>
                      <a:pt x="142" y="211"/>
                    </a:lnTo>
                    <a:lnTo>
                      <a:pt x="44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6" name="Freeform 200"/>
              <p:cNvSpPr>
                <a:spLocks/>
              </p:cNvSpPr>
              <p:nvPr>
                <p:custDataLst>
                  <p:tags r:id="rId31"/>
                </p:custDataLst>
              </p:nvPr>
            </p:nvSpPr>
            <p:spPr bwMode="gray">
              <a:xfrm>
                <a:off x="2047" y="511"/>
                <a:ext cx="988" cy="211"/>
              </a:xfrm>
              <a:custGeom>
                <a:avLst/>
                <a:gdLst>
                  <a:gd name="T0" fmla="*/ 44 w 964"/>
                  <a:gd name="T1" fmla="*/ 72 h 231"/>
                  <a:gd name="T2" fmla="*/ 116 w 964"/>
                  <a:gd name="T3" fmla="*/ 63 h 231"/>
                  <a:gd name="T4" fmla="*/ 171 w 964"/>
                  <a:gd name="T5" fmla="*/ 58 h 231"/>
                  <a:gd name="T6" fmla="*/ 214 w 964"/>
                  <a:gd name="T7" fmla="*/ 53 h 231"/>
                  <a:gd name="T8" fmla="*/ 264 w 964"/>
                  <a:gd name="T9" fmla="*/ 46 h 231"/>
                  <a:gd name="T10" fmla="*/ 307 w 964"/>
                  <a:gd name="T11" fmla="*/ 43 h 231"/>
                  <a:gd name="T12" fmla="*/ 356 w 964"/>
                  <a:gd name="T13" fmla="*/ 37 h 231"/>
                  <a:gd name="T14" fmla="*/ 399 w 964"/>
                  <a:gd name="T15" fmla="*/ 33 h 231"/>
                  <a:gd name="T16" fmla="*/ 449 w 964"/>
                  <a:gd name="T17" fmla="*/ 29 h 231"/>
                  <a:gd name="T18" fmla="*/ 492 w 964"/>
                  <a:gd name="T19" fmla="*/ 24 h 231"/>
                  <a:gd name="T20" fmla="*/ 540 w 964"/>
                  <a:gd name="T21" fmla="*/ 20 h 231"/>
                  <a:gd name="T22" fmla="*/ 583 w 964"/>
                  <a:gd name="T23" fmla="*/ 16 h 231"/>
                  <a:gd name="T24" fmla="*/ 625 w 964"/>
                  <a:gd name="T25" fmla="*/ 14 h 231"/>
                  <a:gd name="T26" fmla="*/ 668 w 964"/>
                  <a:gd name="T27" fmla="*/ 11 h 231"/>
                  <a:gd name="T28" fmla="*/ 737 w 964"/>
                  <a:gd name="T29" fmla="*/ 5 h 231"/>
                  <a:gd name="T30" fmla="*/ 805 w 964"/>
                  <a:gd name="T31" fmla="*/ 5 h 231"/>
                  <a:gd name="T32" fmla="*/ 867 w 964"/>
                  <a:gd name="T33" fmla="*/ 0 h 231"/>
                  <a:gd name="T34" fmla="*/ 915 w 964"/>
                  <a:gd name="T35" fmla="*/ 0 h 231"/>
                  <a:gd name="T36" fmla="*/ 969 w 964"/>
                  <a:gd name="T37" fmla="*/ 0 h 231"/>
                  <a:gd name="T38" fmla="*/ 1019 w 964"/>
                  <a:gd name="T39" fmla="*/ 5 h 231"/>
                  <a:gd name="T40" fmla="*/ 1081 w 964"/>
                  <a:gd name="T41" fmla="*/ 5 h 231"/>
                  <a:gd name="T42" fmla="*/ 1129 w 964"/>
                  <a:gd name="T43" fmla="*/ 8 h 231"/>
                  <a:gd name="T44" fmla="*/ 1180 w 964"/>
                  <a:gd name="T45" fmla="*/ 12 h 231"/>
                  <a:gd name="T46" fmla="*/ 1227 w 964"/>
                  <a:gd name="T47" fmla="*/ 15 h 231"/>
                  <a:gd name="T48" fmla="*/ 1283 w 964"/>
                  <a:gd name="T49" fmla="*/ 19 h 231"/>
                  <a:gd name="T50" fmla="*/ 1295 w 964"/>
                  <a:gd name="T51" fmla="*/ 20 h 231"/>
                  <a:gd name="T52" fmla="*/ 1246 w 964"/>
                  <a:gd name="T53" fmla="*/ 18 h 231"/>
                  <a:gd name="T54" fmla="*/ 1180 w 964"/>
                  <a:gd name="T55" fmla="*/ 15 h 231"/>
                  <a:gd name="T56" fmla="*/ 1137 w 964"/>
                  <a:gd name="T57" fmla="*/ 15 h 231"/>
                  <a:gd name="T58" fmla="*/ 1081 w 964"/>
                  <a:gd name="T59" fmla="*/ 13 h 231"/>
                  <a:gd name="T60" fmla="*/ 1019 w 964"/>
                  <a:gd name="T61" fmla="*/ 12 h 231"/>
                  <a:gd name="T62" fmla="*/ 959 w 964"/>
                  <a:gd name="T63" fmla="*/ 11 h 231"/>
                  <a:gd name="T64" fmla="*/ 896 w 964"/>
                  <a:gd name="T65" fmla="*/ 12 h 231"/>
                  <a:gd name="T66" fmla="*/ 835 w 964"/>
                  <a:gd name="T67" fmla="*/ 13 h 231"/>
                  <a:gd name="T68" fmla="*/ 767 w 964"/>
                  <a:gd name="T69" fmla="*/ 15 h 231"/>
                  <a:gd name="T70" fmla="*/ 700 w 964"/>
                  <a:gd name="T71" fmla="*/ 19 h 231"/>
                  <a:gd name="T72" fmla="*/ 656 w 964"/>
                  <a:gd name="T73" fmla="*/ 22 h 231"/>
                  <a:gd name="T74" fmla="*/ 615 w 964"/>
                  <a:gd name="T75" fmla="*/ 26 h 231"/>
                  <a:gd name="T76" fmla="*/ 559 w 964"/>
                  <a:gd name="T77" fmla="*/ 30 h 231"/>
                  <a:gd name="T78" fmla="*/ 508 w 964"/>
                  <a:gd name="T79" fmla="*/ 33 h 231"/>
                  <a:gd name="T80" fmla="*/ 461 w 964"/>
                  <a:gd name="T81" fmla="*/ 37 h 231"/>
                  <a:gd name="T82" fmla="*/ 407 w 964"/>
                  <a:gd name="T83" fmla="*/ 41 h 231"/>
                  <a:gd name="T84" fmla="*/ 356 w 964"/>
                  <a:gd name="T85" fmla="*/ 44 h 231"/>
                  <a:gd name="T86" fmla="*/ 307 w 964"/>
                  <a:gd name="T87" fmla="*/ 49 h 231"/>
                  <a:gd name="T88" fmla="*/ 253 w 964"/>
                  <a:gd name="T89" fmla="*/ 53 h 231"/>
                  <a:gd name="T90" fmla="*/ 209 w 964"/>
                  <a:gd name="T91" fmla="*/ 58 h 231"/>
                  <a:gd name="T92" fmla="*/ 166 w 964"/>
                  <a:gd name="T93" fmla="*/ 63 h 231"/>
                  <a:gd name="T94" fmla="*/ 116 w 964"/>
                  <a:gd name="T95" fmla="*/ 66 h 231"/>
                  <a:gd name="T96" fmla="*/ 49 w 964"/>
                  <a:gd name="T97" fmla="*/ 73 h 231"/>
                  <a:gd name="T98" fmla="*/ 0 w 964"/>
                  <a:gd name="T99" fmla="*/ 77 h 2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231"/>
                  <a:gd name="T152" fmla="*/ 964 w 964"/>
                  <a:gd name="T153" fmla="*/ 231 h 2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231">
                    <a:moveTo>
                      <a:pt x="0" y="231"/>
                    </a:moveTo>
                    <a:lnTo>
                      <a:pt x="14" y="222"/>
                    </a:lnTo>
                    <a:lnTo>
                      <a:pt x="32" y="214"/>
                    </a:lnTo>
                    <a:lnTo>
                      <a:pt x="46" y="202"/>
                    </a:lnTo>
                    <a:lnTo>
                      <a:pt x="69" y="197"/>
                    </a:lnTo>
                    <a:lnTo>
                      <a:pt x="87" y="185"/>
                    </a:lnTo>
                    <a:lnTo>
                      <a:pt x="105" y="177"/>
                    </a:lnTo>
                    <a:lnTo>
                      <a:pt x="119" y="171"/>
                    </a:lnTo>
                    <a:lnTo>
                      <a:pt x="128" y="168"/>
                    </a:lnTo>
                    <a:lnTo>
                      <a:pt x="142" y="163"/>
                    </a:lnTo>
                    <a:lnTo>
                      <a:pt x="151" y="157"/>
                    </a:lnTo>
                    <a:lnTo>
                      <a:pt x="160" y="154"/>
                    </a:lnTo>
                    <a:lnTo>
                      <a:pt x="169" y="148"/>
                    </a:lnTo>
                    <a:lnTo>
                      <a:pt x="183" y="143"/>
                    </a:lnTo>
                    <a:lnTo>
                      <a:pt x="197" y="137"/>
                    </a:lnTo>
                    <a:lnTo>
                      <a:pt x="206" y="134"/>
                    </a:lnTo>
                    <a:lnTo>
                      <a:pt x="220" y="128"/>
                    </a:lnTo>
                    <a:lnTo>
                      <a:pt x="229" y="126"/>
                    </a:lnTo>
                    <a:lnTo>
                      <a:pt x="238" y="120"/>
                    </a:lnTo>
                    <a:lnTo>
                      <a:pt x="256" y="114"/>
                    </a:lnTo>
                    <a:lnTo>
                      <a:pt x="265" y="111"/>
                    </a:lnTo>
                    <a:lnTo>
                      <a:pt x="274" y="106"/>
                    </a:lnTo>
                    <a:lnTo>
                      <a:pt x="288" y="103"/>
                    </a:lnTo>
                    <a:lnTo>
                      <a:pt x="297" y="97"/>
                    </a:lnTo>
                    <a:lnTo>
                      <a:pt x="311" y="91"/>
                    </a:lnTo>
                    <a:lnTo>
                      <a:pt x="325" y="91"/>
                    </a:lnTo>
                    <a:lnTo>
                      <a:pt x="334" y="86"/>
                    </a:lnTo>
                    <a:lnTo>
                      <a:pt x="343" y="80"/>
                    </a:lnTo>
                    <a:lnTo>
                      <a:pt x="357" y="77"/>
                    </a:lnTo>
                    <a:lnTo>
                      <a:pt x="366" y="71"/>
                    </a:lnTo>
                    <a:lnTo>
                      <a:pt x="379" y="69"/>
                    </a:lnTo>
                    <a:lnTo>
                      <a:pt x="389" y="66"/>
                    </a:lnTo>
                    <a:lnTo>
                      <a:pt x="402" y="60"/>
                    </a:lnTo>
                    <a:lnTo>
                      <a:pt x="411" y="57"/>
                    </a:lnTo>
                    <a:lnTo>
                      <a:pt x="425" y="54"/>
                    </a:lnTo>
                    <a:lnTo>
                      <a:pt x="434" y="49"/>
                    </a:lnTo>
                    <a:lnTo>
                      <a:pt x="448" y="49"/>
                    </a:lnTo>
                    <a:lnTo>
                      <a:pt x="457" y="43"/>
                    </a:lnTo>
                    <a:lnTo>
                      <a:pt x="466" y="40"/>
                    </a:lnTo>
                    <a:lnTo>
                      <a:pt x="480" y="37"/>
                    </a:lnTo>
                    <a:lnTo>
                      <a:pt x="489" y="34"/>
                    </a:lnTo>
                    <a:lnTo>
                      <a:pt x="498" y="32"/>
                    </a:lnTo>
                    <a:lnTo>
                      <a:pt x="512" y="29"/>
                    </a:lnTo>
                    <a:lnTo>
                      <a:pt x="530" y="23"/>
                    </a:lnTo>
                    <a:lnTo>
                      <a:pt x="549" y="17"/>
                    </a:lnTo>
                    <a:lnTo>
                      <a:pt x="567" y="15"/>
                    </a:lnTo>
                    <a:lnTo>
                      <a:pt x="585" y="9"/>
                    </a:lnTo>
                    <a:lnTo>
                      <a:pt x="599" y="6"/>
                    </a:lnTo>
                    <a:lnTo>
                      <a:pt x="617" y="6"/>
                    </a:lnTo>
                    <a:lnTo>
                      <a:pt x="631" y="0"/>
                    </a:lnTo>
                    <a:lnTo>
                      <a:pt x="645" y="0"/>
                    </a:lnTo>
                    <a:lnTo>
                      <a:pt x="654" y="0"/>
                    </a:lnTo>
                    <a:lnTo>
                      <a:pt x="667" y="0"/>
                    </a:lnTo>
                    <a:lnTo>
                      <a:pt x="681" y="0"/>
                    </a:lnTo>
                    <a:lnTo>
                      <a:pt x="695" y="0"/>
                    </a:lnTo>
                    <a:lnTo>
                      <a:pt x="704" y="0"/>
                    </a:lnTo>
                    <a:lnTo>
                      <a:pt x="722" y="0"/>
                    </a:lnTo>
                    <a:lnTo>
                      <a:pt x="736" y="3"/>
                    </a:lnTo>
                    <a:lnTo>
                      <a:pt x="750" y="6"/>
                    </a:lnTo>
                    <a:lnTo>
                      <a:pt x="759" y="6"/>
                    </a:lnTo>
                    <a:lnTo>
                      <a:pt x="777" y="9"/>
                    </a:lnTo>
                    <a:lnTo>
                      <a:pt x="786" y="12"/>
                    </a:lnTo>
                    <a:lnTo>
                      <a:pt x="804" y="17"/>
                    </a:lnTo>
                    <a:lnTo>
                      <a:pt x="814" y="17"/>
                    </a:lnTo>
                    <a:lnTo>
                      <a:pt x="827" y="20"/>
                    </a:lnTo>
                    <a:lnTo>
                      <a:pt x="841" y="23"/>
                    </a:lnTo>
                    <a:lnTo>
                      <a:pt x="855" y="29"/>
                    </a:lnTo>
                    <a:lnTo>
                      <a:pt x="864" y="29"/>
                    </a:lnTo>
                    <a:lnTo>
                      <a:pt x="878" y="34"/>
                    </a:lnTo>
                    <a:lnTo>
                      <a:pt x="887" y="37"/>
                    </a:lnTo>
                    <a:lnTo>
                      <a:pt x="896" y="40"/>
                    </a:lnTo>
                    <a:lnTo>
                      <a:pt x="914" y="43"/>
                    </a:lnTo>
                    <a:lnTo>
                      <a:pt x="932" y="49"/>
                    </a:lnTo>
                    <a:lnTo>
                      <a:pt x="946" y="54"/>
                    </a:lnTo>
                    <a:lnTo>
                      <a:pt x="955" y="57"/>
                    </a:lnTo>
                    <a:lnTo>
                      <a:pt x="964" y="60"/>
                    </a:lnTo>
                    <a:lnTo>
                      <a:pt x="955" y="60"/>
                    </a:lnTo>
                    <a:lnTo>
                      <a:pt x="946" y="57"/>
                    </a:lnTo>
                    <a:lnTo>
                      <a:pt x="928" y="54"/>
                    </a:lnTo>
                    <a:lnTo>
                      <a:pt x="910" y="49"/>
                    </a:lnTo>
                    <a:lnTo>
                      <a:pt x="891" y="49"/>
                    </a:lnTo>
                    <a:lnTo>
                      <a:pt x="878" y="46"/>
                    </a:lnTo>
                    <a:lnTo>
                      <a:pt x="868" y="43"/>
                    </a:lnTo>
                    <a:lnTo>
                      <a:pt x="859" y="43"/>
                    </a:lnTo>
                    <a:lnTo>
                      <a:pt x="846" y="43"/>
                    </a:lnTo>
                    <a:lnTo>
                      <a:pt x="832" y="40"/>
                    </a:lnTo>
                    <a:lnTo>
                      <a:pt x="823" y="37"/>
                    </a:lnTo>
                    <a:lnTo>
                      <a:pt x="804" y="37"/>
                    </a:lnTo>
                    <a:lnTo>
                      <a:pt x="791" y="37"/>
                    </a:lnTo>
                    <a:lnTo>
                      <a:pt x="772" y="34"/>
                    </a:lnTo>
                    <a:lnTo>
                      <a:pt x="759" y="34"/>
                    </a:lnTo>
                    <a:lnTo>
                      <a:pt x="745" y="34"/>
                    </a:lnTo>
                    <a:lnTo>
                      <a:pt x="731" y="34"/>
                    </a:lnTo>
                    <a:lnTo>
                      <a:pt x="713" y="32"/>
                    </a:lnTo>
                    <a:lnTo>
                      <a:pt x="699" y="32"/>
                    </a:lnTo>
                    <a:lnTo>
                      <a:pt x="681" y="32"/>
                    </a:lnTo>
                    <a:lnTo>
                      <a:pt x="667" y="34"/>
                    </a:lnTo>
                    <a:lnTo>
                      <a:pt x="654" y="34"/>
                    </a:lnTo>
                    <a:lnTo>
                      <a:pt x="635" y="37"/>
                    </a:lnTo>
                    <a:lnTo>
                      <a:pt x="622" y="37"/>
                    </a:lnTo>
                    <a:lnTo>
                      <a:pt x="608" y="43"/>
                    </a:lnTo>
                    <a:lnTo>
                      <a:pt x="585" y="43"/>
                    </a:lnTo>
                    <a:lnTo>
                      <a:pt x="571" y="46"/>
                    </a:lnTo>
                    <a:lnTo>
                      <a:pt x="549" y="49"/>
                    </a:lnTo>
                    <a:lnTo>
                      <a:pt x="530" y="57"/>
                    </a:lnTo>
                    <a:lnTo>
                      <a:pt x="521" y="57"/>
                    </a:lnTo>
                    <a:lnTo>
                      <a:pt x="512" y="60"/>
                    </a:lnTo>
                    <a:lnTo>
                      <a:pt x="498" y="63"/>
                    </a:lnTo>
                    <a:lnTo>
                      <a:pt x="489" y="66"/>
                    </a:lnTo>
                    <a:lnTo>
                      <a:pt x="480" y="71"/>
                    </a:lnTo>
                    <a:lnTo>
                      <a:pt x="466" y="71"/>
                    </a:lnTo>
                    <a:lnTo>
                      <a:pt x="457" y="77"/>
                    </a:lnTo>
                    <a:lnTo>
                      <a:pt x="443" y="80"/>
                    </a:lnTo>
                    <a:lnTo>
                      <a:pt x="430" y="83"/>
                    </a:lnTo>
                    <a:lnTo>
                      <a:pt x="416" y="89"/>
                    </a:lnTo>
                    <a:lnTo>
                      <a:pt x="402" y="91"/>
                    </a:lnTo>
                    <a:lnTo>
                      <a:pt x="393" y="94"/>
                    </a:lnTo>
                    <a:lnTo>
                      <a:pt x="379" y="97"/>
                    </a:lnTo>
                    <a:lnTo>
                      <a:pt x="366" y="103"/>
                    </a:lnTo>
                    <a:lnTo>
                      <a:pt x="357" y="106"/>
                    </a:lnTo>
                    <a:lnTo>
                      <a:pt x="343" y="111"/>
                    </a:lnTo>
                    <a:lnTo>
                      <a:pt x="325" y="114"/>
                    </a:lnTo>
                    <a:lnTo>
                      <a:pt x="311" y="117"/>
                    </a:lnTo>
                    <a:lnTo>
                      <a:pt x="302" y="123"/>
                    </a:lnTo>
                    <a:lnTo>
                      <a:pt x="288" y="128"/>
                    </a:lnTo>
                    <a:lnTo>
                      <a:pt x="274" y="131"/>
                    </a:lnTo>
                    <a:lnTo>
                      <a:pt x="265" y="134"/>
                    </a:lnTo>
                    <a:lnTo>
                      <a:pt x="256" y="140"/>
                    </a:lnTo>
                    <a:lnTo>
                      <a:pt x="238" y="145"/>
                    </a:lnTo>
                    <a:lnTo>
                      <a:pt x="229" y="148"/>
                    </a:lnTo>
                    <a:lnTo>
                      <a:pt x="215" y="151"/>
                    </a:lnTo>
                    <a:lnTo>
                      <a:pt x="201" y="157"/>
                    </a:lnTo>
                    <a:lnTo>
                      <a:pt x="188" y="160"/>
                    </a:lnTo>
                    <a:lnTo>
                      <a:pt x="178" y="163"/>
                    </a:lnTo>
                    <a:lnTo>
                      <a:pt x="169" y="168"/>
                    </a:lnTo>
                    <a:lnTo>
                      <a:pt x="156" y="171"/>
                    </a:lnTo>
                    <a:lnTo>
                      <a:pt x="146" y="177"/>
                    </a:lnTo>
                    <a:lnTo>
                      <a:pt x="133" y="180"/>
                    </a:lnTo>
                    <a:lnTo>
                      <a:pt x="124" y="183"/>
                    </a:lnTo>
                    <a:lnTo>
                      <a:pt x="114" y="185"/>
                    </a:lnTo>
                    <a:lnTo>
                      <a:pt x="105" y="191"/>
                    </a:lnTo>
                    <a:lnTo>
                      <a:pt x="87" y="197"/>
                    </a:lnTo>
                    <a:lnTo>
                      <a:pt x="69" y="205"/>
                    </a:lnTo>
                    <a:lnTo>
                      <a:pt x="55" y="211"/>
                    </a:lnTo>
                    <a:lnTo>
                      <a:pt x="37" y="217"/>
                    </a:lnTo>
                    <a:lnTo>
                      <a:pt x="28" y="220"/>
                    </a:lnTo>
                    <a:lnTo>
                      <a:pt x="18" y="225"/>
                    </a:lnTo>
                    <a:lnTo>
                      <a:pt x="0" y="23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7" name="Freeform 201"/>
              <p:cNvSpPr>
                <a:spLocks/>
              </p:cNvSpPr>
              <p:nvPr>
                <p:custDataLst>
                  <p:tags r:id="rId32"/>
                </p:custDataLst>
              </p:nvPr>
            </p:nvSpPr>
            <p:spPr bwMode="gray">
              <a:xfrm>
                <a:off x="4230" y="923"/>
                <a:ext cx="797" cy="336"/>
              </a:xfrm>
              <a:custGeom>
                <a:avLst/>
                <a:gdLst>
                  <a:gd name="T0" fmla="*/ 35 w 777"/>
                  <a:gd name="T1" fmla="*/ 5 h 367"/>
                  <a:gd name="T2" fmla="*/ 88 w 777"/>
                  <a:gd name="T3" fmla="*/ 8 h 367"/>
                  <a:gd name="T4" fmla="*/ 136 w 777"/>
                  <a:gd name="T5" fmla="*/ 13 h 367"/>
                  <a:gd name="T6" fmla="*/ 187 w 777"/>
                  <a:gd name="T7" fmla="*/ 17 h 367"/>
                  <a:gd name="T8" fmla="*/ 248 w 777"/>
                  <a:gd name="T9" fmla="*/ 24 h 367"/>
                  <a:gd name="T10" fmla="*/ 309 w 777"/>
                  <a:gd name="T11" fmla="*/ 31 h 367"/>
                  <a:gd name="T12" fmla="*/ 378 w 777"/>
                  <a:gd name="T13" fmla="*/ 38 h 367"/>
                  <a:gd name="T14" fmla="*/ 446 w 777"/>
                  <a:gd name="T15" fmla="*/ 45 h 367"/>
                  <a:gd name="T16" fmla="*/ 521 w 777"/>
                  <a:gd name="T17" fmla="*/ 54 h 367"/>
                  <a:gd name="T18" fmla="*/ 588 w 777"/>
                  <a:gd name="T19" fmla="*/ 61 h 367"/>
                  <a:gd name="T20" fmla="*/ 664 w 777"/>
                  <a:gd name="T21" fmla="*/ 69 h 367"/>
                  <a:gd name="T22" fmla="*/ 731 w 777"/>
                  <a:gd name="T23" fmla="*/ 76 h 367"/>
                  <a:gd name="T24" fmla="*/ 793 w 777"/>
                  <a:gd name="T25" fmla="*/ 83 h 367"/>
                  <a:gd name="T26" fmla="*/ 854 w 777"/>
                  <a:gd name="T27" fmla="*/ 90 h 367"/>
                  <a:gd name="T28" fmla="*/ 912 w 777"/>
                  <a:gd name="T29" fmla="*/ 95 h 367"/>
                  <a:gd name="T30" fmla="*/ 961 w 777"/>
                  <a:gd name="T31" fmla="*/ 102 h 367"/>
                  <a:gd name="T32" fmla="*/ 1015 w 777"/>
                  <a:gd name="T33" fmla="*/ 110 h 367"/>
                  <a:gd name="T34" fmla="*/ 1055 w 777"/>
                  <a:gd name="T35" fmla="*/ 114 h 367"/>
                  <a:gd name="T36" fmla="*/ 1015 w 777"/>
                  <a:gd name="T37" fmla="*/ 114 h 367"/>
                  <a:gd name="T38" fmla="*/ 966 w 777"/>
                  <a:gd name="T39" fmla="*/ 118 h 367"/>
                  <a:gd name="T40" fmla="*/ 907 w 777"/>
                  <a:gd name="T41" fmla="*/ 119 h 367"/>
                  <a:gd name="T42" fmla="*/ 830 w 777"/>
                  <a:gd name="T43" fmla="*/ 121 h 367"/>
                  <a:gd name="T44" fmla="*/ 755 w 777"/>
                  <a:gd name="T45" fmla="*/ 123 h 367"/>
                  <a:gd name="T46" fmla="*/ 669 w 777"/>
                  <a:gd name="T47" fmla="*/ 125 h 367"/>
                  <a:gd name="T48" fmla="*/ 601 w 777"/>
                  <a:gd name="T49" fmla="*/ 125 h 367"/>
                  <a:gd name="T50" fmla="*/ 539 w 777"/>
                  <a:gd name="T51" fmla="*/ 127 h 367"/>
                  <a:gd name="T52" fmla="*/ 793 w 777"/>
                  <a:gd name="T53" fmla="*/ 101 h 367"/>
                  <a:gd name="T54" fmla="*/ 743 w 777"/>
                  <a:gd name="T55" fmla="*/ 94 h 367"/>
                  <a:gd name="T56" fmla="*/ 695 w 777"/>
                  <a:gd name="T57" fmla="*/ 87 h 367"/>
                  <a:gd name="T58" fmla="*/ 645 w 777"/>
                  <a:gd name="T59" fmla="*/ 81 h 367"/>
                  <a:gd name="T60" fmla="*/ 597 w 777"/>
                  <a:gd name="T61" fmla="*/ 74 h 367"/>
                  <a:gd name="T62" fmla="*/ 539 w 777"/>
                  <a:gd name="T63" fmla="*/ 69 h 367"/>
                  <a:gd name="T64" fmla="*/ 490 w 777"/>
                  <a:gd name="T65" fmla="*/ 61 h 367"/>
                  <a:gd name="T66" fmla="*/ 422 w 777"/>
                  <a:gd name="T67" fmla="*/ 55 h 367"/>
                  <a:gd name="T68" fmla="*/ 371 w 777"/>
                  <a:gd name="T69" fmla="*/ 47 h 367"/>
                  <a:gd name="T70" fmla="*/ 309 w 777"/>
                  <a:gd name="T71" fmla="*/ 41 h 367"/>
                  <a:gd name="T72" fmla="*/ 253 w 777"/>
                  <a:gd name="T73" fmla="*/ 34 h 367"/>
                  <a:gd name="T74" fmla="*/ 198 w 777"/>
                  <a:gd name="T75" fmla="*/ 26 h 367"/>
                  <a:gd name="T76" fmla="*/ 154 w 777"/>
                  <a:gd name="T77" fmla="*/ 20 h 367"/>
                  <a:gd name="T78" fmla="*/ 110 w 777"/>
                  <a:gd name="T79" fmla="*/ 14 h 367"/>
                  <a:gd name="T80" fmla="*/ 48 w 777"/>
                  <a:gd name="T81" fmla="*/ 5 h 367"/>
                  <a:gd name="T82" fmla="*/ 0 w 777"/>
                  <a:gd name="T83" fmla="*/ 0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7"/>
                  <a:gd name="T127" fmla="*/ 0 h 367"/>
                  <a:gd name="T128" fmla="*/ 777 w 777"/>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7" h="367">
                    <a:moveTo>
                      <a:pt x="4" y="0"/>
                    </a:moveTo>
                    <a:lnTo>
                      <a:pt x="9" y="0"/>
                    </a:lnTo>
                    <a:lnTo>
                      <a:pt x="23" y="6"/>
                    </a:lnTo>
                    <a:lnTo>
                      <a:pt x="36" y="11"/>
                    </a:lnTo>
                    <a:lnTo>
                      <a:pt x="55" y="17"/>
                    </a:lnTo>
                    <a:lnTo>
                      <a:pt x="64" y="23"/>
                    </a:lnTo>
                    <a:lnTo>
                      <a:pt x="73" y="26"/>
                    </a:lnTo>
                    <a:lnTo>
                      <a:pt x="87" y="28"/>
                    </a:lnTo>
                    <a:lnTo>
                      <a:pt x="100" y="37"/>
                    </a:lnTo>
                    <a:lnTo>
                      <a:pt x="110" y="40"/>
                    </a:lnTo>
                    <a:lnTo>
                      <a:pt x="123" y="46"/>
                    </a:lnTo>
                    <a:lnTo>
                      <a:pt x="137" y="51"/>
                    </a:lnTo>
                    <a:lnTo>
                      <a:pt x="155" y="57"/>
                    </a:lnTo>
                    <a:lnTo>
                      <a:pt x="169" y="65"/>
                    </a:lnTo>
                    <a:lnTo>
                      <a:pt x="183" y="68"/>
                    </a:lnTo>
                    <a:lnTo>
                      <a:pt x="196" y="74"/>
                    </a:lnTo>
                    <a:lnTo>
                      <a:pt x="215" y="85"/>
                    </a:lnTo>
                    <a:lnTo>
                      <a:pt x="228" y="88"/>
                    </a:lnTo>
                    <a:lnTo>
                      <a:pt x="247" y="97"/>
                    </a:lnTo>
                    <a:lnTo>
                      <a:pt x="260" y="105"/>
                    </a:lnTo>
                    <a:lnTo>
                      <a:pt x="279" y="111"/>
                    </a:lnTo>
                    <a:lnTo>
                      <a:pt x="297" y="117"/>
                    </a:lnTo>
                    <a:lnTo>
                      <a:pt x="311" y="125"/>
                    </a:lnTo>
                    <a:lnTo>
                      <a:pt x="329" y="131"/>
                    </a:lnTo>
                    <a:lnTo>
                      <a:pt x="347" y="140"/>
                    </a:lnTo>
                    <a:lnTo>
                      <a:pt x="365" y="148"/>
                    </a:lnTo>
                    <a:lnTo>
                      <a:pt x="384" y="154"/>
                    </a:lnTo>
                    <a:lnTo>
                      <a:pt x="402" y="162"/>
                    </a:lnTo>
                    <a:lnTo>
                      <a:pt x="420" y="171"/>
                    </a:lnTo>
                    <a:lnTo>
                      <a:pt x="434" y="177"/>
                    </a:lnTo>
                    <a:lnTo>
                      <a:pt x="457" y="185"/>
                    </a:lnTo>
                    <a:lnTo>
                      <a:pt x="471" y="191"/>
                    </a:lnTo>
                    <a:lnTo>
                      <a:pt x="489" y="199"/>
                    </a:lnTo>
                    <a:lnTo>
                      <a:pt x="507" y="205"/>
                    </a:lnTo>
                    <a:lnTo>
                      <a:pt x="525" y="214"/>
                    </a:lnTo>
                    <a:lnTo>
                      <a:pt x="539" y="219"/>
                    </a:lnTo>
                    <a:lnTo>
                      <a:pt x="557" y="225"/>
                    </a:lnTo>
                    <a:lnTo>
                      <a:pt x="571" y="233"/>
                    </a:lnTo>
                    <a:lnTo>
                      <a:pt x="585" y="239"/>
                    </a:lnTo>
                    <a:lnTo>
                      <a:pt x="603" y="248"/>
                    </a:lnTo>
                    <a:lnTo>
                      <a:pt x="617" y="253"/>
                    </a:lnTo>
                    <a:lnTo>
                      <a:pt x="630" y="259"/>
                    </a:lnTo>
                    <a:lnTo>
                      <a:pt x="644" y="268"/>
                    </a:lnTo>
                    <a:lnTo>
                      <a:pt x="658" y="273"/>
                    </a:lnTo>
                    <a:lnTo>
                      <a:pt x="672" y="279"/>
                    </a:lnTo>
                    <a:lnTo>
                      <a:pt x="681" y="282"/>
                    </a:lnTo>
                    <a:lnTo>
                      <a:pt x="690" y="288"/>
                    </a:lnTo>
                    <a:lnTo>
                      <a:pt x="708" y="293"/>
                    </a:lnTo>
                    <a:lnTo>
                      <a:pt x="717" y="299"/>
                    </a:lnTo>
                    <a:lnTo>
                      <a:pt x="736" y="308"/>
                    </a:lnTo>
                    <a:lnTo>
                      <a:pt x="749" y="316"/>
                    </a:lnTo>
                    <a:lnTo>
                      <a:pt x="763" y="322"/>
                    </a:lnTo>
                    <a:lnTo>
                      <a:pt x="772" y="325"/>
                    </a:lnTo>
                    <a:lnTo>
                      <a:pt x="777" y="330"/>
                    </a:lnTo>
                    <a:lnTo>
                      <a:pt x="763" y="330"/>
                    </a:lnTo>
                    <a:lnTo>
                      <a:pt x="749" y="333"/>
                    </a:lnTo>
                    <a:lnTo>
                      <a:pt x="740" y="336"/>
                    </a:lnTo>
                    <a:lnTo>
                      <a:pt x="726" y="336"/>
                    </a:lnTo>
                    <a:lnTo>
                      <a:pt x="713" y="339"/>
                    </a:lnTo>
                    <a:lnTo>
                      <a:pt x="699" y="342"/>
                    </a:lnTo>
                    <a:lnTo>
                      <a:pt x="681" y="342"/>
                    </a:lnTo>
                    <a:lnTo>
                      <a:pt x="667" y="342"/>
                    </a:lnTo>
                    <a:lnTo>
                      <a:pt x="649" y="342"/>
                    </a:lnTo>
                    <a:lnTo>
                      <a:pt x="630" y="347"/>
                    </a:lnTo>
                    <a:lnTo>
                      <a:pt x="612" y="347"/>
                    </a:lnTo>
                    <a:lnTo>
                      <a:pt x="594" y="350"/>
                    </a:lnTo>
                    <a:lnTo>
                      <a:pt x="571" y="353"/>
                    </a:lnTo>
                    <a:lnTo>
                      <a:pt x="557" y="353"/>
                    </a:lnTo>
                    <a:lnTo>
                      <a:pt x="535" y="356"/>
                    </a:lnTo>
                    <a:lnTo>
                      <a:pt x="516" y="359"/>
                    </a:lnTo>
                    <a:lnTo>
                      <a:pt x="493" y="359"/>
                    </a:lnTo>
                    <a:lnTo>
                      <a:pt x="480" y="362"/>
                    </a:lnTo>
                    <a:lnTo>
                      <a:pt x="461" y="362"/>
                    </a:lnTo>
                    <a:lnTo>
                      <a:pt x="443" y="364"/>
                    </a:lnTo>
                    <a:lnTo>
                      <a:pt x="425" y="364"/>
                    </a:lnTo>
                    <a:lnTo>
                      <a:pt x="416" y="367"/>
                    </a:lnTo>
                    <a:lnTo>
                      <a:pt x="397" y="367"/>
                    </a:lnTo>
                    <a:lnTo>
                      <a:pt x="589" y="293"/>
                    </a:lnTo>
                    <a:lnTo>
                      <a:pt x="585" y="290"/>
                    </a:lnTo>
                    <a:lnTo>
                      <a:pt x="585" y="288"/>
                    </a:lnTo>
                    <a:lnTo>
                      <a:pt x="571" y="282"/>
                    </a:lnTo>
                    <a:lnTo>
                      <a:pt x="562" y="279"/>
                    </a:lnTo>
                    <a:lnTo>
                      <a:pt x="548" y="271"/>
                    </a:lnTo>
                    <a:lnTo>
                      <a:pt x="525" y="262"/>
                    </a:lnTo>
                    <a:lnTo>
                      <a:pt x="516" y="256"/>
                    </a:lnTo>
                    <a:lnTo>
                      <a:pt x="512" y="253"/>
                    </a:lnTo>
                    <a:lnTo>
                      <a:pt x="498" y="248"/>
                    </a:lnTo>
                    <a:lnTo>
                      <a:pt x="489" y="242"/>
                    </a:lnTo>
                    <a:lnTo>
                      <a:pt x="475" y="236"/>
                    </a:lnTo>
                    <a:lnTo>
                      <a:pt x="466" y="231"/>
                    </a:lnTo>
                    <a:lnTo>
                      <a:pt x="452" y="225"/>
                    </a:lnTo>
                    <a:lnTo>
                      <a:pt x="439" y="216"/>
                    </a:lnTo>
                    <a:lnTo>
                      <a:pt x="425" y="211"/>
                    </a:lnTo>
                    <a:lnTo>
                      <a:pt x="416" y="205"/>
                    </a:lnTo>
                    <a:lnTo>
                      <a:pt x="397" y="199"/>
                    </a:lnTo>
                    <a:lnTo>
                      <a:pt x="384" y="194"/>
                    </a:lnTo>
                    <a:lnTo>
                      <a:pt x="370" y="185"/>
                    </a:lnTo>
                    <a:lnTo>
                      <a:pt x="361" y="179"/>
                    </a:lnTo>
                    <a:lnTo>
                      <a:pt x="347" y="171"/>
                    </a:lnTo>
                    <a:lnTo>
                      <a:pt x="329" y="165"/>
                    </a:lnTo>
                    <a:lnTo>
                      <a:pt x="311" y="157"/>
                    </a:lnTo>
                    <a:lnTo>
                      <a:pt x="301" y="151"/>
                    </a:lnTo>
                    <a:lnTo>
                      <a:pt x="288" y="145"/>
                    </a:lnTo>
                    <a:lnTo>
                      <a:pt x="274" y="137"/>
                    </a:lnTo>
                    <a:lnTo>
                      <a:pt x="256" y="131"/>
                    </a:lnTo>
                    <a:lnTo>
                      <a:pt x="242" y="122"/>
                    </a:lnTo>
                    <a:lnTo>
                      <a:pt x="228" y="117"/>
                    </a:lnTo>
                    <a:lnTo>
                      <a:pt x="215" y="108"/>
                    </a:lnTo>
                    <a:lnTo>
                      <a:pt x="201" y="103"/>
                    </a:lnTo>
                    <a:lnTo>
                      <a:pt x="187" y="97"/>
                    </a:lnTo>
                    <a:lnTo>
                      <a:pt x="173" y="88"/>
                    </a:lnTo>
                    <a:lnTo>
                      <a:pt x="160" y="85"/>
                    </a:lnTo>
                    <a:lnTo>
                      <a:pt x="146" y="74"/>
                    </a:lnTo>
                    <a:lnTo>
                      <a:pt x="137" y="68"/>
                    </a:lnTo>
                    <a:lnTo>
                      <a:pt x="123" y="65"/>
                    </a:lnTo>
                    <a:lnTo>
                      <a:pt x="114" y="57"/>
                    </a:lnTo>
                    <a:lnTo>
                      <a:pt x="100" y="48"/>
                    </a:lnTo>
                    <a:lnTo>
                      <a:pt x="87" y="46"/>
                    </a:lnTo>
                    <a:lnTo>
                      <a:pt x="82" y="40"/>
                    </a:lnTo>
                    <a:lnTo>
                      <a:pt x="73" y="37"/>
                    </a:lnTo>
                    <a:lnTo>
                      <a:pt x="50" y="26"/>
                    </a:lnTo>
                    <a:lnTo>
                      <a:pt x="36" y="17"/>
                    </a:lnTo>
                    <a:lnTo>
                      <a:pt x="23" y="11"/>
                    </a:lnTo>
                    <a:lnTo>
                      <a:pt x="14" y="6"/>
                    </a:lnTo>
                    <a:lnTo>
                      <a:pt x="0" y="0"/>
                    </a:lnTo>
                    <a:lnTo>
                      <a:pt x="4"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8" name="Freeform 202"/>
              <p:cNvSpPr>
                <a:spLocks/>
              </p:cNvSpPr>
              <p:nvPr>
                <p:custDataLst>
                  <p:tags r:id="rId33"/>
                </p:custDataLst>
              </p:nvPr>
            </p:nvSpPr>
            <p:spPr bwMode="gray">
              <a:xfrm>
                <a:off x="2000" y="1341"/>
                <a:ext cx="1804" cy="70"/>
              </a:xfrm>
              <a:custGeom>
                <a:avLst/>
                <a:gdLst>
                  <a:gd name="T0" fmla="*/ 473 w 1760"/>
                  <a:gd name="T1" fmla="*/ 22 h 77"/>
                  <a:gd name="T2" fmla="*/ 629 w 1760"/>
                  <a:gd name="T3" fmla="*/ 25 h 77"/>
                  <a:gd name="T4" fmla="*/ 794 w 1760"/>
                  <a:gd name="T5" fmla="*/ 25 h 77"/>
                  <a:gd name="T6" fmla="*/ 959 w 1760"/>
                  <a:gd name="T7" fmla="*/ 25 h 77"/>
                  <a:gd name="T8" fmla="*/ 1132 w 1760"/>
                  <a:gd name="T9" fmla="*/ 25 h 77"/>
                  <a:gd name="T10" fmla="*/ 1310 w 1760"/>
                  <a:gd name="T11" fmla="*/ 23 h 77"/>
                  <a:gd name="T12" fmla="*/ 1475 w 1760"/>
                  <a:gd name="T13" fmla="*/ 20 h 77"/>
                  <a:gd name="T14" fmla="*/ 1642 w 1760"/>
                  <a:gd name="T15" fmla="*/ 17 h 77"/>
                  <a:gd name="T16" fmla="*/ 1797 w 1760"/>
                  <a:gd name="T17" fmla="*/ 15 h 77"/>
                  <a:gd name="T18" fmla="*/ 1938 w 1760"/>
                  <a:gd name="T19" fmla="*/ 12 h 77"/>
                  <a:gd name="T20" fmla="*/ 2063 w 1760"/>
                  <a:gd name="T21" fmla="*/ 10 h 77"/>
                  <a:gd name="T22" fmla="*/ 2169 w 1760"/>
                  <a:gd name="T23" fmla="*/ 6 h 77"/>
                  <a:gd name="T24" fmla="*/ 2256 w 1760"/>
                  <a:gd name="T25" fmla="*/ 5 h 77"/>
                  <a:gd name="T26" fmla="*/ 2317 w 1760"/>
                  <a:gd name="T27" fmla="*/ 5 h 77"/>
                  <a:gd name="T28" fmla="*/ 2367 w 1760"/>
                  <a:gd name="T29" fmla="*/ 0 h 77"/>
                  <a:gd name="T30" fmla="*/ 2300 w 1760"/>
                  <a:gd name="T31" fmla="*/ 0 h 77"/>
                  <a:gd name="T32" fmla="*/ 2217 w 1760"/>
                  <a:gd name="T33" fmla="*/ 3 h 77"/>
                  <a:gd name="T34" fmla="*/ 2145 w 1760"/>
                  <a:gd name="T35" fmla="*/ 5 h 77"/>
                  <a:gd name="T36" fmla="*/ 2052 w 1760"/>
                  <a:gd name="T37" fmla="*/ 5 h 77"/>
                  <a:gd name="T38" fmla="*/ 1958 w 1760"/>
                  <a:gd name="T39" fmla="*/ 5 h 77"/>
                  <a:gd name="T40" fmla="*/ 1856 w 1760"/>
                  <a:gd name="T41" fmla="*/ 5 h 77"/>
                  <a:gd name="T42" fmla="*/ 1754 w 1760"/>
                  <a:gd name="T43" fmla="*/ 5 h 77"/>
                  <a:gd name="T44" fmla="*/ 1635 w 1760"/>
                  <a:gd name="T45" fmla="*/ 6 h 77"/>
                  <a:gd name="T46" fmla="*/ 1525 w 1760"/>
                  <a:gd name="T47" fmla="*/ 7 h 77"/>
                  <a:gd name="T48" fmla="*/ 1416 w 1760"/>
                  <a:gd name="T49" fmla="*/ 10 h 77"/>
                  <a:gd name="T50" fmla="*/ 1310 w 1760"/>
                  <a:gd name="T51" fmla="*/ 11 h 77"/>
                  <a:gd name="T52" fmla="*/ 1212 w 1760"/>
                  <a:gd name="T53" fmla="*/ 12 h 77"/>
                  <a:gd name="T54" fmla="*/ 1119 w 1760"/>
                  <a:gd name="T55" fmla="*/ 13 h 77"/>
                  <a:gd name="T56" fmla="*/ 1043 w 1760"/>
                  <a:gd name="T57" fmla="*/ 13 h 77"/>
                  <a:gd name="T58" fmla="*/ 984 w 1760"/>
                  <a:gd name="T59" fmla="*/ 14 h 77"/>
                  <a:gd name="T60" fmla="*/ 921 w 1760"/>
                  <a:gd name="T61" fmla="*/ 14 h 77"/>
                  <a:gd name="T62" fmla="*/ 860 w 1760"/>
                  <a:gd name="T63" fmla="*/ 14 h 77"/>
                  <a:gd name="T64" fmla="*/ 787 w 1760"/>
                  <a:gd name="T65" fmla="*/ 15 h 77"/>
                  <a:gd name="T66" fmla="*/ 707 w 1760"/>
                  <a:gd name="T67" fmla="*/ 15 h 77"/>
                  <a:gd name="T68" fmla="*/ 629 w 1760"/>
                  <a:gd name="T69" fmla="*/ 15 h 77"/>
                  <a:gd name="T70" fmla="*/ 542 w 1760"/>
                  <a:gd name="T71" fmla="*/ 15 h 77"/>
                  <a:gd name="T72" fmla="*/ 456 w 1760"/>
                  <a:gd name="T73" fmla="*/ 15 h 77"/>
                  <a:gd name="T74" fmla="*/ 375 w 1760"/>
                  <a:gd name="T75" fmla="*/ 15 h 77"/>
                  <a:gd name="T76" fmla="*/ 297 w 1760"/>
                  <a:gd name="T77" fmla="*/ 15 h 77"/>
                  <a:gd name="T78" fmla="*/ 221 w 1760"/>
                  <a:gd name="T79" fmla="*/ 15 h 77"/>
                  <a:gd name="T80" fmla="*/ 160 w 1760"/>
                  <a:gd name="T81" fmla="*/ 14 h 77"/>
                  <a:gd name="T82" fmla="*/ 98 w 1760"/>
                  <a:gd name="T83" fmla="*/ 14 h 77"/>
                  <a:gd name="T84" fmla="*/ 35 w 1760"/>
                  <a:gd name="T85" fmla="*/ 14 h 77"/>
                  <a:gd name="T86" fmla="*/ 10 w 1760"/>
                  <a:gd name="T87" fmla="*/ 14 h 77"/>
                  <a:gd name="T88" fmla="*/ 93 w 1760"/>
                  <a:gd name="T89" fmla="*/ 15 h 77"/>
                  <a:gd name="T90" fmla="*/ 160 w 1760"/>
                  <a:gd name="T91" fmla="*/ 15 h 77"/>
                  <a:gd name="T92" fmla="*/ 221 w 1760"/>
                  <a:gd name="T93" fmla="*/ 17 h 77"/>
                  <a:gd name="T94" fmla="*/ 284 w 1760"/>
                  <a:gd name="T95" fmla="*/ 18 h 77"/>
                  <a:gd name="T96" fmla="*/ 338 w 1760"/>
                  <a:gd name="T97" fmla="*/ 19 h 77"/>
                  <a:gd name="T98" fmla="*/ 370 w 1760"/>
                  <a:gd name="T99" fmla="*/ 21 h 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0"/>
                  <a:gd name="T151" fmla="*/ 0 h 77"/>
                  <a:gd name="T152" fmla="*/ 1760 w 1760"/>
                  <a:gd name="T153" fmla="*/ 77 h 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0" h="77">
                    <a:moveTo>
                      <a:pt x="275" y="66"/>
                    </a:moveTo>
                    <a:lnTo>
                      <a:pt x="302" y="66"/>
                    </a:lnTo>
                    <a:lnTo>
                      <a:pt x="325" y="66"/>
                    </a:lnTo>
                    <a:lnTo>
                      <a:pt x="352" y="69"/>
                    </a:lnTo>
                    <a:lnTo>
                      <a:pt x="380" y="72"/>
                    </a:lnTo>
                    <a:lnTo>
                      <a:pt x="407" y="74"/>
                    </a:lnTo>
                    <a:lnTo>
                      <a:pt x="435" y="74"/>
                    </a:lnTo>
                    <a:lnTo>
                      <a:pt x="467" y="77"/>
                    </a:lnTo>
                    <a:lnTo>
                      <a:pt x="499" y="77"/>
                    </a:lnTo>
                    <a:lnTo>
                      <a:pt x="526" y="77"/>
                    </a:lnTo>
                    <a:lnTo>
                      <a:pt x="558" y="77"/>
                    </a:lnTo>
                    <a:lnTo>
                      <a:pt x="590" y="77"/>
                    </a:lnTo>
                    <a:lnTo>
                      <a:pt x="622" y="77"/>
                    </a:lnTo>
                    <a:lnTo>
                      <a:pt x="649" y="77"/>
                    </a:lnTo>
                    <a:lnTo>
                      <a:pt x="681" y="77"/>
                    </a:lnTo>
                    <a:lnTo>
                      <a:pt x="713" y="77"/>
                    </a:lnTo>
                    <a:lnTo>
                      <a:pt x="750" y="77"/>
                    </a:lnTo>
                    <a:lnTo>
                      <a:pt x="782" y="77"/>
                    </a:lnTo>
                    <a:lnTo>
                      <a:pt x="809" y="77"/>
                    </a:lnTo>
                    <a:lnTo>
                      <a:pt x="841" y="77"/>
                    </a:lnTo>
                    <a:lnTo>
                      <a:pt x="878" y="77"/>
                    </a:lnTo>
                    <a:lnTo>
                      <a:pt x="905" y="74"/>
                    </a:lnTo>
                    <a:lnTo>
                      <a:pt x="937" y="72"/>
                    </a:lnTo>
                    <a:lnTo>
                      <a:pt x="974" y="72"/>
                    </a:lnTo>
                    <a:lnTo>
                      <a:pt x="1006" y="69"/>
                    </a:lnTo>
                    <a:lnTo>
                      <a:pt x="1033" y="66"/>
                    </a:lnTo>
                    <a:lnTo>
                      <a:pt x="1065" y="66"/>
                    </a:lnTo>
                    <a:lnTo>
                      <a:pt x="1097" y="63"/>
                    </a:lnTo>
                    <a:lnTo>
                      <a:pt x="1129" y="60"/>
                    </a:lnTo>
                    <a:lnTo>
                      <a:pt x="1161" y="60"/>
                    </a:lnTo>
                    <a:lnTo>
                      <a:pt x="1193" y="57"/>
                    </a:lnTo>
                    <a:lnTo>
                      <a:pt x="1221" y="55"/>
                    </a:lnTo>
                    <a:lnTo>
                      <a:pt x="1248" y="55"/>
                    </a:lnTo>
                    <a:lnTo>
                      <a:pt x="1280" y="52"/>
                    </a:lnTo>
                    <a:lnTo>
                      <a:pt x="1303" y="49"/>
                    </a:lnTo>
                    <a:lnTo>
                      <a:pt x="1335" y="46"/>
                    </a:lnTo>
                    <a:lnTo>
                      <a:pt x="1362" y="46"/>
                    </a:lnTo>
                    <a:lnTo>
                      <a:pt x="1390" y="40"/>
                    </a:lnTo>
                    <a:lnTo>
                      <a:pt x="1413" y="40"/>
                    </a:lnTo>
                    <a:lnTo>
                      <a:pt x="1440" y="37"/>
                    </a:lnTo>
                    <a:lnTo>
                      <a:pt x="1467" y="35"/>
                    </a:lnTo>
                    <a:lnTo>
                      <a:pt x="1490" y="32"/>
                    </a:lnTo>
                    <a:lnTo>
                      <a:pt x="1513" y="32"/>
                    </a:lnTo>
                    <a:lnTo>
                      <a:pt x="1536" y="29"/>
                    </a:lnTo>
                    <a:lnTo>
                      <a:pt x="1559" y="23"/>
                    </a:lnTo>
                    <a:lnTo>
                      <a:pt x="1577" y="23"/>
                    </a:lnTo>
                    <a:lnTo>
                      <a:pt x="1595" y="20"/>
                    </a:lnTo>
                    <a:lnTo>
                      <a:pt x="1614" y="20"/>
                    </a:lnTo>
                    <a:lnTo>
                      <a:pt x="1637" y="18"/>
                    </a:lnTo>
                    <a:lnTo>
                      <a:pt x="1650" y="15"/>
                    </a:lnTo>
                    <a:lnTo>
                      <a:pt x="1664" y="15"/>
                    </a:lnTo>
                    <a:lnTo>
                      <a:pt x="1678" y="12"/>
                    </a:lnTo>
                    <a:lnTo>
                      <a:pt x="1691" y="12"/>
                    </a:lnTo>
                    <a:lnTo>
                      <a:pt x="1701" y="9"/>
                    </a:lnTo>
                    <a:lnTo>
                      <a:pt x="1719" y="6"/>
                    </a:lnTo>
                    <a:lnTo>
                      <a:pt x="1723" y="6"/>
                    </a:lnTo>
                    <a:lnTo>
                      <a:pt x="1737" y="6"/>
                    </a:lnTo>
                    <a:lnTo>
                      <a:pt x="1746" y="3"/>
                    </a:lnTo>
                    <a:lnTo>
                      <a:pt x="1755" y="0"/>
                    </a:lnTo>
                    <a:lnTo>
                      <a:pt x="1760" y="0"/>
                    </a:lnTo>
                    <a:lnTo>
                      <a:pt x="1755" y="0"/>
                    </a:lnTo>
                    <a:lnTo>
                      <a:pt x="1742" y="0"/>
                    </a:lnTo>
                    <a:lnTo>
                      <a:pt x="1723" y="0"/>
                    </a:lnTo>
                    <a:lnTo>
                      <a:pt x="1710" y="0"/>
                    </a:lnTo>
                    <a:lnTo>
                      <a:pt x="1691" y="3"/>
                    </a:lnTo>
                    <a:lnTo>
                      <a:pt x="1678" y="3"/>
                    </a:lnTo>
                    <a:lnTo>
                      <a:pt x="1664" y="3"/>
                    </a:lnTo>
                    <a:lnTo>
                      <a:pt x="1650" y="3"/>
                    </a:lnTo>
                    <a:lnTo>
                      <a:pt x="1637" y="3"/>
                    </a:lnTo>
                    <a:lnTo>
                      <a:pt x="1627" y="3"/>
                    </a:lnTo>
                    <a:lnTo>
                      <a:pt x="1609" y="3"/>
                    </a:lnTo>
                    <a:lnTo>
                      <a:pt x="1595" y="6"/>
                    </a:lnTo>
                    <a:lnTo>
                      <a:pt x="1577" y="6"/>
                    </a:lnTo>
                    <a:lnTo>
                      <a:pt x="1559" y="6"/>
                    </a:lnTo>
                    <a:lnTo>
                      <a:pt x="1545" y="6"/>
                    </a:lnTo>
                    <a:lnTo>
                      <a:pt x="1527" y="9"/>
                    </a:lnTo>
                    <a:lnTo>
                      <a:pt x="1513" y="9"/>
                    </a:lnTo>
                    <a:lnTo>
                      <a:pt x="1490" y="9"/>
                    </a:lnTo>
                    <a:lnTo>
                      <a:pt x="1477" y="12"/>
                    </a:lnTo>
                    <a:lnTo>
                      <a:pt x="1458" y="12"/>
                    </a:lnTo>
                    <a:lnTo>
                      <a:pt x="1440" y="12"/>
                    </a:lnTo>
                    <a:lnTo>
                      <a:pt x="1417" y="12"/>
                    </a:lnTo>
                    <a:lnTo>
                      <a:pt x="1399" y="15"/>
                    </a:lnTo>
                    <a:lnTo>
                      <a:pt x="1381" y="15"/>
                    </a:lnTo>
                    <a:lnTo>
                      <a:pt x="1358" y="18"/>
                    </a:lnTo>
                    <a:lnTo>
                      <a:pt x="1339" y="18"/>
                    </a:lnTo>
                    <a:lnTo>
                      <a:pt x="1321" y="18"/>
                    </a:lnTo>
                    <a:lnTo>
                      <a:pt x="1303" y="18"/>
                    </a:lnTo>
                    <a:lnTo>
                      <a:pt x="1280" y="20"/>
                    </a:lnTo>
                    <a:lnTo>
                      <a:pt x="1257" y="20"/>
                    </a:lnTo>
                    <a:lnTo>
                      <a:pt x="1239" y="20"/>
                    </a:lnTo>
                    <a:lnTo>
                      <a:pt x="1216" y="20"/>
                    </a:lnTo>
                    <a:lnTo>
                      <a:pt x="1198" y="23"/>
                    </a:lnTo>
                    <a:lnTo>
                      <a:pt x="1175" y="23"/>
                    </a:lnTo>
                    <a:lnTo>
                      <a:pt x="1157" y="23"/>
                    </a:lnTo>
                    <a:lnTo>
                      <a:pt x="1134" y="23"/>
                    </a:lnTo>
                    <a:lnTo>
                      <a:pt x="1116" y="26"/>
                    </a:lnTo>
                    <a:lnTo>
                      <a:pt x="1093" y="26"/>
                    </a:lnTo>
                    <a:lnTo>
                      <a:pt x="1070" y="29"/>
                    </a:lnTo>
                    <a:lnTo>
                      <a:pt x="1052" y="29"/>
                    </a:lnTo>
                    <a:lnTo>
                      <a:pt x="1033" y="32"/>
                    </a:lnTo>
                    <a:lnTo>
                      <a:pt x="1010" y="32"/>
                    </a:lnTo>
                    <a:lnTo>
                      <a:pt x="992" y="32"/>
                    </a:lnTo>
                    <a:lnTo>
                      <a:pt x="974" y="32"/>
                    </a:lnTo>
                    <a:lnTo>
                      <a:pt x="956" y="32"/>
                    </a:lnTo>
                    <a:lnTo>
                      <a:pt x="937" y="32"/>
                    </a:lnTo>
                    <a:lnTo>
                      <a:pt x="919" y="35"/>
                    </a:lnTo>
                    <a:lnTo>
                      <a:pt x="901" y="35"/>
                    </a:lnTo>
                    <a:lnTo>
                      <a:pt x="887" y="35"/>
                    </a:lnTo>
                    <a:lnTo>
                      <a:pt x="869" y="35"/>
                    </a:lnTo>
                    <a:lnTo>
                      <a:pt x="850" y="37"/>
                    </a:lnTo>
                    <a:lnTo>
                      <a:pt x="832" y="40"/>
                    </a:lnTo>
                    <a:lnTo>
                      <a:pt x="818" y="40"/>
                    </a:lnTo>
                    <a:lnTo>
                      <a:pt x="800" y="40"/>
                    </a:lnTo>
                    <a:lnTo>
                      <a:pt x="791" y="40"/>
                    </a:lnTo>
                    <a:lnTo>
                      <a:pt x="777" y="40"/>
                    </a:lnTo>
                    <a:lnTo>
                      <a:pt x="764" y="40"/>
                    </a:lnTo>
                    <a:lnTo>
                      <a:pt x="750" y="40"/>
                    </a:lnTo>
                    <a:lnTo>
                      <a:pt x="741" y="40"/>
                    </a:lnTo>
                    <a:lnTo>
                      <a:pt x="732" y="43"/>
                    </a:lnTo>
                    <a:lnTo>
                      <a:pt x="723" y="43"/>
                    </a:lnTo>
                    <a:lnTo>
                      <a:pt x="709" y="43"/>
                    </a:lnTo>
                    <a:lnTo>
                      <a:pt x="700" y="43"/>
                    </a:lnTo>
                    <a:lnTo>
                      <a:pt x="686" y="43"/>
                    </a:lnTo>
                    <a:lnTo>
                      <a:pt x="677" y="43"/>
                    </a:lnTo>
                    <a:lnTo>
                      <a:pt x="663" y="43"/>
                    </a:lnTo>
                    <a:lnTo>
                      <a:pt x="649" y="43"/>
                    </a:lnTo>
                    <a:lnTo>
                      <a:pt x="640" y="43"/>
                    </a:lnTo>
                    <a:lnTo>
                      <a:pt x="627" y="46"/>
                    </a:lnTo>
                    <a:lnTo>
                      <a:pt x="613" y="46"/>
                    </a:lnTo>
                    <a:lnTo>
                      <a:pt x="599" y="46"/>
                    </a:lnTo>
                    <a:lnTo>
                      <a:pt x="585" y="46"/>
                    </a:lnTo>
                    <a:lnTo>
                      <a:pt x="572" y="46"/>
                    </a:lnTo>
                    <a:lnTo>
                      <a:pt x="558" y="46"/>
                    </a:lnTo>
                    <a:lnTo>
                      <a:pt x="544" y="46"/>
                    </a:lnTo>
                    <a:lnTo>
                      <a:pt x="526" y="46"/>
                    </a:lnTo>
                    <a:lnTo>
                      <a:pt x="512" y="46"/>
                    </a:lnTo>
                    <a:lnTo>
                      <a:pt x="499" y="46"/>
                    </a:lnTo>
                    <a:lnTo>
                      <a:pt x="480" y="46"/>
                    </a:lnTo>
                    <a:lnTo>
                      <a:pt x="467" y="46"/>
                    </a:lnTo>
                    <a:lnTo>
                      <a:pt x="448" y="46"/>
                    </a:lnTo>
                    <a:lnTo>
                      <a:pt x="435" y="46"/>
                    </a:lnTo>
                    <a:lnTo>
                      <a:pt x="416" y="46"/>
                    </a:lnTo>
                    <a:lnTo>
                      <a:pt x="403" y="46"/>
                    </a:lnTo>
                    <a:lnTo>
                      <a:pt x="389" y="46"/>
                    </a:lnTo>
                    <a:lnTo>
                      <a:pt x="371" y="46"/>
                    </a:lnTo>
                    <a:lnTo>
                      <a:pt x="357" y="46"/>
                    </a:lnTo>
                    <a:lnTo>
                      <a:pt x="339" y="46"/>
                    </a:lnTo>
                    <a:lnTo>
                      <a:pt x="325" y="46"/>
                    </a:lnTo>
                    <a:lnTo>
                      <a:pt x="311" y="46"/>
                    </a:lnTo>
                    <a:lnTo>
                      <a:pt x="293" y="46"/>
                    </a:lnTo>
                    <a:lnTo>
                      <a:pt x="279" y="46"/>
                    </a:lnTo>
                    <a:lnTo>
                      <a:pt x="266" y="46"/>
                    </a:lnTo>
                    <a:lnTo>
                      <a:pt x="252" y="46"/>
                    </a:lnTo>
                    <a:lnTo>
                      <a:pt x="234" y="46"/>
                    </a:lnTo>
                    <a:lnTo>
                      <a:pt x="220" y="46"/>
                    </a:lnTo>
                    <a:lnTo>
                      <a:pt x="206" y="46"/>
                    </a:lnTo>
                    <a:lnTo>
                      <a:pt x="192" y="46"/>
                    </a:lnTo>
                    <a:lnTo>
                      <a:pt x="179" y="46"/>
                    </a:lnTo>
                    <a:lnTo>
                      <a:pt x="165" y="46"/>
                    </a:lnTo>
                    <a:lnTo>
                      <a:pt x="156" y="46"/>
                    </a:lnTo>
                    <a:lnTo>
                      <a:pt x="142" y="43"/>
                    </a:lnTo>
                    <a:lnTo>
                      <a:pt x="128" y="43"/>
                    </a:lnTo>
                    <a:lnTo>
                      <a:pt x="119" y="43"/>
                    </a:lnTo>
                    <a:lnTo>
                      <a:pt x="106" y="43"/>
                    </a:lnTo>
                    <a:lnTo>
                      <a:pt x="96" y="43"/>
                    </a:lnTo>
                    <a:lnTo>
                      <a:pt x="83" y="43"/>
                    </a:lnTo>
                    <a:lnTo>
                      <a:pt x="74" y="43"/>
                    </a:lnTo>
                    <a:lnTo>
                      <a:pt x="64" y="43"/>
                    </a:lnTo>
                    <a:lnTo>
                      <a:pt x="46" y="43"/>
                    </a:lnTo>
                    <a:lnTo>
                      <a:pt x="32" y="43"/>
                    </a:lnTo>
                    <a:lnTo>
                      <a:pt x="23" y="43"/>
                    </a:lnTo>
                    <a:lnTo>
                      <a:pt x="10" y="43"/>
                    </a:lnTo>
                    <a:lnTo>
                      <a:pt x="0" y="43"/>
                    </a:lnTo>
                    <a:lnTo>
                      <a:pt x="10" y="43"/>
                    </a:lnTo>
                    <a:lnTo>
                      <a:pt x="28" y="43"/>
                    </a:lnTo>
                    <a:lnTo>
                      <a:pt x="42" y="46"/>
                    </a:lnTo>
                    <a:lnTo>
                      <a:pt x="60" y="46"/>
                    </a:lnTo>
                    <a:lnTo>
                      <a:pt x="69" y="46"/>
                    </a:lnTo>
                    <a:lnTo>
                      <a:pt x="83" y="46"/>
                    </a:lnTo>
                    <a:lnTo>
                      <a:pt x="92" y="49"/>
                    </a:lnTo>
                    <a:lnTo>
                      <a:pt x="106" y="49"/>
                    </a:lnTo>
                    <a:lnTo>
                      <a:pt x="119" y="49"/>
                    </a:lnTo>
                    <a:lnTo>
                      <a:pt x="128" y="52"/>
                    </a:lnTo>
                    <a:lnTo>
                      <a:pt x="142" y="55"/>
                    </a:lnTo>
                    <a:lnTo>
                      <a:pt x="156" y="55"/>
                    </a:lnTo>
                    <a:lnTo>
                      <a:pt x="165" y="55"/>
                    </a:lnTo>
                    <a:lnTo>
                      <a:pt x="179" y="55"/>
                    </a:lnTo>
                    <a:lnTo>
                      <a:pt x="188" y="55"/>
                    </a:lnTo>
                    <a:lnTo>
                      <a:pt x="202" y="57"/>
                    </a:lnTo>
                    <a:lnTo>
                      <a:pt x="211" y="57"/>
                    </a:lnTo>
                    <a:lnTo>
                      <a:pt x="220" y="57"/>
                    </a:lnTo>
                    <a:lnTo>
                      <a:pt x="229" y="60"/>
                    </a:lnTo>
                    <a:lnTo>
                      <a:pt x="238" y="60"/>
                    </a:lnTo>
                    <a:lnTo>
                      <a:pt x="252" y="60"/>
                    </a:lnTo>
                    <a:lnTo>
                      <a:pt x="266" y="60"/>
                    </a:lnTo>
                    <a:lnTo>
                      <a:pt x="270" y="63"/>
                    </a:lnTo>
                    <a:lnTo>
                      <a:pt x="275" y="6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49" name="Freeform 203"/>
              <p:cNvSpPr>
                <a:spLocks/>
              </p:cNvSpPr>
              <p:nvPr>
                <p:custDataLst>
                  <p:tags r:id="rId34"/>
                </p:custDataLst>
              </p:nvPr>
            </p:nvSpPr>
            <p:spPr bwMode="gray">
              <a:xfrm>
                <a:off x="1227" y="2140"/>
                <a:ext cx="1139" cy="188"/>
              </a:xfrm>
              <a:custGeom>
                <a:avLst/>
                <a:gdLst>
                  <a:gd name="T0" fmla="*/ 35 w 1111"/>
                  <a:gd name="T1" fmla="*/ 3 h 205"/>
                  <a:gd name="T2" fmla="*/ 74 w 1111"/>
                  <a:gd name="T3" fmla="*/ 6 h 205"/>
                  <a:gd name="T4" fmla="*/ 137 w 1111"/>
                  <a:gd name="T5" fmla="*/ 6 h 205"/>
                  <a:gd name="T6" fmla="*/ 192 w 1111"/>
                  <a:gd name="T7" fmla="*/ 6 h 205"/>
                  <a:gd name="T8" fmla="*/ 243 w 1111"/>
                  <a:gd name="T9" fmla="*/ 6 h 205"/>
                  <a:gd name="T10" fmla="*/ 284 w 1111"/>
                  <a:gd name="T11" fmla="*/ 8 h 205"/>
                  <a:gd name="T12" fmla="*/ 327 w 1111"/>
                  <a:gd name="T13" fmla="*/ 8 h 205"/>
                  <a:gd name="T14" fmla="*/ 370 w 1111"/>
                  <a:gd name="T15" fmla="*/ 11 h 205"/>
                  <a:gd name="T16" fmla="*/ 419 w 1111"/>
                  <a:gd name="T17" fmla="*/ 12 h 205"/>
                  <a:gd name="T18" fmla="*/ 469 w 1111"/>
                  <a:gd name="T19" fmla="*/ 13 h 205"/>
                  <a:gd name="T20" fmla="*/ 518 w 1111"/>
                  <a:gd name="T21" fmla="*/ 14 h 205"/>
                  <a:gd name="T22" fmla="*/ 568 w 1111"/>
                  <a:gd name="T23" fmla="*/ 15 h 205"/>
                  <a:gd name="T24" fmla="*/ 611 w 1111"/>
                  <a:gd name="T25" fmla="*/ 17 h 205"/>
                  <a:gd name="T26" fmla="*/ 659 w 1111"/>
                  <a:gd name="T27" fmla="*/ 17 h 205"/>
                  <a:gd name="T28" fmla="*/ 709 w 1111"/>
                  <a:gd name="T29" fmla="*/ 17 h 205"/>
                  <a:gd name="T30" fmla="*/ 752 w 1111"/>
                  <a:gd name="T31" fmla="*/ 17 h 205"/>
                  <a:gd name="T32" fmla="*/ 801 w 1111"/>
                  <a:gd name="T33" fmla="*/ 18 h 205"/>
                  <a:gd name="T34" fmla="*/ 844 w 1111"/>
                  <a:gd name="T35" fmla="*/ 20 h 205"/>
                  <a:gd name="T36" fmla="*/ 911 w 1111"/>
                  <a:gd name="T37" fmla="*/ 20 h 205"/>
                  <a:gd name="T38" fmla="*/ 955 w 1111"/>
                  <a:gd name="T39" fmla="*/ 20 h 205"/>
                  <a:gd name="T40" fmla="*/ 1015 w 1111"/>
                  <a:gd name="T41" fmla="*/ 22 h 205"/>
                  <a:gd name="T42" fmla="*/ 1066 w 1111"/>
                  <a:gd name="T43" fmla="*/ 22 h 205"/>
                  <a:gd name="T44" fmla="*/ 1128 w 1111"/>
                  <a:gd name="T45" fmla="*/ 22 h 205"/>
                  <a:gd name="T46" fmla="*/ 1209 w 1111"/>
                  <a:gd name="T47" fmla="*/ 23 h 205"/>
                  <a:gd name="T48" fmla="*/ 1289 w 1111"/>
                  <a:gd name="T49" fmla="*/ 24 h 205"/>
                  <a:gd name="T50" fmla="*/ 1350 w 1111"/>
                  <a:gd name="T51" fmla="*/ 24 h 205"/>
                  <a:gd name="T52" fmla="*/ 1405 w 1111"/>
                  <a:gd name="T53" fmla="*/ 24 h 205"/>
                  <a:gd name="T54" fmla="*/ 1448 w 1111"/>
                  <a:gd name="T55" fmla="*/ 24 h 205"/>
                  <a:gd name="T56" fmla="*/ 1486 w 1111"/>
                  <a:gd name="T57" fmla="*/ 24 h 205"/>
                  <a:gd name="T58" fmla="*/ 1473 w 1111"/>
                  <a:gd name="T59" fmla="*/ 72 h 205"/>
                  <a:gd name="T60" fmla="*/ 1443 w 1111"/>
                  <a:gd name="T61" fmla="*/ 72 h 205"/>
                  <a:gd name="T62" fmla="*/ 1399 w 1111"/>
                  <a:gd name="T63" fmla="*/ 72 h 205"/>
                  <a:gd name="T64" fmla="*/ 1338 w 1111"/>
                  <a:gd name="T65" fmla="*/ 72 h 205"/>
                  <a:gd name="T66" fmla="*/ 1263 w 1111"/>
                  <a:gd name="T67" fmla="*/ 70 h 205"/>
                  <a:gd name="T68" fmla="*/ 1195 w 1111"/>
                  <a:gd name="T69" fmla="*/ 70 h 205"/>
                  <a:gd name="T70" fmla="*/ 1153 w 1111"/>
                  <a:gd name="T71" fmla="*/ 70 h 205"/>
                  <a:gd name="T72" fmla="*/ 1109 w 1111"/>
                  <a:gd name="T73" fmla="*/ 69 h 205"/>
                  <a:gd name="T74" fmla="*/ 1066 w 1111"/>
                  <a:gd name="T75" fmla="*/ 69 h 205"/>
                  <a:gd name="T76" fmla="*/ 1024 w 1111"/>
                  <a:gd name="T77" fmla="*/ 69 h 205"/>
                  <a:gd name="T78" fmla="*/ 979 w 1111"/>
                  <a:gd name="T79" fmla="*/ 69 h 205"/>
                  <a:gd name="T80" fmla="*/ 936 w 1111"/>
                  <a:gd name="T81" fmla="*/ 69 h 205"/>
                  <a:gd name="T82" fmla="*/ 893 w 1111"/>
                  <a:gd name="T83" fmla="*/ 69 h 205"/>
                  <a:gd name="T84" fmla="*/ 839 w 1111"/>
                  <a:gd name="T85" fmla="*/ 68 h 205"/>
                  <a:gd name="T86" fmla="*/ 764 w 1111"/>
                  <a:gd name="T87" fmla="*/ 66 h 205"/>
                  <a:gd name="T88" fmla="*/ 696 w 1111"/>
                  <a:gd name="T89" fmla="*/ 66 h 205"/>
                  <a:gd name="T90" fmla="*/ 659 w 1111"/>
                  <a:gd name="T91" fmla="*/ 64 h 205"/>
                  <a:gd name="T92" fmla="*/ 611 w 1111"/>
                  <a:gd name="T93" fmla="*/ 63 h 205"/>
                  <a:gd name="T94" fmla="*/ 568 w 1111"/>
                  <a:gd name="T95" fmla="*/ 62 h 205"/>
                  <a:gd name="T96" fmla="*/ 518 w 1111"/>
                  <a:gd name="T97" fmla="*/ 61 h 205"/>
                  <a:gd name="T98" fmla="*/ 469 w 1111"/>
                  <a:gd name="T99" fmla="*/ 59 h 205"/>
                  <a:gd name="T100" fmla="*/ 419 w 1111"/>
                  <a:gd name="T101" fmla="*/ 58 h 205"/>
                  <a:gd name="T102" fmla="*/ 370 w 1111"/>
                  <a:gd name="T103" fmla="*/ 58 h 205"/>
                  <a:gd name="T104" fmla="*/ 327 w 1111"/>
                  <a:gd name="T105" fmla="*/ 56 h 205"/>
                  <a:gd name="T106" fmla="*/ 284 w 1111"/>
                  <a:gd name="T107" fmla="*/ 56 h 205"/>
                  <a:gd name="T108" fmla="*/ 243 w 1111"/>
                  <a:gd name="T109" fmla="*/ 53 h 205"/>
                  <a:gd name="T110" fmla="*/ 172 w 1111"/>
                  <a:gd name="T111" fmla="*/ 51 h 205"/>
                  <a:gd name="T112" fmla="*/ 97 w 1111"/>
                  <a:gd name="T113" fmla="*/ 50 h 205"/>
                  <a:gd name="T114" fmla="*/ 44 w 1111"/>
                  <a:gd name="T115" fmla="*/ 49 h 205"/>
                  <a:gd name="T116" fmla="*/ 5 w 1111"/>
                  <a:gd name="T117" fmla="*/ 47 h 205"/>
                  <a:gd name="T118" fmla="*/ 10 w 1111"/>
                  <a:gd name="T119" fmla="*/ 0 h 2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11"/>
                  <a:gd name="T181" fmla="*/ 0 h 205"/>
                  <a:gd name="T182" fmla="*/ 1111 w 1111"/>
                  <a:gd name="T183" fmla="*/ 205 h 2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11" h="205">
                    <a:moveTo>
                      <a:pt x="10" y="0"/>
                    </a:moveTo>
                    <a:lnTo>
                      <a:pt x="14" y="0"/>
                    </a:lnTo>
                    <a:lnTo>
                      <a:pt x="23" y="3"/>
                    </a:lnTo>
                    <a:lnTo>
                      <a:pt x="32" y="3"/>
                    </a:lnTo>
                    <a:lnTo>
                      <a:pt x="42" y="3"/>
                    </a:lnTo>
                    <a:lnTo>
                      <a:pt x="55" y="6"/>
                    </a:lnTo>
                    <a:lnTo>
                      <a:pt x="69" y="9"/>
                    </a:lnTo>
                    <a:lnTo>
                      <a:pt x="83" y="11"/>
                    </a:lnTo>
                    <a:lnTo>
                      <a:pt x="101" y="11"/>
                    </a:lnTo>
                    <a:lnTo>
                      <a:pt x="119" y="11"/>
                    </a:lnTo>
                    <a:lnTo>
                      <a:pt x="133" y="14"/>
                    </a:lnTo>
                    <a:lnTo>
                      <a:pt x="142" y="14"/>
                    </a:lnTo>
                    <a:lnTo>
                      <a:pt x="151" y="17"/>
                    </a:lnTo>
                    <a:lnTo>
                      <a:pt x="165" y="17"/>
                    </a:lnTo>
                    <a:lnTo>
                      <a:pt x="179" y="17"/>
                    </a:lnTo>
                    <a:lnTo>
                      <a:pt x="183" y="17"/>
                    </a:lnTo>
                    <a:lnTo>
                      <a:pt x="197" y="20"/>
                    </a:lnTo>
                    <a:lnTo>
                      <a:pt x="211" y="23"/>
                    </a:lnTo>
                    <a:lnTo>
                      <a:pt x="220" y="23"/>
                    </a:lnTo>
                    <a:lnTo>
                      <a:pt x="229" y="23"/>
                    </a:lnTo>
                    <a:lnTo>
                      <a:pt x="243" y="23"/>
                    </a:lnTo>
                    <a:lnTo>
                      <a:pt x="252" y="26"/>
                    </a:lnTo>
                    <a:lnTo>
                      <a:pt x="265" y="29"/>
                    </a:lnTo>
                    <a:lnTo>
                      <a:pt x="275" y="29"/>
                    </a:lnTo>
                    <a:lnTo>
                      <a:pt x="288" y="29"/>
                    </a:lnTo>
                    <a:lnTo>
                      <a:pt x="302" y="31"/>
                    </a:lnTo>
                    <a:lnTo>
                      <a:pt x="311" y="31"/>
                    </a:lnTo>
                    <a:lnTo>
                      <a:pt x="320" y="31"/>
                    </a:lnTo>
                    <a:lnTo>
                      <a:pt x="334" y="34"/>
                    </a:lnTo>
                    <a:lnTo>
                      <a:pt x="348" y="34"/>
                    </a:lnTo>
                    <a:lnTo>
                      <a:pt x="357" y="34"/>
                    </a:lnTo>
                    <a:lnTo>
                      <a:pt x="371" y="34"/>
                    </a:lnTo>
                    <a:lnTo>
                      <a:pt x="384" y="37"/>
                    </a:lnTo>
                    <a:lnTo>
                      <a:pt x="393" y="37"/>
                    </a:lnTo>
                    <a:lnTo>
                      <a:pt x="407" y="37"/>
                    </a:lnTo>
                    <a:lnTo>
                      <a:pt x="421" y="40"/>
                    </a:lnTo>
                    <a:lnTo>
                      <a:pt x="435" y="40"/>
                    </a:lnTo>
                    <a:lnTo>
                      <a:pt x="444" y="43"/>
                    </a:lnTo>
                    <a:lnTo>
                      <a:pt x="453" y="46"/>
                    </a:lnTo>
                    <a:lnTo>
                      <a:pt x="471" y="46"/>
                    </a:lnTo>
                    <a:lnTo>
                      <a:pt x="480" y="46"/>
                    </a:lnTo>
                    <a:lnTo>
                      <a:pt x="489" y="46"/>
                    </a:lnTo>
                    <a:lnTo>
                      <a:pt x="508" y="46"/>
                    </a:lnTo>
                    <a:lnTo>
                      <a:pt x="517" y="46"/>
                    </a:lnTo>
                    <a:lnTo>
                      <a:pt x="526" y="46"/>
                    </a:lnTo>
                    <a:lnTo>
                      <a:pt x="540" y="48"/>
                    </a:lnTo>
                    <a:lnTo>
                      <a:pt x="553" y="48"/>
                    </a:lnTo>
                    <a:lnTo>
                      <a:pt x="558" y="48"/>
                    </a:lnTo>
                    <a:lnTo>
                      <a:pt x="572" y="51"/>
                    </a:lnTo>
                    <a:lnTo>
                      <a:pt x="585" y="51"/>
                    </a:lnTo>
                    <a:lnTo>
                      <a:pt x="594" y="51"/>
                    </a:lnTo>
                    <a:lnTo>
                      <a:pt x="604" y="51"/>
                    </a:lnTo>
                    <a:lnTo>
                      <a:pt x="613" y="51"/>
                    </a:lnTo>
                    <a:lnTo>
                      <a:pt x="626" y="54"/>
                    </a:lnTo>
                    <a:lnTo>
                      <a:pt x="640" y="54"/>
                    </a:lnTo>
                    <a:lnTo>
                      <a:pt x="658" y="54"/>
                    </a:lnTo>
                    <a:lnTo>
                      <a:pt x="677" y="57"/>
                    </a:lnTo>
                    <a:lnTo>
                      <a:pt x="686" y="57"/>
                    </a:lnTo>
                    <a:lnTo>
                      <a:pt x="695" y="57"/>
                    </a:lnTo>
                    <a:lnTo>
                      <a:pt x="709" y="57"/>
                    </a:lnTo>
                    <a:lnTo>
                      <a:pt x="718" y="57"/>
                    </a:lnTo>
                    <a:lnTo>
                      <a:pt x="736" y="57"/>
                    </a:lnTo>
                    <a:lnTo>
                      <a:pt x="754" y="60"/>
                    </a:lnTo>
                    <a:lnTo>
                      <a:pt x="764" y="60"/>
                    </a:lnTo>
                    <a:lnTo>
                      <a:pt x="782" y="60"/>
                    </a:lnTo>
                    <a:lnTo>
                      <a:pt x="791" y="60"/>
                    </a:lnTo>
                    <a:lnTo>
                      <a:pt x="800" y="60"/>
                    </a:lnTo>
                    <a:lnTo>
                      <a:pt x="818" y="60"/>
                    </a:lnTo>
                    <a:lnTo>
                      <a:pt x="837" y="60"/>
                    </a:lnTo>
                    <a:lnTo>
                      <a:pt x="855" y="60"/>
                    </a:lnTo>
                    <a:lnTo>
                      <a:pt x="878" y="63"/>
                    </a:lnTo>
                    <a:lnTo>
                      <a:pt x="896" y="63"/>
                    </a:lnTo>
                    <a:lnTo>
                      <a:pt x="914" y="63"/>
                    </a:lnTo>
                    <a:lnTo>
                      <a:pt x="933" y="63"/>
                    </a:lnTo>
                    <a:lnTo>
                      <a:pt x="956" y="66"/>
                    </a:lnTo>
                    <a:lnTo>
                      <a:pt x="969" y="66"/>
                    </a:lnTo>
                    <a:lnTo>
                      <a:pt x="983" y="66"/>
                    </a:lnTo>
                    <a:lnTo>
                      <a:pt x="1001" y="66"/>
                    </a:lnTo>
                    <a:lnTo>
                      <a:pt x="1020" y="66"/>
                    </a:lnTo>
                    <a:lnTo>
                      <a:pt x="1029" y="66"/>
                    </a:lnTo>
                    <a:lnTo>
                      <a:pt x="1042" y="66"/>
                    </a:lnTo>
                    <a:lnTo>
                      <a:pt x="1056" y="66"/>
                    </a:lnTo>
                    <a:lnTo>
                      <a:pt x="1065" y="66"/>
                    </a:lnTo>
                    <a:lnTo>
                      <a:pt x="1074" y="66"/>
                    </a:lnTo>
                    <a:lnTo>
                      <a:pt x="1088" y="66"/>
                    </a:lnTo>
                    <a:lnTo>
                      <a:pt x="1093" y="66"/>
                    </a:lnTo>
                    <a:lnTo>
                      <a:pt x="1102" y="66"/>
                    </a:lnTo>
                    <a:lnTo>
                      <a:pt x="1111" y="66"/>
                    </a:lnTo>
                    <a:lnTo>
                      <a:pt x="1093" y="205"/>
                    </a:lnTo>
                    <a:lnTo>
                      <a:pt x="1088" y="205"/>
                    </a:lnTo>
                    <a:lnTo>
                      <a:pt x="1074" y="205"/>
                    </a:lnTo>
                    <a:lnTo>
                      <a:pt x="1070" y="205"/>
                    </a:lnTo>
                    <a:lnTo>
                      <a:pt x="1056" y="205"/>
                    </a:lnTo>
                    <a:lnTo>
                      <a:pt x="1047" y="205"/>
                    </a:lnTo>
                    <a:lnTo>
                      <a:pt x="1038" y="205"/>
                    </a:lnTo>
                    <a:lnTo>
                      <a:pt x="1020" y="202"/>
                    </a:lnTo>
                    <a:lnTo>
                      <a:pt x="1010" y="202"/>
                    </a:lnTo>
                    <a:lnTo>
                      <a:pt x="992" y="202"/>
                    </a:lnTo>
                    <a:lnTo>
                      <a:pt x="978" y="202"/>
                    </a:lnTo>
                    <a:lnTo>
                      <a:pt x="956" y="199"/>
                    </a:lnTo>
                    <a:lnTo>
                      <a:pt x="937" y="199"/>
                    </a:lnTo>
                    <a:lnTo>
                      <a:pt x="919" y="199"/>
                    </a:lnTo>
                    <a:lnTo>
                      <a:pt x="901" y="199"/>
                    </a:lnTo>
                    <a:lnTo>
                      <a:pt x="887" y="199"/>
                    </a:lnTo>
                    <a:lnTo>
                      <a:pt x="878" y="199"/>
                    </a:lnTo>
                    <a:lnTo>
                      <a:pt x="869" y="199"/>
                    </a:lnTo>
                    <a:lnTo>
                      <a:pt x="855" y="199"/>
                    </a:lnTo>
                    <a:lnTo>
                      <a:pt x="846" y="197"/>
                    </a:lnTo>
                    <a:lnTo>
                      <a:pt x="837" y="197"/>
                    </a:lnTo>
                    <a:lnTo>
                      <a:pt x="823" y="197"/>
                    </a:lnTo>
                    <a:lnTo>
                      <a:pt x="814" y="197"/>
                    </a:lnTo>
                    <a:lnTo>
                      <a:pt x="800" y="197"/>
                    </a:lnTo>
                    <a:lnTo>
                      <a:pt x="791" y="197"/>
                    </a:lnTo>
                    <a:lnTo>
                      <a:pt x="782" y="197"/>
                    </a:lnTo>
                    <a:lnTo>
                      <a:pt x="768" y="197"/>
                    </a:lnTo>
                    <a:lnTo>
                      <a:pt x="759" y="194"/>
                    </a:lnTo>
                    <a:lnTo>
                      <a:pt x="745" y="194"/>
                    </a:lnTo>
                    <a:lnTo>
                      <a:pt x="736" y="194"/>
                    </a:lnTo>
                    <a:lnTo>
                      <a:pt x="727" y="194"/>
                    </a:lnTo>
                    <a:lnTo>
                      <a:pt x="713" y="194"/>
                    </a:lnTo>
                    <a:lnTo>
                      <a:pt x="704" y="194"/>
                    </a:lnTo>
                    <a:lnTo>
                      <a:pt x="695" y="194"/>
                    </a:lnTo>
                    <a:lnTo>
                      <a:pt x="681" y="194"/>
                    </a:lnTo>
                    <a:lnTo>
                      <a:pt x="672" y="194"/>
                    </a:lnTo>
                    <a:lnTo>
                      <a:pt x="663" y="194"/>
                    </a:lnTo>
                    <a:lnTo>
                      <a:pt x="649" y="194"/>
                    </a:lnTo>
                    <a:lnTo>
                      <a:pt x="640" y="194"/>
                    </a:lnTo>
                    <a:lnTo>
                      <a:pt x="622" y="191"/>
                    </a:lnTo>
                    <a:lnTo>
                      <a:pt x="604" y="188"/>
                    </a:lnTo>
                    <a:lnTo>
                      <a:pt x="585" y="188"/>
                    </a:lnTo>
                    <a:lnTo>
                      <a:pt x="567" y="188"/>
                    </a:lnTo>
                    <a:lnTo>
                      <a:pt x="544" y="185"/>
                    </a:lnTo>
                    <a:lnTo>
                      <a:pt x="526" y="185"/>
                    </a:lnTo>
                    <a:lnTo>
                      <a:pt x="517" y="185"/>
                    </a:lnTo>
                    <a:lnTo>
                      <a:pt x="508" y="182"/>
                    </a:lnTo>
                    <a:lnTo>
                      <a:pt x="494" y="182"/>
                    </a:lnTo>
                    <a:lnTo>
                      <a:pt x="489" y="182"/>
                    </a:lnTo>
                    <a:lnTo>
                      <a:pt x="471" y="177"/>
                    </a:lnTo>
                    <a:lnTo>
                      <a:pt x="462" y="177"/>
                    </a:lnTo>
                    <a:lnTo>
                      <a:pt x="453" y="177"/>
                    </a:lnTo>
                    <a:lnTo>
                      <a:pt x="439" y="177"/>
                    </a:lnTo>
                    <a:lnTo>
                      <a:pt x="430" y="174"/>
                    </a:lnTo>
                    <a:lnTo>
                      <a:pt x="421" y="174"/>
                    </a:lnTo>
                    <a:lnTo>
                      <a:pt x="407" y="174"/>
                    </a:lnTo>
                    <a:lnTo>
                      <a:pt x="398" y="174"/>
                    </a:lnTo>
                    <a:lnTo>
                      <a:pt x="384" y="171"/>
                    </a:lnTo>
                    <a:lnTo>
                      <a:pt x="371" y="171"/>
                    </a:lnTo>
                    <a:lnTo>
                      <a:pt x="357" y="168"/>
                    </a:lnTo>
                    <a:lnTo>
                      <a:pt x="348" y="168"/>
                    </a:lnTo>
                    <a:lnTo>
                      <a:pt x="334" y="165"/>
                    </a:lnTo>
                    <a:lnTo>
                      <a:pt x="320" y="162"/>
                    </a:lnTo>
                    <a:lnTo>
                      <a:pt x="311" y="162"/>
                    </a:lnTo>
                    <a:lnTo>
                      <a:pt x="302" y="162"/>
                    </a:lnTo>
                    <a:lnTo>
                      <a:pt x="288" y="162"/>
                    </a:lnTo>
                    <a:lnTo>
                      <a:pt x="275" y="162"/>
                    </a:lnTo>
                    <a:lnTo>
                      <a:pt x="265" y="160"/>
                    </a:lnTo>
                    <a:lnTo>
                      <a:pt x="256" y="160"/>
                    </a:lnTo>
                    <a:lnTo>
                      <a:pt x="243" y="157"/>
                    </a:lnTo>
                    <a:lnTo>
                      <a:pt x="233" y="157"/>
                    </a:lnTo>
                    <a:lnTo>
                      <a:pt x="220" y="157"/>
                    </a:lnTo>
                    <a:lnTo>
                      <a:pt x="211" y="157"/>
                    </a:lnTo>
                    <a:lnTo>
                      <a:pt x="197" y="151"/>
                    </a:lnTo>
                    <a:lnTo>
                      <a:pt x="188" y="151"/>
                    </a:lnTo>
                    <a:lnTo>
                      <a:pt x="179" y="151"/>
                    </a:lnTo>
                    <a:lnTo>
                      <a:pt x="165" y="151"/>
                    </a:lnTo>
                    <a:lnTo>
                      <a:pt x="147" y="148"/>
                    </a:lnTo>
                    <a:lnTo>
                      <a:pt x="128" y="145"/>
                    </a:lnTo>
                    <a:lnTo>
                      <a:pt x="110" y="142"/>
                    </a:lnTo>
                    <a:lnTo>
                      <a:pt x="92" y="142"/>
                    </a:lnTo>
                    <a:lnTo>
                      <a:pt x="73" y="140"/>
                    </a:lnTo>
                    <a:lnTo>
                      <a:pt x="60" y="140"/>
                    </a:lnTo>
                    <a:lnTo>
                      <a:pt x="42" y="137"/>
                    </a:lnTo>
                    <a:lnTo>
                      <a:pt x="32" y="137"/>
                    </a:lnTo>
                    <a:lnTo>
                      <a:pt x="23" y="134"/>
                    </a:lnTo>
                    <a:lnTo>
                      <a:pt x="14" y="134"/>
                    </a:lnTo>
                    <a:lnTo>
                      <a:pt x="5" y="134"/>
                    </a:lnTo>
                    <a:lnTo>
                      <a:pt x="0" y="134"/>
                    </a:lnTo>
                    <a:lnTo>
                      <a:pt x="10"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0" name="Freeform 204"/>
              <p:cNvSpPr>
                <a:spLocks/>
              </p:cNvSpPr>
              <p:nvPr>
                <p:custDataLst>
                  <p:tags r:id="rId35"/>
                </p:custDataLst>
              </p:nvPr>
            </p:nvSpPr>
            <p:spPr bwMode="gray">
              <a:xfrm>
                <a:off x="3658" y="2183"/>
                <a:ext cx="760" cy="161"/>
              </a:xfrm>
              <a:custGeom>
                <a:avLst/>
                <a:gdLst>
                  <a:gd name="T0" fmla="*/ 14 w 741"/>
                  <a:gd name="T1" fmla="*/ 14 h 176"/>
                  <a:gd name="T2" fmla="*/ 53 w 741"/>
                  <a:gd name="T3" fmla="*/ 14 h 176"/>
                  <a:gd name="T4" fmla="*/ 97 w 741"/>
                  <a:gd name="T5" fmla="*/ 14 h 176"/>
                  <a:gd name="T6" fmla="*/ 137 w 741"/>
                  <a:gd name="T7" fmla="*/ 14 h 176"/>
                  <a:gd name="T8" fmla="*/ 179 w 741"/>
                  <a:gd name="T9" fmla="*/ 13 h 176"/>
                  <a:gd name="T10" fmla="*/ 216 w 741"/>
                  <a:gd name="T11" fmla="*/ 13 h 176"/>
                  <a:gd name="T12" fmla="*/ 266 w 741"/>
                  <a:gd name="T13" fmla="*/ 12 h 176"/>
                  <a:gd name="T14" fmla="*/ 304 w 741"/>
                  <a:gd name="T15" fmla="*/ 12 h 176"/>
                  <a:gd name="T16" fmla="*/ 347 w 741"/>
                  <a:gd name="T17" fmla="*/ 11 h 176"/>
                  <a:gd name="T18" fmla="*/ 384 w 741"/>
                  <a:gd name="T19" fmla="*/ 10 h 176"/>
                  <a:gd name="T20" fmla="*/ 434 w 741"/>
                  <a:gd name="T21" fmla="*/ 10 h 176"/>
                  <a:gd name="T22" fmla="*/ 464 w 741"/>
                  <a:gd name="T23" fmla="*/ 9 h 176"/>
                  <a:gd name="T24" fmla="*/ 508 w 741"/>
                  <a:gd name="T25" fmla="*/ 7 h 176"/>
                  <a:gd name="T26" fmla="*/ 551 w 741"/>
                  <a:gd name="T27" fmla="*/ 6 h 176"/>
                  <a:gd name="T28" fmla="*/ 588 w 741"/>
                  <a:gd name="T29" fmla="*/ 6 h 176"/>
                  <a:gd name="T30" fmla="*/ 625 w 741"/>
                  <a:gd name="T31" fmla="*/ 5 h 176"/>
                  <a:gd name="T32" fmla="*/ 664 w 741"/>
                  <a:gd name="T33" fmla="*/ 5 h 176"/>
                  <a:gd name="T34" fmla="*/ 701 w 741"/>
                  <a:gd name="T35" fmla="*/ 5 h 176"/>
                  <a:gd name="T36" fmla="*/ 732 w 741"/>
                  <a:gd name="T37" fmla="*/ 5 h 176"/>
                  <a:gd name="T38" fmla="*/ 762 w 741"/>
                  <a:gd name="T39" fmla="*/ 5 h 176"/>
                  <a:gd name="T40" fmla="*/ 792 w 741"/>
                  <a:gd name="T41" fmla="*/ 5 h 176"/>
                  <a:gd name="T42" fmla="*/ 825 w 741"/>
                  <a:gd name="T43" fmla="*/ 2 h 176"/>
                  <a:gd name="T44" fmla="*/ 868 w 741"/>
                  <a:gd name="T45" fmla="*/ 0 h 176"/>
                  <a:gd name="T46" fmla="*/ 912 w 741"/>
                  <a:gd name="T47" fmla="*/ 0 h 176"/>
                  <a:gd name="T48" fmla="*/ 946 w 741"/>
                  <a:gd name="T49" fmla="*/ 0 h 176"/>
                  <a:gd name="T50" fmla="*/ 986 w 741"/>
                  <a:gd name="T51" fmla="*/ 0 h 176"/>
                  <a:gd name="T52" fmla="*/ 991 w 741"/>
                  <a:gd name="T53" fmla="*/ 2 h 176"/>
                  <a:gd name="T54" fmla="*/ 991 w 741"/>
                  <a:gd name="T55" fmla="*/ 5 h 176"/>
                  <a:gd name="T56" fmla="*/ 991 w 741"/>
                  <a:gd name="T57" fmla="*/ 11 h 176"/>
                  <a:gd name="T58" fmla="*/ 997 w 741"/>
                  <a:gd name="T59" fmla="*/ 17 h 176"/>
                  <a:gd name="T60" fmla="*/ 997 w 741"/>
                  <a:gd name="T61" fmla="*/ 24 h 176"/>
                  <a:gd name="T62" fmla="*/ 997 w 741"/>
                  <a:gd name="T63" fmla="*/ 31 h 176"/>
                  <a:gd name="T64" fmla="*/ 1003 w 741"/>
                  <a:gd name="T65" fmla="*/ 35 h 176"/>
                  <a:gd name="T66" fmla="*/ 1003 w 741"/>
                  <a:gd name="T67" fmla="*/ 38 h 176"/>
                  <a:gd name="T68" fmla="*/ 1003 w 741"/>
                  <a:gd name="T69" fmla="*/ 38 h 176"/>
                  <a:gd name="T70" fmla="*/ 972 w 741"/>
                  <a:gd name="T71" fmla="*/ 39 h 176"/>
                  <a:gd name="T72" fmla="*/ 936 w 741"/>
                  <a:gd name="T73" fmla="*/ 40 h 176"/>
                  <a:gd name="T74" fmla="*/ 904 w 741"/>
                  <a:gd name="T75" fmla="*/ 41 h 176"/>
                  <a:gd name="T76" fmla="*/ 868 w 741"/>
                  <a:gd name="T77" fmla="*/ 43 h 176"/>
                  <a:gd name="T78" fmla="*/ 831 w 741"/>
                  <a:gd name="T79" fmla="*/ 44 h 176"/>
                  <a:gd name="T80" fmla="*/ 792 w 741"/>
                  <a:gd name="T81" fmla="*/ 45 h 176"/>
                  <a:gd name="T82" fmla="*/ 744 w 741"/>
                  <a:gd name="T83" fmla="*/ 45 h 176"/>
                  <a:gd name="T84" fmla="*/ 706 w 741"/>
                  <a:gd name="T85" fmla="*/ 48 h 176"/>
                  <a:gd name="T86" fmla="*/ 656 w 741"/>
                  <a:gd name="T87" fmla="*/ 49 h 176"/>
                  <a:gd name="T88" fmla="*/ 606 w 741"/>
                  <a:gd name="T89" fmla="*/ 50 h 176"/>
                  <a:gd name="T90" fmla="*/ 564 w 741"/>
                  <a:gd name="T91" fmla="*/ 50 h 176"/>
                  <a:gd name="T92" fmla="*/ 520 w 741"/>
                  <a:gd name="T93" fmla="*/ 53 h 176"/>
                  <a:gd name="T94" fmla="*/ 476 w 741"/>
                  <a:gd name="T95" fmla="*/ 54 h 176"/>
                  <a:gd name="T96" fmla="*/ 0 w 741"/>
                  <a:gd name="T97" fmla="*/ 60 h 176"/>
                  <a:gd name="T98" fmla="*/ 0 w 741"/>
                  <a:gd name="T99" fmla="*/ 14 h 1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1"/>
                  <a:gd name="T151" fmla="*/ 0 h 176"/>
                  <a:gd name="T152" fmla="*/ 741 w 741"/>
                  <a:gd name="T153" fmla="*/ 176 h 1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1" h="176">
                    <a:moveTo>
                      <a:pt x="0" y="40"/>
                    </a:moveTo>
                    <a:lnTo>
                      <a:pt x="14" y="40"/>
                    </a:lnTo>
                    <a:lnTo>
                      <a:pt x="28" y="40"/>
                    </a:lnTo>
                    <a:lnTo>
                      <a:pt x="41" y="40"/>
                    </a:lnTo>
                    <a:lnTo>
                      <a:pt x="60" y="40"/>
                    </a:lnTo>
                    <a:lnTo>
                      <a:pt x="73" y="40"/>
                    </a:lnTo>
                    <a:lnTo>
                      <a:pt x="87" y="40"/>
                    </a:lnTo>
                    <a:lnTo>
                      <a:pt x="101" y="40"/>
                    </a:lnTo>
                    <a:lnTo>
                      <a:pt x="119" y="40"/>
                    </a:lnTo>
                    <a:lnTo>
                      <a:pt x="133" y="37"/>
                    </a:lnTo>
                    <a:lnTo>
                      <a:pt x="147" y="37"/>
                    </a:lnTo>
                    <a:lnTo>
                      <a:pt x="160" y="37"/>
                    </a:lnTo>
                    <a:lnTo>
                      <a:pt x="179" y="37"/>
                    </a:lnTo>
                    <a:lnTo>
                      <a:pt x="197" y="34"/>
                    </a:lnTo>
                    <a:lnTo>
                      <a:pt x="210" y="34"/>
                    </a:lnTo>
                    <a:lnTo>
                      <a:pt x="224" y="34"/>
                    </a:lnTo>
                    <a:lnTo>
                      <a:pt x="238" y="34"/>
                    </a:lnTo>
                    <a:lnTo>
                      <a:pt x="256" y="31"/>
                    </a:lnTo>
                    <a:lnTo>
                      <a:pt x="270" y="31"/>
                    </a:lnTo>
                    <a:lnTo>
                      <a:pt x="284" y="28"/>
                    </a:lnTo>
                    <a:lnTo>
                      <a:pt x="302" y="28"/>
                    </a:lnTo>
                    <a:lnTo>
                      <a:pt x="320" y="28"/>
                    </a:lnTo>
                    <a:lnTo>
                      <a:pt x="329" y="28"/>
                    </a:lnTo>
                    <a:lnTo>
                      <a:pt x="343" y="25"/>
                    </a:lnTo>
                    <a:lnTo>
                      <a:pt x="361" y="25"/>
                    </a:lnTo>
                    <a:lnTo>
                      <a:pt x="375" y="22"/>
                    </a:lnTo>
                    <a:lnTo>
                      <a:pt x="389" y="22"/>
                    </a:lnTo>
                    <a:lnTo>
                      <a:pt x="407" y="20"/>
                    </a:lnTo>
                    <a:lnTo>
                      <a:pt x="421" y="20"/>
                    </a:lnTo>
                    <a:lnTo>
                      <a:pt x="434" y="20"/>
                    </a:lnTo>
                    <a:lnTo>
                      <a:pt x="448" y="20"/>
                    </a:lnTo>
                    <a:lnTo>
                      <a:pt x="462" y="17"/>
                    </a:lnTo>
                    <a:lnTo>
                      <a:pt x="480" y="17"/>
                    </a:lnTo>
                    <a:lnTo>
                      <a:pt x="489" y="14"/>
                    </a:lnTo>
                    <a:lnTo>
                      <a:pt x="503" y="14"/>
                    </a:lnTo>
                    <a:lnTo>
                      <a:pt x="517" y="14"/>
                    </a:lnTo>
                    <a:lnTo>
                      <a:pt x="526" y="11"/>
                    </a:lnTo>
                    <a:lnTo>
                      <a:pt x="540" y="8"/>
                    </a:lnTo>
                    <a:lnTo>
                      <a:pt x="553" y="8"/>
                    </a:lnTo>
                    <a:lnTo>
                      <a:pt x="562" y="5"/>
                    </a:lnTo>
                    <a:lnTo>
                      <a:pt x="576" y="5"/>
                    </a:lnTo>
                    <a:lnTo>
                      <a:pt x="585" y="5"/>
                    </a:lnTo>
                    <a:lnTo>
                      <a:pt x="599" y="5"/>
                    </a:lnTo>
                    <a:lnTo>
                      <a:pt x="608" y="2"/>
                    </a:lnTo>
                    <a:lnTo>
                      <a:pt x="622" y="2"/>
                    </a:lnTo>
                    <a:lnTo>
                      <a:pt x="640" y="0"/>
                    </a:lnTo>
                    <a:lnTo>
                      <a:pt x="658" y="0"/>
                    </a:lnTo>
                    <a:lnTo>
                      <a:pt x="672" y="0"/>
                    </a:lnTo>
                    <a:lnTo>
                      <a:pt x="686" y="0"/>
                    </a:lnTo>
                    <a:lnTo>
                      <a:pt x="699" y="0"/>
                    </a:lnTo>
                    <a:lnTo>
                      <a:pt x="709" y="0"/>
                    </a:lnTo>
                    <a:lnTo>
                      <a:pt x="727" y="0"/>
                    </a:lnTo>
                    <a:lnTo>
                      <a:pt x="731" y="0"/>
                    </a:lnTo>
                    <a:lnTo>
                      <a:pt x="731" y="2"/>
                    </a:lnTo>
                    <a:lnTo>
                      <a:pt x="731" y="8"/>
                    </a:lnTo>
                    <a:lnTo>
                      <a:pt x="731" y="14"/>
                    </a:lnTo>
                    <a:lnTo>
                      <a:pt x="731" y="22"/>
                    </a:lnTo>
                    <a:lnTo>
                      <a:pt x="731" y="31"/>
                    </a:lnTo>
                    <a:lnTo>
                      <a:pt x="731" y="42"/>
                    </a:lnTo>
                    <a:lnTo>
                      <a:pt x="736" y="51"/>
                    </a:lnTo>
                    <a:lnTo>
                      <a:pt x="736" y="59"/>
                    </a:lnTo>
                    <a:lnTo>
                      <a:pt x="736" y="68"/>
                    </a:lnTo>
                    <a:lnTo>
                      <a:pt x="736" y="79"/>
                    </a:lnTo>
                    <a:lnTo>
                      <a:pt x="736" y="88"/>
                    </a:lnTo>
                    <a:lnTo>
                      <a:pt x="741" y="96"/>
                    </a:lnTo>
                    <a:lnTo>
                      <a:pt x="741" y="102"/>
                    </a:lnTo>
                    <a:lnTo>
                      <a:pt x="741" y="105"/>
                    </a:lnTo>
                    <a:lnTo>
                      <a:pt x="741" y="111"/>
                    </a:lnTo>
                    <a:lnTo>
                      <a:pt x="731" y="111"/>
                    </a:lnTo>
                    <a:lnTo>
                      <a:pt x="718" y="114"/>
                    </a:lnTo>
                    <a:lnTo>
                      <a:pt x="699" y="116"/>
                    </a:lnTo>
                    <a:lnTo>
                      <a:pt x="690" y="116"/>
                    </a:lnTo>
                    <a:lnTo>
                      <a:pt x="681" y="116"/>
                    </a:lnTo>
                    <a:lnTo>
                      <a:pt x="668" y="119"/>
                    </a:lnTo>
                    <a:lnTo>
                      <a:pt x="658" y="122"/>
                    </a:lnTo>
                    <a:lnTo>
                      <a:pt x="640" y="125"/>
                    </a:lnTo>
                    <a:lnTo>
                      <a:pt x="631" y="125"/>
                    </a:lnTo>
                    <a:lnTo>
                      <a:pt x="613" y="128"/>
                    </a:lnTo>
                    <a:lnTo>
                      <a:pt x="604" y="128"/>
                    </a:lnTo>
                    <a:lnTo>
                      <a:pt x="585" y="131"/>
                    </a:lnTo>
                    <a:lnTo>
                      <a:pt x="567" y="131"/>
                    </a:lnTo>
                    <a:lnTo>
                      <a:pt x="549" y="133"/>
                    </a:lnTo>
                    <a:lnTo>
                      <a:pt x="540" y="136"/>
                    </a:lnTo>
                    <a:lnTo>
                      <a:pt x="521" y="139"/>
                    </a:lnTo>
                    <a:lnTo>
                      <a:pt x="503" y="139"/>
                    </a:lnTo>
                    <a:lnTo>
                      <a:pt x="485" y="142"/>
                    </a:lnTo>
                    <a:lnTo>
                      <a:pt x="471" y="145"/>
                    </a:lnTo>
                    <a:lnTo>
                      <a:pt x="448" y="148"/>
                    </a:lnTo>
                    <a:lnTo>
                      <a:pt x="434" y="148"/>
                    </a:lnTo>
                    <a:lnTo>
                      <a:pt x="416" y="148"/>
                    </a:lnTo>
                    <a:lnTo>
                      <a:pt x="398" y="151"/>
                    </a:lnTo>
                    <a:lnTo>
                      <a:pt x="384" y="153"/>
                    </a:lnTo>
                    <a:lnTo>
                      <a:pt x="366" y="153"/>
                    </a:lnTo>
                    <a:lnTo>
                      <a:pt x="352" y="156"/>
                    </a:lnTo>
                    <a:lnTo>
                      <a:pt x="338" y="159"/>
                    </a:lnTo>
                    <a:lnTo>
                      <a:pt x="0" y="176"/>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1" name="Freeform 205"/>
              <p:cNvSpPr>
                <a:spLocks/>
              </p:cNvSpPr>
              <p:nvPr>
                <p:custDataLst>
                  <p:tags r:id="rId36"/>
                </p:custDataLst>
              </p:nvPr>
            </p:nvSpPr>
            <p:spPr bwMode="gray">
              <a:xfrm>
                <a:off x="1293" y="2430"/>
                <a:ext cx="164" cy="94"/>
              </a:xfrm>
              <a:custGeom>
                <a:avLst/>
                <a:gdLst>
                  <a:gd name="T0" fmla="*/ 40 w 160"/>
                  <a:gd name="T1" fmla="*/ 3 h 103"/>
                  <a:gd name="T2" fmla="*/ 19 w 160"/>
                  <a:gd name="T3" fmla="*/ 5 h 103"/>
                  <a:gd name="T4" fmla="*/ 14 w 160"/>
                  <a:gd name="T5" fmla="*/ 6 h 103"/>
                  <a:gd name="T6" fmla="*/ 9 w 160"/>
                  <a:gd name="T7" fmla="*/ 10 h 103"/>
                  <a:gd name="T8" fmla="*/ 5 w 160"/>
                  <a:gd name="T9" fmla="*/ 14 h 103"/>
                  <a:gd name="T10" fmla="*/ 0 w 160"/>
                  <a:gd name="T11" fmla="*/ 15 h 103"/>
                  <a:gd name="T12" fmla="*/ 0 w 160"/>
                  <a:gd name="T13" fmla="*/ 18 h 103"/>
                  <a:gd name="T14" fmla="*/ 0 w 160"/>
                  <a:gd name="T15" fmla="*/ 20 h 103"/>
                  <a:gd name="T16" fmla="*/ 5 w 160"/>
                  <a:gd name="T17" fmla="*/ 22 h 103"/>
                  <a:gd name="T18" fmla="*/ 5 w 160"/>
                  <a:gd name="T19" fmla="*/ 25 h 103"/>
                  <a:gd name="T20" fmla="*/ 9 w 160"/>
                  <a:gd name="T21" fmla="*/ 27 h 103"/>
                  <a:gd name="T22" fmla="*/ 19 w 160"/>
                  <a:gd name="T23" fmla="*/ 30 h 103"/>
                  <a:gd name="T24" fmla="*/ 44 w 160"/>
                  <a:gd name="T25" fmla="*/ 33 h 103"/>
                  <a:gd name="T26" fmla="*/ 58 w 160"/>
                  <a:gd name="T27" fmla="*/ 33 h 103"/>
                  <a:gd name="T28" fmla="*/ 83 w 160"/>
                  <a:gd name="T29" fmla="*/ 33 h 103"/>
                  <a:gd name="T30" fmla="*/ 97 w 160"/>
                  <a:gd name="T31" fmla="*/ 33 h 103"/>
                  <a:gd name="T32" fmla="*/ 116 w 160"/>
                  <a:gd name="T33" fmla="*/ 34 h 103"/>
                  <a:gd name="T34" fmla="*/ 137 w 160"/>
                  <a:gd name="T35" fmla="*/ 33 h 103"/>
                  <a:gd name="T36" fmla="*/ 154 w 160"/>
                  <a:gd name="T37" fmla="*/ 33 h 103"/>
                  <a:gd name="T38" fmla="*/ 166 w 160"/>
                  <a:gd name="T39" fmla="*/ 33 h 103"/>
                  <a:gd name="T40" fmla="*/ 178 w 160"/>
                  <a:gd name="T41" fmla="*/ 31 h 103"/>
                  <a:gd name="T42" fmla="*/ 198 w 160"/>
                  <a:gd name="T43" fmla="*/ 28 h 103"/>
                  <a:gd name="T44" fmla="*/ 203 w 160"/>
                  <a:gd name="T45" fmla="*/ 25 h 103"/>
                  <a:gd name="T46" fmla="*/ 209 w 160"/>
                  <a:gd name="T47" fmla="*/ 21 h 103"/>
                  <a:gd name="T48" fmla="*/ 214 w 160"/>
                  <a:gd name="T49" fmla="*/ 18 h 103"/>
                  <a:gd name="T50" fmla="*/ 209 w 160"/>
                  <a:gd name="T51" fmla="*/ 15 h 103"/>
                  <a:gd name="T52" fmla="*/ 209 w 160"/>
                  <a:gd name="T53" fmla="*/ 11 h 103"/>
                  <a:gd name="T54" fmla="*/ 203 w 160"/>
                  <a:gd name="T55" fmla="*/ 8 h 103"/>
                  <a:gd name="T56" fmla="*/ 198 w 160"/>
                  <a:gd name="T57" fmla="*/ 5 h 103"/>
                  <a:gd name="T58" fmla="*/ 178 w 160"/>
                  <a:gd name="T59" fmla="*/ 5 h 103"/>
                  <a:gd name="T60" fmla="*/ 154 w 160"/>
                  <a:gd name="T61" fmla="*/ 5 h 103"/>
                  <a:gd name="T62" fmla="*/ 137 w 160"/>
                  <a:gd name="T63" fmla="*/ 3 h 103"/>
                  <a:gd name="T64" fmla="*/ 102 w 160"/>
                  <a:gd name="T65" fmla="*/ 3 h 103"/>
                  <a:gd name="T66" fmla="*/ 83 w 160"/>
                  <a:gd name="T67" fmla="*/ 0 h 103"/>
                  <a:gd name="T68" fmla="*/ 58 w 160"/>
                  <a:gd name="T69" fmla="*/ 3 h 103"/>
                  <a:gd name="T70" fmla="*/ 49 w 160"/>
                  <a:gd name="T71" fmla="*/ 3 h 103"/>
                  <a:gd name="T72" fmla="*/ 40 w 160"/>
                  <a:gd name="T73" fmla="*/ 3 h 103"/>
                  <a:gd name="T74" fmla="*/ 40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28" y="3"/>
                    </a:moveTo>
                    <a:lnTo>
                      <a:pt x="19" y="12"/>
                    </a:lnTo>
                    <a:lnTo>
                      <a:pt x="14" y="20"/>
                    </a:lnTo>
                    <a:lnTo>
                      <a:pt x="9" y="29"/>
                    </a:lnTo>
                    <a:lnTo>
                      <a:pt x="5" y="40"/>
                    </a:lnTo>
                    <a:lnTo>
                      <a:pt x="0" y="46"/>
                    </a:lnTo>
                    <a:lnTo>
                      <a:pt x="0" y="54"/>
                    </a:lnTo>
                    <a:lnTo>
                      <a:pt x="0" y="60"/>
                    </a:lnTo>
                    <a:lnTo>
                      <a:pt x="5" y="66"/>
                    </a:lnTo>
                    <a:lnTo>
                      <a:pt x="5" y="74"/>
                    </a:lnTo>
                    <a:lnTo>
                      <a:pt x="9" y="83"/>
                    </a:lnTo>
                    <a:lnTo>
                      <a:pt x="19" y="91"/>
                    </a:lnTo>
                    <a:lnTo>
                      <a:pt x="32" y="97"/>
                    </a:lnTo>
                    <a:lnTo>
                      <a:pt x="46" y="100"/>
                    </a:lnTo>
                    <a:lnTo>
                      <a:pt x="60" y="100"/>
                    </a:lnTo>
                    <a:lnTo>
                      <a:pt x="73" y="100"/>
                    </a:lnTo>
                    <a:lnTo>
                      <a:pt x="87" y="103"/>
                    </a:lnTo>
                    <a:lnTo>
                      <a:pt x="101" y="100"/>
                    </a:lnTo>
                    <a:lnTo>
                      <a:pt x="115" y="100"/>
                    </a:lnTo>
                    <a:lnTo>
                      <a:pt x="124" y="97"/>
                    </a:lnTo>
                    <a:lnTo>
                      <a:pt x="133" y="94"/>
                    </a:lnTo>
                    <a:lnTo>
                      <a:pt x="147" y="86"/>
                    </a:lnTo>
                    <a:lnTo>
                      <a:pt x="151" y="74"/>
                    </a:lnTo>
                    <a:lnTo>
                      <a:pt x="156" y="63"/>
                    </a:lnTo>
                    <a:lnTo>
                      <a:pt x="160" y="54"/>
                    </a:lnTo>
                    <a:lnTo>
                      <a:pt x="156" y="43"/>
                    </a:lnTo>
                    <a:lnTo>
                      <a:pt x="156" y="31"/>
                    </a:lnTo>
                    <a:lnTo>
                      <a:pt x="151" y="23"/>
                    </a:lnTo>
                    <a:lnTo>
                      <a:pt x="147" y="17"/>
                    </a:lnTo>
                    <a:lnTo>
                      <a:pt x="133" y="9"/>
                    </a:lnTo>
                    <a:lnTo>
                      <a:pt x="115" y="6"/>
                    </a:lnTo>
                    <a:lnTo>
                      <a:pt x="101" y="3"/>
                    </a:lnTo>
                    <a:lnTo>
                      <a:pt x="78" y="3"/>
                    </a:lnTo>
                    <a:lnTo>
                      <a:pt x="60" y="0"/>
                    </a:lnTo>
                    <a:lnTo>
                      <a:pt x="46" y="3"/>
                    </a:lnTo>
                    <a:lnTo>
                      <a:pt x="37" y="3"/>
                    </a:lnTo>
                    <a:lnTo>
                      <a:pt x="28"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2" name="Freeform 206"/>
              <p:cNvSpPr>
                <a:spLocks/>
              </p:cNvSpPr>
              <p:nvPr>
                <p:custDataLst>
                  <p:tags r:id="rId37"/>
                </p:custDataLst>
              </p:nvPr>
            </p:nvSpPr>
            <p:spPr bwMode="gray">
              <a:xfrm>
                <a:off x="1785" y="2469"/>
                <a:ext cx="178" cy="93"/>
              </a:xfrm>
              <a:custGeom>
                <a:avLst/>
                <a:gdLst>
                  <a:gd name="T0" fmla="*/ 44 w 174"/>
                  <a:gd name="T1" fmla="*/ 5 h 102"/>
                  <a:gd name="T2" fmla="*/ 35 w 174"/>
                  <a:gd name="T3" fmla="*/ 5 h 102"/>
                  <a:gd name="T4" fmla="*/ 14 w 174"/>
                  <a:gd name="T5" fmla="*/ 8 h 102"/>
                  <a:gd name="T6" fmla="*/ 14 w 174"/>
                  <a:gd name="T7" fmla="*/ 11 h 102"/>
                  <a:gd name="T8" fmla="*/ 9 w 174"/>
                  <a:gd name="T9" fmla="*/ 14 h 102"/>
                  <a:gd name="T10" fmla="*/ 5 w 174"/>
                  <a:gd name="T11" fmla="*/ 15 h 102"/>
                  <a:gd name="T12" fmla="*/ 0 w 174"/>
                  <a:gd name="T13" fmla="*/ 18 h 102"/>
                  <a:gd name="T14" fmla="*/ 0 w 174"/>
                  <a:gd name="T15" fmla="*/ 20 h 102"/>
                  <a:gd name="T16" fmla="*/ 5 w 174"/>
                  <a:gd name="T17" fmla="*/ 22 h 102"/>
                  <a:gd name="T18" fmla="*/ 9 w 174"/>
                  <a:gd name="T19" fmla="*/ 25 h 102"/>
                  <a:gd name="T20" fmla="*/ 14 w 174"/>
                  <a:gd name="T21" fmla="*/ 27 h 102"/>
                  <a:gd name="T22" fmla="*/ 35 w 174"/>
                  <a:gd name="T23" fmla="*/ 30 h 102"/>
                  <a:gd name="T24" fmla="*/ 49 w 174"/>
                  <a:gd name="T25" fmla="*/ 33 h 102"/>
                  <a:gd name="T26" fmla="*/ 62 w 174"/>
                  <a:gd name="T27" fmla="*/ 33 h 102"/>
                  <a:gd name="T28" fmla="*/ 86 w 174"/>
                  <a:gd name="T29" fmla="*/ 33 h 102"/>
                  <a:gd name="T30" fmla="*/ 102 w 174"/>
                  <a:gd name="T31" fmla="*/ 33 h 102"/>
                  <a:gd name="T32" fmla="*/ 125 w 174"/>
                  <a:gd name="T33" fmla="*/ 34 h 102"/>
                  <a:gd name="T34" fmla="*/ 139 w 174"/>
                  <a:gd name="T35" fmla="*/ 33 h 102"/>
                  <a:gd name="T36" fmla="*/ 155 w 174"/>
                  <a:gd name="T37" fmla="*/ 33 h 102"/>
                  <a:gd name="T38" fmla="*/ 174 w 174"/>
                  <a:gd name="T39" fmla="*/ 31 h 102"/>
                  <a:gd name="T40" fmla="*/ 186 w 174"/>
                  <a:gd name="T41" fmla="*/ 31 h 102"/>
                  <a:gd name="T42" fmla="*/ 198 w 174"/>
                  <a:gd name="T43" fmla="*/ 27 h 102"/>
                  <a:gd name="T44" fmla="*/ 211 w 174"/>
                  <a:gd name="T45" fmla="*/ 25 h 102"/>
                  <a:gd name="T46" fmla="*/ 222 w 174"/>
                  <a:gd name="T47" fmla="*/ 24 h 102"/>
                  <a:gd name="T48" fmla="*/ 228 w 174"/>
                  <a:gd name="T49" fmla="*/ 21 h 102"/>
                  <a:gd name="T50" fmla="*/ 228 w 174"/>
                  <a:gd name="T51" fmla="*/ 17 h 102"/>
                  <a:gd name="T52" fmla="*/ 228 w 174"/>
                  <a:gd name="T53" fmla="*/ 15 h 102"/>
                  <a:gd name="T54" fmla="*/ 222 w 174"/>
                  <a:gd name="T55" fmla="*/ 11 h 102"/>
                  <a:gd name="T56" fmla="*/ 222 w 174"/>
                  <a:gd name="T57" fmla="*/ 6 h 102"/>
                  <a:gd name="T58" fmla="*/ 211 w 174"/>
                  <a:gd name="T59" fmla="*/ 5 h 102"/>
                  <a:gd name="T60" fmla="*/ 206 w 174"/>
                  <a:gd name="T61" fmla="*/ 5 h 102"/>
                  <a:gd name="T62" fmla="*/ 191 w 174"/>
                  <a:gd name="T63" fmla="*/ 5 h 102"/>
                  <a:gd name="T64" fmla="*/ 179 w 174"/>
                  <a:gd name="T65" fmla="*/ 0 h 102"/>
                  <a:gd name="T66" fmla="*/ 167 w 174"/>
                  <a:gd name="T67" fmla="*/ 0 h 102"/>
                  <a:gd name="T68" fmla="*/ 150 w 174"/>
                  <a:gd name="T69" fmla="*/ 0 h 102"/>
                  <a:gd name="T70" fmla="*/ 139 w 174"/>
                  <a:gd name="T71" fmla="*/ 0 h 102"/>
                  <a:gd name="T72" fmla="*/ 125 w 174"/>
                  <a:gd name="T73" fmla="*/ 0 h 102"/>
                  <a:gd name="T74" fmla="*/ 102 w 174"/>
                  <a:gd name="T75" fmla="*/ 0 h 102"/>
                  <a:gd name="T76" fmla="*/ 93 w 174"/>
                  <a:gd name="T77" fmla="*/ 0 h 102"/>
                  <a:gd name="T78" fmla="*/ 78 w 174"/>
                  <a:gd name="T79" fmla="*/ 0 h 102"/>
                  <a:gd name="T80" fmla="*/ 62 w 174"/>
                  <a:gd name="T81" fmla="*/ 0 h 102"/>
                  <a:gd name="T82" fmla="*/ 49 w 174"/>
                  <a:gd name="T83" fmla="*/ 3 h 102"/>
                  <a:gd name="T84" fmla="*/ 44 w 174"/>
                  <a:gd name="T85" fmla="*/ 5 h 102"/>
                  <a:gd name="T86" fmla="*/ 44 w 174"/>
                  <a:gd name="T87" fmla="*/ 5 h 1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
                  <a:gd name="T133" fmla="*/ 0 h 102"/>
                  <a:gd name="T134" fmla="*/ 174 w 174"/>
                  <a:gd name="T135" fmla="*/ 102 h 1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 h="102">
                    <a:moveTo>
                      <a:pt x="32" y="6"/>
                    </a:moveTo>
                    <a:lnTo>
                      <a:pt x="23" y="14"/>
                    </a:lnTo>
                    <a:lnTo>
                      <a:pt x="14" y="23"/>
                    </a:lnTo>
                    <a:lnTo>
                      <a:pt x="14" y="31"/>
                    </a:lnTo>
                    <a:lnTo>
                      <a:pt x="9" y="40"/>
                    </a:lnTo>
                    <a:lnTo>
                      <a:pt x="5" y="45"/>
                    </a:lnTo>
                    <a:lnTo>
                      <a:pt x="0" y="54"/>
                    </a:lnTo>
                    <a:lnTo>
                      <a:pt x="0" y="60"/>
                    </a:lnTo>
                    <a:lnTo>
                      <a:pt x="5" y="65"/>
                    </a:lnTo>
                    <a:lnTo>
                      <a:pt x="9" y="77"/>
                    </a:lnTo>
                    <a:lnTo>
                      <a:pt x="14" y="82"/>
                    </a:lnTo>
                    <a:lnTo>
                      <a:pt x="23" y="91"/>
                    </a:lnTo>
                    <a:lnTo>
                      <a:pt x="37" y="97"/>
                    </a:lnTo>
                    <a:lnTo>
                      <a:pt x="50" y="100"/>
                    </a:lnTo>
                    <a:lnTo>
                      <a:pt x="64" y="100"/>
                    </a:lnTo>
                    <a:lnTo>
                      <a:pt x="78" y="100"/>
                    </a:lnTo>
                    <a:lnTo>
                      <a:pt x="96" y="102"/>
                    </a:lnTo>
                    <a:lnTo>
                      <a:pt x="105" y="100"/>
                    </a:lnTo>
                    <a:lnTo>
                      <a:pt x="119" y="100"/>
                    </a:lnTo>
                    <a:lnTo>
                      <a:pt x="133" y="94"/>
                    </a:lnTo>
                    <a:lnTo>
                      <a:pt x="142" y="94"/>
                    </a:lnTo>
                    <a:lnTo>
                      <a:pt x="151" y="82"/>
                    </a:lnTo>
                    <a:lnTo>
                      <a:pt x="160" y="77"/>
                    </a:lnTo>
                    <a:lnTo>
                      <a:pt x="169" y="71"/>
                    </a:lnTo>
                    <a:lnTo>
                      <a:pt x="174" y="63"/>
                    </a:lnTo>
                    <a:lnTo>
                      <a:pt x="174" y="51"/>
                    </a:lnTo>
                    <a:lnTo>
                      <a:pt x="174" y="43"/>
                    </a:lnTo>
                    <a:lnTo>
                      <a:pt x="169" y="31"/>
                    </a:lnTo>
                    <a:lnTo>
                      <a:pt x="169" y="20"/>
                    </a:lnTo>
                    <a:lnTo>
                      <a:pt x="160" y="14"/>
                    </a:lnTo>
                    <a:lnTo>
                      <a:pt x="156" y="8"/>
                    </a:lnTo>
                    <a:lnTo>
                      <a:pt x="146" y="6"/>
                    </a:lnTo>
                    <a:lnTo>
                      <a:pt x="137" y="0"/>
                    </a:lnTo>
                    <a:lnTo>
                      <a:pt x="128" y="0"/>
                    </a:lnTo>
                    <a:lnTo>
                      <a:pt x="114" y="0"/>
                    </a:lnTo>
                    <a:lnTo>
                      <a:pt x="105" y="0"/>
                    </a:lnTo>
                    <a:lnTo>
                      <a:pt x="96" y="0"/>
                    </a:lnTo>
                    <a:lnTo>
                      <a:pt x="78" y="0"/>
                    </a:lnTo>
                    <a:lnTo>
                      <a:pt x="69" y="0"/>
                    </a:lnTo>
                    <a:lnTo>
                      <a:pt x="60" y="0"/>
                    </a:lnTo>
                    <a:lnTo>
                      <a:pt x="50" y="0"/>
                    </a:lnTo>
                    <a:lnTo>
                      <a:pt x="37" y="3"/>
                    </a:lnTo>
                    <a:lnTo>
                      <a:pt x="32" y="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3" name="Freeform 207"/>
              <p:cNvSpPr>
                <a:spLocks/>
              </p:cNvSpPr>
              <p:nvPr>
                <p:custDataLst>
                  <p:tags r:id="rId38"/>
                </p:custDataLst>
              </p:nvPr>
            </p:nvSpPr>
            <p:spPr bwMode="gray">
              <a:xfrm>
                <a:off x="2047" y="2479"/>
                <a:ext cx="164" cy="93"/>
              </a:xfrm>
              <a:custGeom>
                <a:avLst/>
                <a:gdLst>
                  <a:gd name="T0" fmla="*/ 44 w 160"/>
                  <a:gd name="T1" fmla="*/ 3 h 103"/>
                  <a:gd name="T2" fmla="*/ 18 w 160"/>
                  <a:gd name="T3" fmla="*/ 5 h 103"/>
                  <a:gd name="T4" fmla="*/ 14 w 160"/>
                  <a:gd name="T5" fmla="*/ 5 h 103"/>
                  <a:gd name="T6" fmla="*/ 9 w 160"/>
                  <a:gd name="T7" fmla="*/ 9 h 103"/>
                  <a:gd name="T8" fmla="*/ 0 w 160"/>
                  <a:gd name="T9" fmla="*/ 11 h 103"/>
                  <a:gd name="T10" fmla="*/ 0 w 160"/>
                  <a:gd name="T11" fmla="*/ 14 h 103"/>
                  <a:gd name="T12" fmla="*/ 0 w 160"/>
                  <a:gd name="T13" fmla="*/ 15 h 103"/>
                  <a:gd name="T14" fmla="*/ 0 w 160"/>
                  <a:gd name="T15" fmla="*/ 17 h 103"/>
                  <a:gd name="T16" fmla="*/ 0 w 160"/>
                  <a:gd name="T17" fmla="*/ 20 h 103"/>
                  <a:gd name="T18" fmla="*/ 0 w 160"/>
                  <a:gd name="T19" fmla="*/ 21 h 103"/>
                  <a:gd name="T20" fmla="*/ 9 w 160"/>
                  <a:gd name="T21" fmla="*/ 24 h 103"/>
                  <a:gd name="T22" fmla="*/ 18 w 160"/>
                  <a:gd name="T23" fmla="*/ 27 h 103"/>
                  <a:gd name="T24" fmla="*/ 44 w 160"/>
                  <a:gd name="T25" fmla="*/ 28 h 103"/>
                  <a:gd name="T26" fmla="*/ 53 w 160"/>
                  <a:gd name="T27" fmla="*/ 28 h 103"/>
                  <a:gd name="T28" fmla="*/ 73 w 160"/>
                  <a:gd name="T29" fmla="*/ 30 h 103"/>
                  <a:gd name="T30" fmla="*/ 97 w 160"/>
                  <a:gd name="T31" fmla="*/ 30 h 103"/>
                  <a:gd name="T32" fmla="*/ 116 w 160"/>
                  <a:gd name="T33" fmla="*/ 31 h 103"/>
                  <a:gd name="T34" fmla="*/ 137 w 160"/>
                  <a:gd name="T35" fmla="*/ 30 h 103"/>
                  <a:gd name="T36" fmla="*/ 153 w 160"/>
                  <a:gd name="T37" fmla="*/ 28 h 103"/>
                  <a:gd name="T38" fmla="*/ 166 w 160"/>
                  <a:gd name="T39" fmla="*/ 28 h 103"/>
                  <a:gd name="T40" fmla="*/ 178 w 160"/>
                  <a:gd name="T41" fmla="*/ 28 h 103"/>
                  <a:gd name="T42" fmla="*/ 197 w 160"/>
                  <a:gd name="T43" fmla="*/ 24 h 103"/>
                  <a:gd name="T44" fmla="*/ 209 w 160"/>
                  <a:gd name="T45" fmla="*/ 21 h 103"/>
                  <a:gd name="T46" fmla="*/ 209 w 160"/>
                  <a:gd name="T47" fmla="*/ 19 h 103"/>
                  <a:gd name="T48" fmla="*/ 214 w 160"/>
                  <a:gd name="T49" fmla="*/ 16 h 103"/>
                  <a:gd name="T50" fmla="*/ 214 w 160"/>
                  <a:gd name="T51" fmla="*/ 13 h 103"/>
                  <a:gd name="T52" fmla="*/ 209 w 160"/>
                  <a:gd name="T53" fmla="*/ 10 h 103"/>
                  <a:gd name="T54" fmla="*/ 203 w 160"/>
                  <a:gd name="T55" fmla="*/ 7 h 103"/>
                  <a:gd name="T56" fmla="*/ 197 w 160"/>
                  <a:gd name="T57" fmla="*/ 5 h 103"/>
                  <a:gd name="T58" fmla="*/ 178 w 160"/>
                  <a:gd name="T59" fmla="*/ 5 h 103"/>
                  <a:gd name="T60" fmla="*/ 160 w 160"/>
                  <a:gd name="T61" fmla="*/ 5 h 103"/>
                  <a:gd name="T62" fmla="*/ 129 w 160"/>
                  <a:gd name="T63" fmla="*/ 3 h 103"/>
                  <a:gd name="T64" fmla="*/ 102 w 160"/>
                  <a:gd name="T65" fmla="*/ 3 h 103"/>
                  <a:gd name="T66" fmla="*/ 73 w 160"/>
                  <a:gd name="T67" fmla="*/ 0 h 103"/>
                  <a:gd name="T68" fmla="*/ 53 w 160"/>
                  <a:gd name="T69" fmla="*/ 0 h 103"/>
                  <a:gd name="T70" fmla="*/ 44 w 160"/>
                  <a:gd name="T71" fmla="*/ 0 h 103"/>
                  <a:gd name="T72" fmla="*/ 44 w 160"/>
                  <a:gd name="T73" fmla="*/ 3 h 103"/>
                  <a:gd name="T74" fmla="*/ 44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32" y="3"/>
                    </a:moveTo>
                    <a:lnTo>
                      <a:pt x="18" y="9"/>
                    </a:lnTo>
                    <a:lnTo>
                      <a:pt x="14" y="20"/>
                    </a:lnTo>
                    <a:lnTo>
                      <a:pt x="9" y="29"/>
                    </a:lnTo>
                    <a:lnTo>
                      <a:pt x="0" y="37"/>
                    </a:lnTo>
                    <a:lnTo>
                      <a:pt x="0" y="46"/>
                    </a:lnTo>
                    <a:lnTo>
                      <a:pt x="0" y="52"/>
                    </a:lnTo>
                    <a:lnTo>
                      <a:pt x="0" y="57"/>
                    </a:lnTo>
                    <a:lnTo>
                      <a:pt x="0" y="66"/>
                    </a:lnTo>
                    <a:lnTo>
                      <a:pt x="0" y="71"/>
                    </a:lnTo>
                    <a:lnTo>
                      <a:pt x="9" y="83"/>
                    </a:lnTo>
                    <a:lnTo>
                      <a:pt x="18" y="91"/>
                    </a:lnTo>
                    <a:lnTo>
                      <a:pt x="32" y="94"/>
                    </a:lnTo>
                    <a:lnTo>
                      <a:pt x="41" y="97"/>
                    </a:lnTo>
                    <a:lnTo>
                      <a:pt x="55" y="100"/>
                    </a:lnTo>
                    <a:lnTo>
                      <a:pt x="73" y="100"/>
                    </a:lnTo>
                    <a:lnTo>
                      <a:pt x="87" y="103"/>
                    </a:lnTo>
                    <a:lnTo>
                      <a:pt x="101" y="100"/>
                    </a:lnTo>
                    <a:lnTo>
                      <a:pt x="114" y="97"/>
                    </a:lnTo>
                    <a:lnTo>
                      <a:pt x="124" y="94"/>
                    </a:lnTo>
                    <a:lnTo>
                      <a:pt x="133" y="94"/>
                    </a:lnTo>
                    <a:lnTo>
                      <a:pt x="146" y="83"/>
                    </a:lnTo>
                    <a:lnTo>
                      <a:pt x="156" y="71"/>
                    </a:lnTo>
                    <a:lnTo>
                      <a:pt x="156" y="63"/>
                    </a:lnTo>
                    <a:lnTo>
                      <a:pt x="160" y="54"/>
                    </a:lnTo>
                    <a:lnTo>
                      <a:pt x="160" y="43"/>
                    </a:lnTo>
                    <a:lnTo>
                      <a:pt x="156" y="32"/>
                    </a:lnTo>
                    <a:lnTo>
                      <a:pt x="151" y="23"/>
                    </a:lnTo>
                    <a:lnTo>
                      <a:pt x="146" y="17"/>
                    </a:lnTo>
                    <a:lnTo>
                      <a:pt x="133" y="9"/>
                    </a:lnTo>
                    <a:lnTo>
                      <a:pt x="119" y="6"/>
                    </a:lnTo>
                    <a:lnTo>
                      <a:pt x="96" y="3"/>
                    </a:lnTo>
                    <a:lnTo>
                      <a:pt x="78" y="3"/>
                    </a:lnTo>
                    <a:lnTo>
                      <a:pt x="55" y="0"/>
                    </a:lnTo>
                    <a:lnTo>
                      <a:pt x="41" y="0"/>
                    </a:lnTo>
                    <a:lnTo>
                      <a:pt x="32"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4" name="Freeform 208"/>
              <p:cNvSpPr>
                <a:spLocks/>
              </p:cNvSpPr>
              <p:nvPr>
                <p:custDataLst>
                  <p:tags r:id="rId39"/>
                </p:custDataLst>
              </p:nvPr>
            </p:nvSpPr>
            <p:spPr bwMode="gray">
              <a:xfrm>
                <a:off x="3963" y="2482"/>
                <a:ext cx="169" cy="90"/>
              </a:xfrm>
              <a:custGeom>
                <a:avLst/>
                <a:gdLst>
                  <a:gd name="T0" fmla="*/ 44 w 165"/>
                  <a:gd name="T1" fmla="*/ 3 h 100"/>
                  <a:gd name="T2" fmla="*/ 35 w 165"/>
                  <a:gd name="T3" fmla="*/ 5 h 100"/>
                  <a:gd name="T4" fmla="*/ 14 w 165"/>
                  <a:gd name="T5" fmla="*/ 5 h 100"/>
                  <a:gd name="T6" fmla="*/ 5 w 165"/>
                  <a:gd name="T7" fmla="*/ 8 h 100"/>
                  <a:gd name="T8" fmla="*/ 5 w 165"/>
                  <a:gd name="T9" fmla="*/ 11 h 100"/>
                  <a:gd name="T10" fmla="*/ 5 w 165"/>
                  <a:gd name="T11" fmla="*/ 13 h 100"/>
                  <a:gd name="T12" fmla="*/ 0 w 165"/>
                  <a:gd name="T13" fmla="*/ 14 h 100"/>
                  <a:gd name="T14" fmla="*/ 0 w 165"/>
                  <a:gd name="T15" fmla="*/ 16 h 100"/>
                  <a:gd name="T16" fmla="*/ 5 w 165"/>
                  <a:gd name="T17" fmla="*/ 19 h 100"/>
                  <a:gd name="T18" fmla="*/ 5 w 165"/>
                  <a:gd name="T19" fmla="*/ 21 h 100"/>
                  <a:gd name="T20" fmla="*/ 14 w 165"/>
                  <a:gd name="T21" fmla="*/ 23 h 100"/>
                  <a:gd name="T22" fmla="*/ 35 w 165"/>
                  <a:gd name="T23" fmla="*/ 26 h 100"/>
                  <a:gd name="T24" fmla="*/ 49 w 165"/>
                  <a:gd name="T25" fmla="*/ 27 h 100"/>
                  <a:gd name="T26" fmla="*/ 58 w 165"/>
                  <a:gd name="T27" fmla="*/ 29 h 100"/>
                  <a:gd name="T28" fmla="*/ 82 w 165"/>
                  <a:gd name="T29" fmla="*/ 29 h 100"/>
                  <a:gd name="T30" fmla="*/ 102 w 165"/>
                  <a:gd name="T31" fmla="*/ 29 h 100"/>
                  <a:gd name="T32" fmla="*/ 122 w 165"/>
                  <a:gd name="T33" fmla="*/ 29 h 100"/>
                  <a:gd name="T34" fmla="*/ 135 w 165"/>
                  <a:gd name="T35" fmla="*/ 29 h 100"/>
                  <a:gd name="T36" fmla="*/ 153 w 165"/>
                  <a:gd name="T37" fmla="*/ 29 h 100"/>
                  <a:gd name="T38" fmla="*/ 170 w 165"/>
                  <a:gd name="T39" fmla="*/ 27 h 100"/>
                  <a:gd name="T40" fmla="*/ 182 w 165"/>
                  <a:gd name="T41" fmla="*/ 26 h 100"/>
                  <a:gd name="T42" fmla="*/ 197 w 165"/>
                  <a:gd name="T43" fmla="*/ 23 h 100"/>
                  <a:gd name="T44" fmla="*/ 208 w 165"/>
                  <a:gd name="T45" fmla="*/ 21 h 100"/>
                  <a:gd name="T46" fmla="*/ 213 w 165"/>
                  <a:gd name="T47" fmla="*/ 18 h 100"/>
                  <a:gd name="T48" fmla="*/ 219 w 165"/>
                  <a:gd name="T49" fmla="*/ 15 h 100"/>
                  <a:gd name="T50" fmla="*/ 219 w 165"/>
                  <a:gd name="T51" fmla="*/ 13 h 100"/>
                  <a:gd name="T52" fmla="*/ 213 w 165"/>
                  <a:gd name="T53" fmla="*/ 11 h 100"/>
                  <a:gd name="T54" fmla="*/ 202 w 165"/>
                  <a:gd name="T55" fmla="*/ 7 h 100"/>
                  <a:gd name="T56" fmla="*/ 197 w 165"/>
                  <a:gd name="T57" fmla="*/ 5 h 100"/>
                  <a:gd name="T58" fmla="*/ 177 w 165"/>
                  <a:gd name="T59" fmla="*/ 5 h 100"/>
                  <a:gd name="T60" fmla="*/ 158 w 165"/>
                  <a:gd name="T61" fmla="*/ 5 h 100"/>
                  <a:gd name="T62" fmla="*/ 146 w 165"/>
                  <a:gd name="T63" fmla="*/ 3 h 100"/>
                  <a:gd name="T64" fmla="*/ 128 w 165"/>
                  <a:gd name="T65" fmla="*/ 3 h 100"/>
                  <a:gd name="T66" fmla="*/ 122 w 165"/>
                  <a:gd name="T67" fmla="*/ 3 h 100"/>
                  <a:gd name="T68" fmla="*/ 102 w 165"/>
                  <a:gd name="T69" fmla="*/ 3 h 100"/>
                  <a:gd name="T70" fmla="*/ 82 w 165"/>
                  <a:gd name="T71" fmla="*/ 0 h 100"/>
                  <a:gd name="T72" fmla="*/ 53 w 165"/>
                  <a:gd name="T73" fmla="*/ 3 h 100"/>
                  <a:gd name="T74" fmla="*/ 49 w 165"/>
                  <a:gd name="T75" fmla="*/ 3 h 100"/>
                  <a:gd name="T76" fmla="*/ 44 w 165"/>
                  <a:gd name="T77" fmla="*/ 3 h 100"/>
                  <a:gd name="T78" fmla="*/ 44 w 165"/>
                  <a:gd name="T79" fmla="*/ 3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100"/>
                  <a:gd name="T122" fmla="*/ 165 w 165"/>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100">
                    <a:moveTo>
                      <a:pt x="32" y="3"/>
                    </a:moveTo>
                    <a:lnTo>
                      <a:pt x="23" y="12"/>
                    </a:lnTo>
                    <a:lnTo>
                      <a:pt x="14" y="20"/>
                    </a:lnTo>
                    <a:lnTo>
                      <a:pt x="5" y="29"/>
                    </a:lnTo>
                    <a:lnTo>
                      <a:pt x="5" y="37"/>
                    </a:lnTo>
                    <a:lnTo>
                      <a:pt x="5" y="46"/>
                    </a:lnTo>
                    <a:lnTo>
                      <a:pt x="0" y="51"/>
                    </a:lnTo>
                    <a:lnTo>
                      <a:pt x="0" y="57"/>
                    </a:lnTo>
                    <a:lnTo>
                      <a:pt x="5" y="66"/>
                    </a:lnTo>
                    <a:lnTo>
                      <a:pt x="5" y="74"/>
                    </a:lnTo>
                    <a:lnTo>
                      <a:pt x="14" y="83"/>
                    </a:lnTo>
                    <a:lnTo>
                      <a:pt x="23" y="91"/>
                    </a:lnTo>
                    <a:lnTo>
                      <a:pt x="37" y="94"/>
                    </a:lnTo>
                    <a:lnTo>
                      <a:pt x="46" y="100"/>
                    </a:lnTo>
                    <a:lnTo>
                      <a:pt x="60" y="100"/>
                    </a:lnTo>
                    <a:lnTo>
                      <a:pt x="78" y="100"/>
                    </a:lnTo>
                    <a:lnTo>
                      <a:pt x="92" y="100"/>
                    </a:lnTo>
                    <a:lnTo>
                      <a:pt x="101" y="100"/>
                    </a:lnTo>
                    <a:lnTo>
                      <a:pt x="115" y="100"/>
                    </a:lnTo>
                    <a:lnTo>
                      <a:pt x="128" y="94"/>
                    </a:lnTo>
                    <a:lnTo>
                      <a:pt x="137" y="91"/>
                    </a:lnTo>
                    <a:lnTo>
                      <a:pt x="147" y="83"/>
                    </a:lnTo>
                    <a:lnTo>
                      <a:pt x="156" y="74"/>
                    </a:lnTo>
                    <a:lnTo>
                      <a:pt x="160" y="63"/>
                    </a:lnTo>
                    <a:lnTo>
                      <a:pt x="165" y="54"/>
                    </a:lnTo>
                    <a:lnTo>
                      <a:pt x="165" y="43"/>
                    </a:lnTo>
                    <a:lnTo>
                      <a:pt x="160" y="34"/>
                    </a:lnTo>
                    <a:lnTo>
                      <a:pt x="151" y="26"/>
                    </a:lnTo>
                    <a:lnTo>
                      <a:pt x="147" y="17"/>
                    </a:lnTo>
                    <a:lnTo>
                      <a:pt x="133" y="9"/>
                    </a:lnTo>
                    <a:lnTo>
                      <a:pt x="119" y="6"/>
                    </a:lnTo>
                    <a:lnTo>
                      <a:pt x="110" y="3"/>
                    </a:lnTo>
                    <a:lnTo>
                      <a:pt x="96" y="3"/>
                    </a:lnTo>
                    <a:lnTo>
                      <a:pt x="92" y="3"/>
                    </a:lnTo>
                    <a:lnTo>
                      <a:pt x="78" y="3"/>
                    </a:lnTo>
                    <a:lnTo>
                      <a:pt x="60" y="0"/>
                    </a:lnTo>
                    <a:lnTo>
                      <a:pt x="41" y="3"/>
                    </a:lnTo>
                    <a:lnTo>
                      <a:pt x="37" y="3"/>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5" name="Freeform 209"/>
              <p:cNvSpPr>
                <a:spLocks/>
              </p:cNvSpPr>
              <p:nvPr>
                <p:custDataLst>
                  <p:tags r:id="rId40"/>
                </p:custDataLst>
              </p:nvPr>
            </p:nvSpPr>
            <p:spPr bwMode="gray">
              <a:xfrm>
                <a:off x="4212" y="2453"/>
                <a:ext cx="168" cy="91"/>
              </a:xfrm>
              <a:custGeom>
                <a:avLst/>
                <a:gdLst>
                  <a:gd name="T0" fmla="*/ 48 w 164"/>
                  <a:gd name="T1" fmla="*/ 3 h 99"/>
                  <a:gd name="T2" fmla="*/ 34 w 164"/>
                  <a:gd name="T3" fmla="*/ 6 h 99"/>
                  <a:gd name="T4" fmla="*/ 18 w 164"/>
                  <a:gd name="T5" fmla="*/ 6 h 99"/>
                  <a:gd name="T6" fmla="*/ 9 w 164"/>
                  <a:gd name="T7" fmla="*/ 11 h 99"/>
                  <a:gd name="T8" fmla="*/ 9 w 164"/>
                  <a:gd name="T9" fmla="*/ 14 h 99"/>
                  <a:gd name="T10" fmla="*/ 4 w 164"/>
                  <a:gd name="T11" fmla="*/ 16 h 99"/>
                  <a:gd name="T12" fmla="*/ 0 w 164"/>
                  <a:gd name="T13" fmla="*/ 18 h 99"/>
                  <a:gd name="T14" fmla="*/ 0 w 164"/>
                  <a:gd name="T15" fmla="*/ 20 h 99"/>
                  <a:gd name="T16" fmla="*/ 4 w 164"/>
                  <a:gd name="T17" fmla="*/ 22 h 99"/>
                  <a:gd name="T18" fmla="*/ 9 w 164"/>
                  <a:gd name="T19" fmla="*/ 27 h 99"/>
                  <a:gd name="T20" fmla="*/ 18 w 164"/>
                  <a:gd name="T21" fmla="*/ 29 h 99"/>
                  <a:gd name="T22" fmla="*/ 34 w 164"/>
                  <a:gd name="T23" fmla="*/ 32 h 99"/>
                  <a:gd name="T24" fmla="*/ 48 w 164"/>
                  <a:gd name="T25" fmla="*/ 34 h 99"/>
                  <a:gd name="T26" fmla="*/ 62 w 164"/>
                  <a:gd name="T27" fmla="*/ 35 h 99"/>
                  <a:gd name="T28" fmla="*/ 88 w 164"/>
                  <a:gd name="T29" fmla="*/ 35 h 99"/>
                  <a:gd name="T30" fmla="*/ 101 w 164"/>
                  <a:gd name="T31" fmla="*/ 35 h 99"/>
                  <a:gd name="T32" fmla="*/ 121 w 164"/>
                  <a:gd name="T33" fmla="*/ 37 h 99"/>
                  <a:gd name="T34" fmla="*/ 141 w 164"/>
                  <a:gd name="T35" fmla="*/ 35 h 99"/>
                  <a:gd name="T36" fmla="*/ 164 w 164"/>
                  <a:gd name="T37" fmla="*/ 35 h 99"/>
                  <a:gd name="T38" fmla="*/ 170 w 164"/>
                  <a:gd name="T39" fmla="*/ 34 h 99"/>
                  <a:gd name="T40" fmla="*/ 188 w 164"/>
                  <a:gd name="T41" fmla="*/ 32 h 99"/>
                  <a:gd name="T42" fmla="*/ 201 w 164"/>
                  <a:gd name="T43" fmla="*/ 29 h 99"/>
                  <a:gd name="T44" fmla="*/ 212 w 164"/>
                  <a:gd name="T45" fmla="*/ 26 h 99"/>
                  <a:gd name="T46" fmla="*/ 218 w 164"/>
                  <a:gd name="T47" fmla="*/ 22 h 99"/>
                  <a:gd name="T48" fmla="*/ 218 w 164"/>
                  <a:gd name="T49" fmla="*/ 18 h 99"/>
                  <a:gd name="T50" fmla="*/ 218 w 164"/>
                  <a:gd name="T51" fmla="*/ 15 h 99"/>
                  <a:gd name="T52" fmla="*/ 212 w 164"/>
                  <a:gd name="T53" fmla="*/ 12 h 99"/>
                  <a:gd name="T54" fmla="*/ 207 w 164"/>
                  <a:gd name="T55" fmla="*/ 8 h 99"/>
                  <a:gd name="T56" fmla="*/ 201 w 164"/>
                  <a:gd name="T57" fmla="*/ 6 h 99"/>
                  <a:gd name="T58" fmla="*/ 182 w 164"/>
                  <a:gd name="T59" fmla="*/ 5 h 99"/>
                  <a:gd name="T60" fmla="*/ 164 w 164"/>
                  <a:gd name="T61" fmla="*/ 3 h 99"/>
                  <a:gd name="T62" fmla="*/ 145 w 164"/>
                  <a:gd name="T63" fmla="*/ 3 h 99"/>
                  <a:gd name="T64" fmla="*/ 134 w 164"/>
                  <a:gd name="T65" fmla="*/ 0 h 99"/>
                  <a:gd name="T66" fmla="*/ 121 w 164"/>
                  <a:gd name="T67" fmla="*/ 0 h 99"/>
                  <a:gd name="T68" fmla="*/ 107 w 164"/>
                  <a:gd name="T69" fmla="*/ 0 h 99"/>
                  <a:gd name="T70" fmla="*/ 88 w 164"/>
                  <a:gd name="T71" fmla="*/ 0 h 99"/>
                  <a:gd name="T72" fmla="*/ 57 w 164"/>
                  <a:gd name="T73" fmla="*/ 0 h 99"/>
                  <a:gd name="T74" fmla="*/ 48 w 164"/>
                  <a:gd name="T75" fmla="*/ 0 h 99"/>
                  <a:gd name="T76" fmla="*/ 48 w 164"/>
                  <a:gd name="T77" fmla="*/ 3 h 99"/>
                  <a:gd name="T78" fmla="*/ 48 w 164"/>
                  <a:gd name="T79" fmla="*/ 3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99"/>
                  <a:gd name="T122" fmla="*/ 164 w 164"/>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99">
                    <a:moveTo>
                      <a:pt x="36" y="3"/>
                    </a:moveTo>
                    <a:lnTo>
                      <a:pt x="22" y="11"/>
                    </a:lnTo>
                    <a:lnTo>
                      <a:pt x="18" y="17"/>
                    </a:lnTo>
                    <a:lnTo>
                      <a:pt x="9" y="28"/>
                    </a:lnTo>
                    <a:lnTo>
                      <a:pt x="9" y="37"/>
                    </a:lnTo>
                    <a:lnTo>
                      <a:pt x="4" y="45"/>
                    </a:lnTo>
                    <a:lnTo>
                      <a:pt x="0" y="51"/>
                    </a:lnTo>
                    <a:lnTo>
                      <a:pt x="0" y="57"/>
                    </a:lnTo>
                    <a:lnTo>
                      <a:pt x="4" y="62"/>
                    </a:lnTo>
                    <a:lnTo>
                      <a:pt x="9" y="74"/>
                    </a:lnTo>
                    <a:lnTo>
                      <a:pt x="18" y="80"/>
                    </a:lnTo>
                    <a:lnTo>
                      <a:pt x="22" y="88"/>
                    </a:lnTo>
                    <a:lnTo>
                      <a:pt x="36" y="94"/>
                    </a:lnTo>
                    <a:lnTo>
                      <a:pt x="50" y="97"/>
                    </a:lnTo>
                    <a:lnTo>
                      <a:pt x="64" y="97"/>
                    </a:lnTo>
                    <a:lnTo>
                      <a:pt x="77" y="97"/>
                    </a:lnTo>
                    <a:lnTo>
                      <a:pt x="91" y="99"/>
                    </a:lnTo>
                    <a:lnTo>
                      <a:pt x="105" y="97"/>
                    </a:lnTo>
                    <a:lnTo>
                      <a:pt x="123" y="97"/>
                    </a:lnTo>
                    <a:lnTo>
                      <a:pt x="128" y="94"/>
                    </a:lnTo>
                    <a:lnTo>
                      <a:pt x="141" y="88"/>
                    </a:lnTo>
                    <a:lnTo>
                      <a:pt x="150" y="80"/>
                    </a:lnTo>
                    <a:lnTo>
                      <a:pt x="159" y="71"/>
                    </a:lnTo>
                    <a:lnTo>
                      <a:pt x="164" y="60"/>
                    </a:lnTo>
                    <a:lnTo>
                      <a:pt x="164" y="51"/>
                    </a:lnTo>
                    <a:lnTo>
                      <a:pt x="164" y="40"/>
                    </a:lnTo>
                    <a:lnTo>
                      <a:pt x="159" y="31"/>
                    </a:lnTo>
                    <a:lnTo>
                      <a:pt x="155" y="23"/>
                    </a:lnTo>
                    <a:lnTo>
                      <a:pt x="150" y="17"/>
                    </a:lnTo>
                    <a:lnTo>
                      <a:pt x="137" y="5"/>
                    </a:lnTo>
                    <a:lnTo>
                      <a:pt x="123" y="3"/>
                    </a:lnTo>
                    <a:lnTo>
                      <a:pt x="109" y="3"/>
                    </a:lnTo>
                    <a:lnTo>
                      <a:pt x="100" y="0"/>
                    </a:lnTo>
                    <a:lnTo>
                      <a:pt x="91" y="0"/>
                    </a:lnTo>
                    <a:lnTo>
                      <a:pt x="82" y="0"/>
                    </a:lnTo>
                    <a:lnTo>
                      <a:pt x="64" y="0"/>
                    </a:lnTo>
                    <a:lnTo>
                      <a:pt x="45" y="0"/>
                    </a:lnTo>
                    <a:lnTo>
                      <a:pt x="36" y="0"/>
                    </a:lnTo>
                    <a:lnTo>
                      <a:pt x="36"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6" name="Freeform 210"/>
              <p:cNvSpPr>
                <a:spLocks/>
              </p:cNvSpPr>
              <p:nvPr>
                <p:custDataLst>
                  <p:tags r:id="rId41"/>
                </p:custDataLst>
              </p:nvPr>
            </p:nvSpPr>
            <p:spPr bwMode="gray">
              <a:xfrm>
                <a:off x="3668" y="2508"/>
                <a:ext cx="169" cy="87"/>
              </a:xfrm>
              <a:custGeom>
                <a:avLst/>
                <a:gdLst>
                  <a:gd name="T0" fmla="*/ 44 w 165"/>
                  <a:gd name="T1" fmla="*/ 0 h 96"/>
                  <a:gd name="T2" fmla="*/ 19 w 165"/>
                  <a:gd name="T3" fmla="*/ 5 h 96"/>
                  <a:gd name="T4" fmla="*/ 19 w 165"/>
                  <a:gd name="T5" fmla="*/ 6 h 96"/>
                  <a:gd name="T6" fmla="*/ 10 w 165"/>
                  <a:gd name="T7" fmla="*/ 9 h 96"/>
                  <a:gd name="T8" fmla="*/ 5 w 165"/>
                  <a:gd name="T9" fmla="*/ 12 h 96"/>
                  <a:gd name="T10" fmla="*/ 0 w 165"/>
                  <a:gd name="T11" fmla="*/ 13 h 96"/>
                  <a:gd name="T12" fmla="*/ 0 w 165"/>
                  <a:gd name="T13" fmla="*/ 15 h 96"/>
                  <a:gd name="T14" fmla="*/ 0 w 165"/>
                  <a:gd name="T15" fmla="*/ 18 h 96"/>
                  <a:gd name="T16" fmla="*/ 0 w 165"/>
                  <a:gd name="T17" fmla="*/ 19 h 96"/>
                  <a:gd name="T18" fmla="*/ 5 w 165"/>
                  <a:gd name="T19" fmla="*/ 22 h 96"/>
                  <a:gd name="T20" fmla="*/ 10 w 165"/>
                  <a:gd name="T21" fmla="*/ 25 h 96"/>
                  <a:gd name="T22" fmla="*/ 19 w 165"/>
                  <a:gd name="T23" fmla="*/ 26 h 96"/>
                  <a:gd name="T24" fmla="*/ 44 w 165"/>
                  <a:gd name="T25" fmla="*/ 29 h 96"/>
                  <a:gd name="T26" fmla="*/ 58 w 165"/>
                  <a:gd name="T27" fmla="*/ 29 h 96"/>
                  <a:gd name="T28" fmla="*/ 82 w 165"/>
                  <a:gd name="T29" fmla="*/ 30 h 96"/>
                  <a:gd name="T30" fmla="*/ 98 w 165"/>
                  <a:gd name="T31" fmla="*/ 30 h 96"/>
                  <a:gd name="T32" fmla="*/ 122 w 165"/>
                  <a:gd name="T33" fmla="*/ 30 h 96"/>
                  <a:gd name="T34" fmla="*/ 142 w 165"/>
                  <a:gd name="T35" fmla="*/ 30 h 96"/>
                  <a:gd name="T36" fmla="*/ 153 w 165"/>
                  <a:gd name="T37" fmla="*/ 29 h 96"/>
                  <a:gd name="T38" fmla="*/ 170 w 165"/>
                  <a:gd name="T39" fmla="*/ 28 h 96"/>
                  <a:gd name="T40" fmla="*/ 183 w 165"/>
                  <a:gd name="T41" fmla="*/ 27 h 96"/>
                  <a:gd name="T42" fmla="*/ 197 w 165"/>
                  <a:gd name="T43" fmla="*/ 24 h 96"/>
                  <a:gd name="T44" fmla="*/ 208 w 165"/>
                  <a:gd name="T45" fmla="*/ 22 h 96"/>
                  <a:gd name="T46" fmla="*/ 213 w 165"/>
                  <a:gd name="T47" fmla="*/ 19 h 96"/>
                  <a:gd name="T48" fmla="*/ 219 w 165"/>
                  <a:gd name="T49" fmla="*/ 15 h 96"/>
                  <a:gd name="T50" fmla="*/ 213 w 165"/>
                  <a:gd name="T51" fmla="*/ 13 h 96"/>
                  <a:gd name="T52" fmla="*/ 208 w 165"/>
                  <a:gd name="T53" fmla="*/ 9 h 96"/>
                  <a:gd name="T54" fmla="*/ 202 w 165"/>
                  <a:gd name="T55" fmla="*/ 6 h 96"/>
                  <a:gd name="T56" fmla="*/ 202 w 165"/>
                  <a:gd name="T57" fmla="*/ 5 h 96"/>
                  <a:gd name="T58" fmla="*/ 177 w 165"/>
                  <a:gd name="T59" fmla="*/ 5 h 96"/>
                  <a:gd name="T60" fmla="*/ 158 w 165"/>
                  <a:gd name="T61" fmla="*/ 2 h 96"/>
                  <a:gd name="T62" fmla="*/ 146 w 165"/>
                  <a:gd name="T63" fmla="*/ 0 h 96"/>
                  <a:gd name="T64" fmla="*/ 128 w 165"/>
                  <a:gd name="T65" fmla="*/ 0 h 96"/>
                  <a:gd name="T66" fmla="*/ 122 w 165"/>
                  <a:gd name="T67" fmla="*/ 0 h 96"/>
                  <a:gd name="T68" fmla="*/ 108 w 165"/>
                  <a:gd name="T69" fmla="*/ 0 h 96"/>
                  <a:gd name="T70" fmla="*/ 82 w 165"/>
                  <a:gd name="T71" fmla="*/ 0 h 96"/>
                  <a:gd name="T72" fmla="*/ 58 w 165"/>
                  <a:gd name="T73" fmla="*/ 0 h 96"/>
                  <a:gd name="T74" fmla="*/ 49 w 165"/>
                  <a:gd name="T75" fmla="*/ 0 h 96"/>
                  <a:gd name="T76" fmla="*/ 44 w 165"/>
                  <a:gd name="T77" fmla="*/ 0 h 96"/>
                  <a:gd name="T78" fmla="*/ 44 w 165"/>
                  <a:gd name="T79" fmla="*/ 0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96"/>
                  <a:gd name="T122" fmla="*/ 165 w 165"/>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96">
                    <a:moveTo>
                      <a:pt x="32" y="0"/>
                    </a:moveTo>
                    <a:lnTo>
                      <a:pt x="19" y="8"/>
                    </a:lnTo>
                    <a:lnTo>
                      <a:pt x="19" y="20"/>
                    </a:lnTo>
                    <a:lnTo>
                      <a:pt x="10" y="28"/>
                    </a:lnTo>
                    <a:lnTo>
                      <a:pt x="5" y="37"/>
                    </a:lnTo>
                    <a:lnTo>
                      <a:pt x="0" y="39"/>
                    </a:lnTo>
                    <a:lnTo>
                      <a:pt x="0" y="48"/>
                    </a:lnTo>
                    <a:lnTo>
                      <a:pt x="0" y="57"/>
                    </a:lnTo>
                    <a:lnTo>
                      <a:pt x="0" y="62"/>
                    </a:lnTo>
                    <a:lnTo>
                      <a:pt x="5" y="71"/>
                    </a:lnTo>
                    <a:lnTo>
                      <a:pt x="10" y="82"/>
                    </a:lnTo>
                    <a:lnTo>
                      <a:pt x="19" y="85"/>
                    </a:lnTo>
                    <a:lnTo>
                      <a:pt x="32" y="94"/>
                    </a:lnTo>
                    <a:lnTo>
                      <a:pt x="46" y="94"/>
                    </a:lnTo>
                    <a:lnTo>
                      <a:pt x="60" y="96"/>
                    </a:lnTo>
                    <a:lnTo>
                      <a:pt x="74" y="96"/>
                    </a:lnTo>
                    <a:lnTo>
                      <a:pt x="92" y="96"/>
                    </a:lnTo>
                    <a:lnTo>
                      <a:pt x="106" y="96"/>
                    </a:lnTo>
                    <a:lnTo>
                      <a:pt x="115" y="94"/>
                    </a:lnTo>
                    <a:lnTo>
                      <a:pt x="128" y="91"/>
                    </a:lnTo>
                    <a:lnTo>
                      <a:pt x="138" y="88"/>
                    </a:lnTo>
                    <a:lnTo>
                      <a:pt x="147" y="79"/>
                    </a:lnTo>
                    <a:lnTo>
                      <a:pt x="156" y="71"/>
                    </a:lnTo>
                    <a:lnTo>
                      <a:pt x="160" y="62"/>
                    </a:lnTo>
                    <a:lnTo>
                      <a:pt x="165" y="51"/>
                    </a:lnTo>
                    <a:lnTo>
                      <a:pt x="160" y="39"/>
                    </a:lnTo>
                    <a:lnTo>
                      <a:pt x="156" y="28"/>
                    </a:lnTo>
                    <a:lnTo>
                      <a:pt x="151" y="20"/>
                    </a:lnTo>
                    <a:lnTo>
                      <a:pt x="151" y="14"/>
                    </a:lnTo>
                    <a:lnTo>
                      <a:pt x="133" y="5"/>
                    </a:lnTo>
                    <a:lnTo>
                      <a:pt x="119" y="2"/>
                    </a:lnTo>
                    <a:lnTo>
                      <a:pt x="110" y="0"/>
                    </a:lnTo>
                    <a:lnTo>
                      <a:pt x="96" y="0"/>
                    </a:lnTo>
                    <a:lnTo>
                      <a:pt x="92" y="0"/>
                    </a:lnTo>
                    <a:lnTo>
                      <a:pt x="83" y="0"/>
                    </a:lnTo>
                    <a:lnTo>
                      <a:pt x="60" y="0"/>
                    </a:lnTo>
                    <a:lnTo>
                      <a:pt x="46" y="0"/>
                    </a:lnTo>
                    <a:lnTo>
                      <a:pt x="37" y="0"/>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7" name="Freeform 211"/>
              <p:cNvSpPr>
                <a:spLocks/>
              </p:cNvSpPr>
              <p:nvPr>
                <p:custDataLst>
                  <p:tags r:id="rId42"/>
                </p:custDataLst>
              </p:nvPr>
            </p:nvSpPr>
            <p:spPr bwMode="gray">
              <a:xfrm>
                <a:off x="2717" y="2050"/>
                <a:ext cx="197" cy="621"/>
              </a:xfrm>
              <a:custGeom>
                <a:avLst/>
                <a:gdLst>
                  <a:gd name="T0" fmla="*/ 92 w 192"/>
                  <a:gd name="T1" fmla="*/ 34 h 681"/>
                  <a:gd name="T2" fmla="*/ 66 w 192"/>
                  <a:gd name="T3" fmla="*/ 52 h 681"/>
                  <a:gd name="T4" fmla="*/ 48 w 192"/>
                  <a:gd name="T5" fmla="*/ 69 h 681"/>
                  <a:gd name="T6" fmla="*/ 35 w 192"/>
                  <a:gd name="T7" fmla="*/ 87 h 681"/>
                  <a:gd name="T8" fmla="*/ 13 w 192"/>
                  <a:gd name="T9" fmla="*/ 104 h 681"/>
                  <a:gd name="T10" fmla="*/ 9 w 192"/>
                  <a:gd name="T11" fmla="*/ 119 h 681"/>
                  <a:gd name="T12" fmla="*/ 4 w 192"/>
                  <a:gd name="T13" fmla="*/ 133 h 681"/>
                  <a:gd name="T14" fmla="*/ 0 w 192"/>
                  <a:gd name="T15" fmla="*/ 146 h 681"/>
                  <a:gd name="T16" fmla="*/ 0 w 192"/>
                  <a:gd name="T17" fmla="*/ 160 h 681"/>
                  <a:gd name="T18" fmla="*/ 0 w 192"/>
                  <a:gd name="T19" fmla="*/ 174 h 681"/>
                  <a:gd name="T20" fmla="*/ 0 w 192"/>
                  <a:gd name="T21" fmla="*/ 185 h 681"/>
                  <a:gd name="T22" fmla="*/ 0 w 192"/>
                  <a:gd name="T23" fmla="*/ 195 h 681"/>
                  <a:gd name="T24" fmla="*/ 0 w 192"/>
                  <a:gd name="T25" fmla="*/ 203 h 681"/>
                  <a:gd name="T26" fmla="*/ 0 w 192"/>
                  <a:gd name="T27" fmla="*/ 211 h 681"/>
                  <a:gd name="T28" fmla="*/ 4 w 192"/>
                  <a:gd name="T29" fmla="*/ 216 h 681"/>
                  <a:gd name="T30" fmla="*/ 13 w 192"/>
                  <a:gd name="T31" fmla="*/ 225 h 681"/>
                  <a:gd name="T32" fmla="*/ 18 w 192"/>
                  <a:gd name="T33" fmla="*/ 220 h 681"/>
                  <a:gd name="T34" fmla="*/ 35 w 192"/>
                  <a:gd name="T35" fmla="*/ 212 h 681"/>
                  <a:gd name="T36" fmla="*/ 35 w 192"/>
                  <a:gd name="T37" fmla="*/ 203 h 681"/>
                  <a:gd name="T38" fmla="*/ 35 w 192"/>
                  <a:gd name="T39" fmla="*/ 195 h 681"/>
                  <a:gd name="T40" fmla="*/ 39 w 192"/>
                  <a:gd name="T41" fmla="*/ 186 h 681"/>
                  <a:gd name="T42" fmla="*/ 39 w 192"/>
                  <a:gd name="T43" fmla="*/ 176 h 681"/>
                  <a:gd name="T44" fmla="*/ 48 w 192"/>
                  <a:gd name="T45" fmla="*/ 167 h 681"/>
                  <a:gd name="T46" fmla="*/ 48 w 192"/>
                  <a:gd name="T47" fmla="*/ 156 h 681"/>
                  <a:gd name="T48" fmla="*/ 53 w 192"/>
                  <a:gd name="T49" fmla="*/ 146 h 681"/>
                  <a:gd name="T50" fmla="*/ 57 w 192"/>
                  <a:gd name="T51" fmla="*/ 136 h 681"/>
                  <a:gd name="T52" fmla="*/ 66 w 192"/>
                  <a:gd name="T53" fmla="*/ 126 h 681"/>
                  <a:gd name="T54" fmla="*/ 83 w 192"/>
                  <a:gd name="T55" fmla="*/ 116 h 681"/>
                  <a:gd name="T56" fmla="*/ 88 w 192"/>
                  <a:gd name="T57" fmla="*/ 105 h 681"/>
                  <a:gd name="T58" fmla="*/ 92 w 192"/>
                  <a:gd name="T59" fmla="*/ 95 h 681"/>
                  <a:gd name="T60" fmla="*/ 103 w 192"/>
                  <a:gd name="T61" fmla="*/ 84 h 681"/>
                  <a:gd name="T62" fmla="*/ 111 w 192"/>
                  <a:gd name="T63" fmla="*/ 75 h 681"/>
                  <a:gd name="T64" fmla="*/ 118 w 192"/>
                  <a:gd name="T65" fmla="*/ 67 h 681"/>
                  <a:gd name="T66" fmla="*/ 124 w 192"/>
                  <a:gd name="T67" fmla="*/ 61 h 681"/>
                  <a:gd name="T68" fmla="*/ 132 w 192"/>
                  <a:gd name="T69" fmla="*/ 54 h 681"/>
                  <a:gd name="T70" fmla="*/ 136 w 192"/>
                  <a:gd name="T71" fmla="*/ 47 h 681"/>
                  <a:gd name="T72" fmla="*/ 148 w 192"/>
                  <a:gd name="T73" fmla="*/ 41 h 681"/>
                  <a:gd name="T74" fmla="*/ 160 w 192"/>
                  <a:gd name="T75" fmla="*/ 34 h 681"/>
                  <a:gd name="T76" fmla="*/ 193 w 192"/>
                  <a:gd name="T77" fmla="*/ 25 h 681"/>
                  <a:gd name="T78" fmla="*/ 222 w 192"/>
                  <a:gd name="T79" fmla="*/ 15 h 681"/>
                  <a:gd name="T80" fmla="*/ 248 w 192"/>
                  <a:gd name="T81" fmla="*/ 6 h 681"/>
                  <a:gd name="T82" fmla="*/ 261 w 192"/>
                  <a:gd name="T83" fmla="*/ 0 h 681"/>
                  <a:gd name="T84" fmla="*/ 222 w 192"/>
                  <a:gd name="T85" fmla="*/ 5 h 681"/>
                  <a:gd name="T86" fmla="*/ 143 w 192"/>
                  <a:gd name="T87" fmla="*/ 16 h 681"/>
                  <a:gd name="T88" fmla="*/ 111 w 192"/>
                  <a:gd name="T89" fmla="*/ 23 h 6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2"/>
                  <a:gd name="T136" fmla="*/ 0 h 681"/>
                  <a:gd name="T137" fmla="*/ 192 w 192"/>
                  <a:gd name="T138" fmla="*/ 681 h 6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2" h="681">
                    <a:moveTo>
                      <a:pt x="82" y="69"/>
                    </a:moveTo>
                    <a:lnTo>
                      <a:pt x="73" y="86"/>
                    </a:lnTo>
                    <a:lnTo>
                      <a:pt x="68" y="103"/>
                    </a:lnTo>
                    <a:lnTo>
                      <a:pt x="59" y="123"/>
                    </a:lnTo>
                    <a:lnTo>
                      <a:pt x="59" y="140"/>
                    </a:lnTo>
                    <a:lnTo>
                      <a:pt x="50" y="160"/>
                    </a:lnTo>
                    <a:lnTo>
                      <a:pt x="45" y="177"/>
                    </a:lnTo>
                    <a:lnTo>
                      <a:pt x="41" y="194"/>
                    </a:lnTo>
                    <a:lnTo>
                      <a:pt x="36" y="211"/>
                    </a:lnTo>
                    <a:lnTo>
                      <a:pt x="32" y="228"/>
                    </a:lnTo>
                    <a:lnTo>
                      <a:pt x="27" y="245"/>
                    </a:lnTo>
                    <a:lnTo>
                      <a:pt x="23" y="262"/>
                    </a:lnTo>
                    <a:lnTo>
                      <a:pt x="23" y="279"/>
                    </a:lnTo>
                    <a:lnTo>
                      <a:pt x="18" y="297"/>
                    </a:lnTo>
                    <a:lnTo>
                      <a:pt x="13" y="314"/>
                    </a:lnTo>
                    <a:lnTo>
                      <a:pt x="13" y="328"/>
                    </a:lnTo>
                    <a:lnTo>
                      <a:pt x="13" y="345"/>
                    </a:lnTo>
                    <a:lnTo>
                      <a:pt x="9" y="362"/>
                    </a:lnTo>
                    <a:lnTo>
                      <a:pt x="4" y="376"/>
                    </a:lnTo>
                    <a:lnTo>
                      <a:pt x="4" y="391"/>
                    </a:lnTo>
                    <a:lnTo>
                      <a:pt x="4" y="405"/>
                    </a:lnTo>
                    <a:lnTo>
                      <a:pt x="0" y="419"/>
                    </a:lnTo>
                    <a:lnTo>
                      <a:pt x="0" y="433"/>
                    </a:lnTo>
                    <a:lnTo>
                      <a:pt x="0" y="445"/>
                    </a:lnTo>
                    <a:lnTo>
                      <a:pt x="0" y="462"/>
                    </a:lnTo>
                    <a:lnTo>
                      <a:pt x="0" y="476"/>
                    </a:lnTo>
                    <a:lnTo>
                      <a:pt x="0" y="487"/>
                    </a:lnTo>
                    <a:lnTo>
                      <a:pt x="0" y="502"/>
                    </a:lnTo>
                    <a:lnTo>
                      <a:pt x="0" y="513"/>
                    </a:lnTo>
                    <a:lnTo>
                      <a:pt x="0" y="524"/>
                    </a:lnTo>
                    <a:lnTo>
                      <a:pt x="0" y="536"/>
                    </a:lnTo>
                    <a:lnTo>
                      <a:pt x="0" y="550"/>
                    </a:lnTo>
                    <a:lnTo>
                      <a:pt x="0" y="561"/>
                    </a:lnTo>
                    <a:lnTo>
                      <a:pt x="0" y="570"/>
                    </a:lnTo>
                    <a:lnTo>
                      <a:pt x="0" y="578"/>
                    </a:lnTo>
                    <a:lnTo>
                      <a:pt x="0" y="590"/>
                    </a:lnTo>
                    <a:lnTo>
                      <a:pt x="0" y="598"/>
                    </a:lnTo>
                    <a:lnTo>
                      <a:pt x="0" y="607"/>
                    </a:lnTo>
                    <a:lnTo>
                      <a:pt x="0" y="615"/>
                    </a:lnTo>
                    <a:lnTo>
                      <a:pt x="0" y="621"/>
                    </a:lnTo>
                    <a:lnTo>
                      <a:pt x="0" y="630"/>
                    </a:lnTo>
                    <a:lnTo>
                      <a:pt x="0" y="635"/>
                    </a:lnTo>
                    <a:lnTo>
                      <a:pt x="0" y="641"/>
                    </a:lnTo>
                    <a:lnTo>
                      <a:pt x="4" y="650"/>
                    </a:lnTo>
                    <a:lnTo>
                      <a:pt x="4" y="655"/>
                    </a:lnTo>
                    <a:lnTo>
                      <a:pt x="4" y="664"/>
                    </a:lnTo>
                    <a:lnTo>
                      <a:pt x="9" y="675"/>
                    </a:lnTo>
                    <a:lnTo>
                      <a:pt x="13" y="681"/>
                    </a:lnTo>
                    <a:lnTo>
                      <a:pt x="18" y="678"/>
                    </a:lnTo>
                    <a:lnTo>
                      <a:pt x="18" y="675"/>
                    </a:lnTo>
                    <a:lnTo>
                      <a:pt x="18" y="667"/>
                    </a:lnTo>
                    <a:lnTo>
                      <a:pt x="23" y="655"/>
                    </a:lnTo>
                    <a:lnTo>
                      <a:pt x="23" y="647"/>
                    </a:lnTo>
                    <a:lnTo>
                      <a:pt x="23" y="638"/>
                    </a:lnTo>
                    <a:lnTo>
                      <a:pt x="23" y="630"/>
                    </a:lnTo>
                    <a:lnTo>
                      <a:pt x="23" y="624"/>
                    </a:lnTo>
                    <a:lnTo>
                      <a:pt x="23" y="615"/>
                    </a:lnTo>
                    <a:lnTo>
                      <a:pt x="23" y="607"/>
                    </a:lnTo>
                    <a:lnTo>
                      <a:pt x="23" y="598"/>
                    </a:lnTo>
                    <a:lnTo>
                      <a:pt x="23" y="590"/>
                    </a:lnTo>
                    <a:lnTo>
                      <a:pt x="23" y="581"/>
                    </a:lnTo>
                    <a:lnTo>
                      <a:pt x="23" y="573"/>
                    </a:lnTo>
                    <a:lnTo>
                      <a:pt x="27" y="564"/>
                    </a:lnTo>
                    <a:lnTo>
                      <a:pt x="27" y="553"/>
                    </a:lnTo>
                    <a:lnTo>
                      <a:pt x="27" y="541"/>
                    </a:lnTo>
                    <a:lnTo>
                      <a:pt x="27" y="533"/>
                    </a:lnTo>
                    <a:lnTo>
                      <a:pt x="32" y="524"/>
                    </a:lnTo>
                    <a:lnTo>
                      <a:pt x="32" y="516"/>
                    </a:lnTo>
                    <a:lnTo>
                      <a:pt x="36" y="504"/>
                    </a:lnTo>
                    <a:lnTo>
                      <a:pt x="36" y="493"/>
                    </a:lnTo>
                    <a:lnTo>
                      <a:pt x="36" y="485"/>
                    </a:lnTo>
                    <a:lnTo>
                      <a:pt x="36" y="473"/>
                    </a:lnTo>
                    <a:lnTo>
                      <a:pt x="41" y="465"/>
                    </a:lnTo>
                    <a:lnTo>
                      <a:pt x="41" y="453"/>
                    </a:lnTo>
                    <a:lnTo>
                      <a:pt x="41" y="442"/>
                    </a:lnTo>
                    <a:lnTo>
                      <a:pt x="45" y="430"/>
                    </a:lnTo>
                    <a:lnTo>
                      <a:pt x="45" y="422"/>
                    </a:lnTo>
                    <a:lnTo>
                      <a:pt x="45" y="410"/>
                    </a:lnTo>
                    <a:lnTo>
                      <a:pt x="45" y="402"/>
                    </a:lnTo>
                    <a:lnTo>
                      <a:pt x="50" y="391"/>
                    </a:lnTo>
                    <a:lnTo>
                      <a:pt x="50" y="379"/>
                    </a:lnTo>
                    <a:lnTo>
                      <a:pt x="50" y="371"/>
                    </a:lnTo>
                    <a:lnTo>
                      <a:pt x="55" y="359"/>
                    </a:lnTo>
                    <a:lnTo>
                      <a:pt x="59" y="348"/>
                    </a:lnTo>
                    <a:lnTo>
                      <a:pt x="59" y="336"/>
                    </a:lnTo>
                    <a:lnTo>
                      <a:pt x="59" y="328"/>
                    </a:lnTo>
                    <a:lnTo>
                      <a:pt x="64" y="316"/>
                    </a:lnTo>
                    <a:lnTo>
                      <a:pt x="64" y="305"/>
                    </a:lnTo>
                    <a:lnTo>
                      <a:pt x="68" y="297"/>
                    </a:lnTo>
                    <a:lnTo>
                      <a:pt x="68" y="285"/>
                    </a:lnTo>
                    <a:lnTo>
                      <a:pt x="68" y="277"/>
                    </a:lnTo>
                    <a:lnTo>
                      <a:pt x="68" y="265"/>
                    </a:lnTo>
                    <a:lnTo>
                      <a:pt x="77" y="257"/>
                    </a:lnTo>
                    <a:lnTo>
                      <a:pt x="77" y="248"/>
                    </a:lnTo>
                    <a:lnTo>
                      <a:pt x="77" y="240"/>
                    </a:lnTo>
                    <a:lnTo>
                      <a:pt x="82" y="228"/>
                    </a:lnTo>
                    <a:lnTo>
                      <a:pt x="82" y="223"/>
                    </a:lnTo>
                    <a:lnTo>
                      <a:pt x="82" y="211"/>
                    </a:lnTo>
                    <a:lnTo>
                      <a:pt x="87" y="205"/>
                    </a:lnTo>
                    <a:lnTo>
                      <a:pt x="87" y="197"/>
                    </a:lnTo>
                    <a:lnTo>
                      <a:pt x="91" y="188"/>
                    </a:lnTo>
                    <a:lnTo>
                      <a:pt x="91" y="183"/>
                    </a:lnTo>
                    <a:lnTo>
                      <a:pt x="91" y="174"/>
                    </a:lnTo>
                    <a:lnTo>
                      <a:pt x="96" y="168"/>
                    </a:lnTo>
                    <a:lnTo>
                      <a:pt x="96" y="163"/>
                    </a:lnTo>
                    <a:lnTo>
                      <a:pt x="96" y="154"/>
                    </a:lnTo>
                    <a:lnTo>
                      <a:pt x="100" y="148"/>
                    </a:lnTo>
                    <a:lnTo>
                      <a:pt x="100" y="146"/>
                    </a:lnTo>
                    <a:lnTo>
                      <a:pt x="100" y="137"/>
                    </a:lnTo>
                    <a:lnTo>
                      <a:pt x="105" y="129"/>
                    </a:lnTo>
                    <a:lnTo>
                      <a:pt x="109" y="123"/>
                    </a:lnTo>
                    <a:lnTo>
                      <a:pt x="114" y="114"/>
                    </a:lnTo>
                    <a:lnTo>
                      <a:pt x="114" y="111"/>
                    </a:lnTo>
                    <a:lnTo>
                      <a:pt x="118" y="103"/>
                    </a:lnTo>
                    <a:lnTo>
                      <a:pt x="123" y="94"/>
                    </a:lnTo>
                    <a:lnTo>
                      <a:pt x="132" y="86"/>
                    </a:lnTo>
                    <a:lnTo>
                      <a:pt x="141" y="74"/>
                    </a:lnTo>
                    <a:lnTo>
                      <a:pt x="150" y="66"/>
                    </a:lnTo>
                    <a:lnTo>
                      <a:pt x="155" y="57"/>
                    </a:lnTo>
                    <a:lnTo>
                      <a:pt x="164" y="46"/>
                    </a:lnTo>
                    <a:lnTo>
                      <a:pt x="169" y="37"/>
                    </a:lnTo>
                    <a:lnTo>
                      <a:pt x="178" y="26"/>
                    </a:lnTo>
                    <a:lnTo>
                      <a:pt x="182" y="20"/>
                    </a:lnTo>
                    <a:lnTo>
                      <a:pt x="187" y="12"/>
                    </a:lnTo>
                    <a:lnTo>
                      <a:pt x="187" y="9"/>
                    </a:lnTo>
                    <a:lnTo>
                      <a:pt x="192" y="0"/>
                    </a:lnTo>
                    <a:lnTo>
                      <a:pt x="187" y="0"/>
                    </a:lnTo>
                    <a:lnTo>
                      <a:pt x="178" y="6"/>
                    </a:lnTo>
                    <a:lnTo>
                      <a:pt x="164" y="15"/>
                    </a:lnTo>
                    <a:lnTo>
                      <a:pt x="146" y="26"/>
                    </a:lnTo>
                    <a:lnTo>
                      <a:pt x="123" y="37"/>
                    </a:lnTo>
                    <a:lnTo>
                      <a:pt x="105" y="49"/>
                    </a:lnTo>
                    <a:lnTo>
                      <a:pt x="96" y="57"/>
                    </a:lnTo>
                    <a:lnTo>
                      <a:pt x="82" y="66"/>
                    </a:lnTo>
                    <a:lnTo>
                      <a:pt x="82" y="6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8" name="Freeform 212"/>
              <p:cNvSpPr>
                <a:spLocks/>
              </p:cNvSpPr>
              <p:nvPr>
                <p:custDataLst>
                  <p:tags r:id="rId43"/>
                </p:custDataLst>
              </p:nvPr>
            </p:nvSpPr>
            <p:spPr bwMode="gray">
              <a:xfrm>
                <a:off x="2656" y="2138"/>
                <a:ext cx="605" cy="46"/>
              </a:xfrm>
              <a:custGeom>
                <a:avLst/>
                <a:gdLst>
                  <a:gd name="T0" fmla="*/ 93 w 590"/>
                  <a:gd name="T1" fmla="*/ 5 h 51"/>
                  <a:gd name="T2" fmla="*/ 137 w 590"/>
                  <a:gd name="T3" fmla="*/ 5 h 51"/>
                  <a:gd name="T4" fmla="*/ 185 w 590"/>
                  <a:gd name="T5" fmla="*/ 5 h 51"/>
                  <a:gd name="T6" fmla="*/ 227 w 590"/>
                  <a:gd name="T7" fmla="*/ 3 h 51"/>
                  <a:gd name="T8" fmla="*/ 271 w 590"/>
                  <a:gd name="T9" fmla="*/ 0 h 51"/>
                  <a:gd name="T10" fmla="*/ 309 w 590"/>
                  <a:gd name="T11" fmla="*/ 0 h 51"/>
                  <a:gd name="T12" fmla="*/ 354 w 590"/>
                  <a:gd name="T13" fmla="*/ 0 h 51"/>
                  <a:gd name="T14" fmla="*/ 390 w 590"/>
                  <a:gd name="T15" fmla="*/ 0 h 51"/>
                  <a:gd name="T16" fmla="*/ 427 w 590"/>
                  <a:gd name="T17" fmla="*/ 3 h 51"/>
                  <a:gd name="T18" fmla="*/ 463 w 590"/>
                  <a:gd name="T19" fmla="*/ 3 h 51"/>
                  <a:gd name="T20" fmla="*/ 499 w 590"/>
                  <a:gd name="T21" fmla="*/ 5 h 51"/>
                  <a:gd name="T22" fmla="*/ 531 w 590"/>
                  <a:gd name="T23" fmla="*/ 5 h 51"/>
                  <a:gd name="T24" fmla="*/ 563 w 590"/>
                  <a:gd name="T25" fmla="*/ 5 h 51"/>
                  <a:gd name="T26" fmla="*/ 593 w 590"/>
                  <a:gd name="T27" fmla="*/ 5 h 51"/>
                  <a:gd name="T28" fmla="*/ 629 w 590"/>
                  <a:gd name="T29" fmla="*/ 5 h 51"/>
                  <a:gd name="T30" fmla="*/ 679 w 590"/>
                  <a:gd name="T31" fmla="*/ 8 h 51"/>
                  <a:gd name="T32" fmla="*/ 723 w 590"/>
                  <a:gd name="T33" fmla="*/ 9 h 51"/>
                  <a:gd name="T34" fmla="*/ 748 w 590"/>
                  <a:gd name="T35" fmla="*/ 11 h 51"/>
                  <a:gd name="T36" fmla="*/ 778 w 590"/>
                  <a:gd name="T37" fmla="*/ 13 h 51"/>
                  <a:gd name="T38" fmla="*/ 797 w 590"/>
                  <a:gd name="T39" fmla="*/ 14 h 51"/>
                  <a:gd name="T40" fmla="*/ 797 w 590"/>
                  <a:gd name="T41" fmla="*/ 14 h 51"/>
                  <a:gd name="T42" fmla="*/ 773 w 590"/>
                  <a:gd name="T43" fmla="*/ 14 h 51"/>
                  <a:gd name="T44" fmla="*/ 741 w 590"/>
                  <a:gd name="T45" fmla="*/ 13 h 51"/>
                  <a:gd name="T46" fmla="*/ 711 w 590"/>
                  <a:gd name="T47" fmla="*/ 12 h 51"/>
                  <a:gd name="T48" fmla="*/ 679 w 590"/>
                  <a:gd name="T49" fmla="*/ 11 h 51"/>
                  <a:gd name="T50" fmla="*/ 637 w 590"/>
                  <a:gd name="T51" fmla="*/ 11 h 51"/>
                  <a:gd name="T52" fmla="*/ 599 w 590"/>
                  <a:gd name="T53" fmla="*/ 10 h 51"/>
                  <a:gd name="T54" fmla="*/ 556 w 590"/>
                  <a:gd name="T55" fmla="*/ 10 h 51"/>
                  <a:gd name="T56" fmla="*/ 520 w 590"/>
                  <a:gd name="T57" fmla="*/ 9 h 51"/>
                  <a:gd name="T58" fmla="*/ 475 w 590"/>
                  <a:gd name="T59" fmla="*/ 8 h 51"/>
                  <a:gd name="T60" fmla="*/ 432 w 590"/>
                  <a:gd name="T61" fmla="*/ 8 h 51"/>
                  <a:gd name="T62" fmla="*/ 396 w 590"/>
                  <a:gd name="T63" fmla="*/ 8 h 51"/>
                  <a:gd name="T64" fmla="*/ 358 w 590"/>
                  <a:gd name="T65" fmla="*/ 8 h 51"/>
                  <a:gd name="T66" fmla="*/ 322 w 590"/>
                  <a:gd name="T67" fmla="*/ 8 h 51"/>
                  <a:gd name="T68" fmla="*/ 291 w 590"/>
                  <a:gd name="T69" fmla="*/ 8 h 51"/>
                  <a:gd name="T70" fmla="*/ 259 w 590"/>
                  <a:gd name="T71" fmla="*/ 8 h 51"/>
                  <a:gd name="T72" fmla="*/ 227 w 590"/>
                  <a:gd name="T73" fmla="*/ 9 h 51"/>
                  <a:gd name="T74" fmla="*/ 193 w 590"/>
                  <a:gd name="T75" fmla="*/ 10 h 51"/>
                  <a:gd name="T76" fmla="*/ 148 w 590"/>
                  <a:gd name="T77" fmla="*/ 11 h 51"/>
                  <a:gd name="T78" fmla="*/ 103 w 590"/>
                  <a:gd name="T79" fmla="*/ 11 h 51"/>
                  <a:gd name="T80" fmla="*/ 58 w 590"/>
                  <a:gd name="T81" fmla="*/ 12 h 51"/>
                  <a:gd name="T82" fmla="*/ 19 w 590"/>
                  <a:gd name="T83" fmla="*/ 13 h 51"/>
                  <a:gd name="T84" fmla="*/ 66 w 590"/>
                  <a:gd name="T85" fmla="*/ 5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0"/>
                  <a:gd name="T130" fmla="*/ 0 h 51"/>
                  <a:gd name="T131" fmla="*/ 590 w 590"/>
                  <a:gd name="T132" fmla="*/ 51 h 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0" h="51">
                    <a:moveTo>
                      <a:pt x="51" y="14"/>
                    </a:moveTo>
                    <a:lnTo>
                      <a:pt x="69" y="12"/>
                    </a:lnTo>
                    <a:lnTo>
                      <a:pt x="83" y="9"/>
                    </a:lnTo>
                    <a:lnTo>
                      <a:pt x="101" y="6"/>
                    </a:lnTo>
                    <a:lnTo>
                      <a:pt x="119" y="6"/>
                    </a:lnTo>
                    <a:lnTo>
                      <a:pt x="137" y="6"/>
                    </a:lnTo>
                    <a:lnTo>
                      <a:pt x="151" y="3"/>
                    </a:lnTo>
                    <a:lnTo>
                      <a:pt x="169" y="3"/>
                    </a:lnTo>
                    <a:lnTo>
                      <a:pt x="183" y="3"/>
                    </a:lnTo>
                    <a:lnTo>
                      <a:pt x="201" y="0"/>
                    </a:lnTo>
                    <a:lnTo>
                      <a:pt x="215" y="0"/>
                    </a:lnTo>
                    <a:lnTo>
                      <a:pt x="229" y="0"/>
                    </a:lnTo>
                    <a:lnTo>
                      <a:pt x="247" y="0"/>
                    </a:lnTo>
                    <a:lnTo>
                      <a:pt x="261" y="0"/>
                    </a:lnTo>
                    <a:lnTo>
                      <a:pt x="274" y="0"/>
                    </a:lnTo>
                    <a:lnTo>
                      <a:pt x="288" y="0"/>
                    </a:lnTo>
                    <a:lnTo>
                      <a:pt x="306" y="3"/>
                    </a:lnTo>
                    <a:lnTo>
                      <a:pt x="316" y="3"/>
                    </a:lnTo>
                    <a:lnTo>
                      <a:pt x="334" y="3"/>
                    </a:lnTo>
                    <a:lnTo>
                      <a:pt x="343" y="3"/>
                    </a:lnTo>
                    <a:lnTo>
                      <a:pt x="357" y="6"/>
                    </a:lnTo>
                    <a:lnTo>
                      <a:pt x="370" y="6"/>
                    </a:lnTo>
                    <a:lnTo>
                      <a:pt x="384" y="6"/>
                    </a:lnTo>
                    <a:lnTo>
                      <a:pt x="393" y="6"/>
                    </a:lnTo>
                    <a:lnTo>
                      <a:pt x="407" y="9"/>
                    </a:lnTo>
                    <a:lnTo>
                      <a:pt x="416" y="9"/>
                    </a:lnTo>
                    <a:lnTo>
                      <a:pt x="425" y="12"/>
                    </a:lnTo>
                    <a:lnTo>
                      <a:pt x="439" y="14"/>
                    </a:lnTo>
                    <a:lnTo>
                      <a:pt x="448" y="14"/>
                    </a:lnTo>
                    <a:lnTo>
                      <a:pt x="466" y="17"/>
                    </a:lnTo>
                    <a:lnTo>
                      <a:pt x="489" y="20"/>
                    </a:lnTo>
                    <a:lnTo>
                      <a:pt x="503" y="26"/>
                    </a:lnTo>
                    <a:lnTo>
                      <a:pt x="521" y="26"/>
                    </a:lnTo>
                    <a:lnTo>
                      <a:pt x="535" y="29"/>
                    </a:lnTo>
                    <a:lnTo>
                      <a:pt x="549" y="34"/>
                    </a:lnTo>
                    <a:lnTo>
                      <a:pt x="553" y="37"/>
                    </a:lnTo>
                    <a:lnTo>
                      <a:pt x="567" y="40"/>
                    </a:lnTo>
                    <a:lnTo>
                      <a:pt x="576" y="43"/>
                    </a:lnTo>
                    <a:lnTo>
                      <a:pt x="581" y="49"/>
                    </a:lnTo>
                    <a:lnTo>
                      <a:pt x="590" y="49"/>
                    </a:lnTo>
                    <a:lnTo>
                      <a:pt x="590" y="51"/>
                    </a:lnTo>
                    <a:lnTo>
                      <a:pt x="581" y="51"/>
                    </a:lnTo>
                    <a:lnTo>
                      <a:pt x="572" y="49"/>
                    </a:lnTo>
                    <a:lnTo>
                      <a:pt x="558" y="49"/>
                    </a:lnTo>
                    <a:lnTo>
                      <a:pt x="549" y="43"/>
                    </a:lnTo>
                    <a:lnTo>
                      <a:pt x="540" y="43"/>
                    </a:lnTo>
                    <a:lnTo>
                      <a:pt x="526" y="40"/>
                    </a:lnTo>
                    <a:lnTo>
                      <a:pt x="517" y="40"/>
                    </a:lnTo>
                    <a:lnTo>
                      <a:pt x="503" y="37"/>
                    </a:lnTo>
                    <a:lnTo>
                      <a:pt x="489" y="37"/>
                    </a:lnTo>
                    <a:lnTo>
                      <a:pt x="471" y="34"/>
                    </a:lnTo>
                    <a:lnTo>
                      <a:pt x="457" y="34"/>
                    </a:lnTo>
                    <a:lnTo>
                      <a:pt x="444" y="32"/>
                    </a:lnTo>
                    <a:lnTo>
                      <a:pt x="425" y="32"/>
                    </a:lnTo>
                    <a:lnTo>
                      <a:pt x="412" y="32"/>
                    </a:lnTo>
                    <a:lnTo>
                      <a:pt x="398" y="29"/>
                    </a:lnTo>
                    <a:lnTo>
                      <a:pt x="384" y="29"/>
                    </a:lnTo>
                    <a:lnTo>
                      <a:pt x="370" y="29"/>
                    </a:lnTo>
                    <a:lnTo>
                      <a:pt x="352" y="26"/>
                    </a:lnTo>
                    <a:lnTo>
                      <a:pt x="334" y="26"/>
                    </a:lnTo>
                    <a:lnTo>
                      <a:pt x="320" y="26"/>
                    </a:lnTo>
                    <a:lnTo>
                      <a:pt x="306" y="26"/>
                    </a:lnTo>
                    <a:lnTo>
                      <a:pt x="293" y="26"/>
                    </a:lnTo>
                    <a:lnTo>
                      <a:pt x="279" y="26"/>
                    </a:lnTo>
                    <a:lnTo>
                      <a:pt x="265" y="26"/>
                    </a:lnTo>
                    <a:lnTo>
                      <a:pt x="252" y="26"/>
                    </a:lnTo>
                    <a:lnTo>
                      <a:pt x="238" y="26"/>
                    </a:lnTo>
                    <a:lnTo>
                      <a:pt x="229" y="26"/>
                    </a:lnTo>
                    <a:lnTo>
                      <a:pt x="215" y="26"/>
                    </a:lnTo>
                    <a:lnTo>
                      <a:pt x="210" y="26"/>
                    </a:lnTo>
                    <a:lnTo>
                      <a:pt x="192" y="26"/>
                    </a:lnTo>
                    <a:lnTo>
                      <a:pt x="183" y="29"/>
                    </a:lnTo>
                    <a:lnTo>
                      <a:pt x="169" y="29"/>
                    </a:lnTo>
                    <a:lnTo>
                      <a:pt x="156" y="29"/>
                    </a:lnTo>
                    <a:lnTo>
                      <a:pt x="142" y="32"/>
                    </a:lnTo>
                    <a:lnTo>
                      <a:pt x="128" y="34"/>
                    </a:lnTo>
                    <a:lnTo>
                      <a:pt x="110" y="34"/>
                    </a:lnTo>
                    <a:lnTo>
                      <a:pt x="96" y="37"/>
                    </a:lnTo>
                    <a:lnTo>
                      <a:pt x="78" y="37"/>
                    </a:lnTo>
                    <a:lnTo>
                      <a:pt x="64" y="40"/>
                    </a:lnTo>
                    <a:lnTo>
                      <a:pt x="46" y="40"/>
                    </a:lnTo>
                    <a:lnTo>
                      <a:pt x="32" y="40"/>
                    </a:lnTo>
                    <a:lnTo>
                      <a:pt x="19" y="43"/>
                    </a:lnTo>
                    <a:lnTo>
                      <a:pt x="0" y="46"/>
                    </a:lnTo>
                    <a:lnTo>
                      <a:pt x="51"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59" name="Freeform 213"/>
              <p:cNvSpPr>
                <a:spLocks/>
              </p:cNvSpPr>
              <p:nvPr>
                <p:custDataLst>
                  <p:tags r:id="rId44"/>
                </p:custDataLst>
              </p:nvPr>
            </p:nvSpPr>
            <p:spPr bwMode="gray">
              <a:xfrm>
                <a:off x="2632" y="2239"/>
                <a:ext cx="643" cy="58"/>
              </a:xfrm>
              <a:custGeom>
                <a:avLst/>
                <a:gdLst>
                  <a:gd name="T0" fmla="*/ 67 w 627"/>
                  <a:gd name="T1" fmla="*/ 13 h 63"/>
                  <a:gd name="T2" fmla="*/ 98 w 627"/>
                  <a:gd name="T3" fmla="*/ 10 h 63"/>
                  <a:gd name="T4" fmla="*/ 137 w 627"/>
                  <a:gd name="T5" fmla="*/ 7 h 63"/>
                  <a:gd name="T6" fmla="*/ 172 w 627"/>
                  <a:gd name="T7" fmla="*/ 6 h 63"/>
                  <a:gd name="T8" fmla="*/ 210 w 627"/>
                  <a:gd name="T9" fmla="*/ 6 h 63"/>
                  <a:gd name="T10" fmla="*/ 248 w 627"/>
                  <a:gd name="T11" fmla="*/ 6 h 63"/>
                  <a:gd name="T12" fmla="*/ 291 w 627"/>
                  <a:gd name="T13" fmla="*/ 6 h 63"/>
                  <a:gd name="T14" fmla="*/ 329 w 627"/>
                  <a:gd name="T15" fmla="*/ 3 h 63"/>
                  <a:gd name="T16" fmla="*/ 365 w 627"/>
                  <a:gd name="T17" fmla="*/ 0 h 63"/>
                  <a:gd name="T18" fmla="*/ 409 w 627"/>
                  <a:gd name="T19" fmla="*/ 0 h 63"/>
                  <a:gd name="T20" fmla="*/ 446 w 627"/>
                  <a:gd name="T21" fmla="*/ 0 h 63"/>
                  <a:gd name="T22" fmla="*/ 483 w 627"/>
                  <a:gd name="T23" fmla="*/ 0 h 63"/>
                  <a:gd name="T24" fmla="*/ 520 w 627"/>
                  <a:gd name="T25" fmla="*/ 0 h 63"/>
                  <a:gd name="T26" fmla="*/ 550 w 627"/>
                  <a:gd name="T27" fmla="*/ 0 h 63"/>
                  <a:gd name="T28" fmla="*/ 581 w 627"/>
                  <a:gd name="T29" fmla="*/ 0 h 63"/>
                  <a:gd name="T30" fmla="*/ 625 w 627"/>
                  <a:gd name="T31" fmla="*/ 0 h 63"/>
                  <a:gd name="T32" fmla="*/ 650 w 627"/>
                  <a:gd name="T33" fmla="*/ 3 h 63"/>
                  <a:gd name="T34" fmla="*/ 681 w 627"/>
                  <a:gd name="T35" fmla="*/ 3 h 63"/>
                  <a:gd name="T36" fmla="*/ 724 w 627"/>
                  <a:gd name="T37" fmla="*/ 6 h 63"/>
                  <a:gd name="T38" fmla="*/ 767 w 627"/>
                  <a:gd name="T39" fmla="*/ 6 h 63"/>
                  <a:gd name="T40" fmla="*/ 806 w 627"/>
                  <a:gd name="T41" fmla="*/ 6 h 63"/>
                  <a:gd name="T42" fmla="*/ 835 w 627"/>
                  <a:gd name="T43" fmla="*/ 6 h 63"/>
                  <a:gd name="T44" fmla="*/ 841 w 627"/>
                  <a:gd name="T45" fmla="*/ 7 h 63"/>
                  <a:gd name="T46" fmla="*/ 830 w 627"/>
                  <a:gd name="T47" fmla="*/ 7 h 63"/>
                  <a:gd name="T48" fmla="*/ 798 w 627"/>
                  <a:gd name="T49" fmla="*/ 7 h 63"/>
                  <a:gd name="T50" fmla="*/ 767 w 627"/>
                  <a:gd name="T51" fmla="*/ 7 h 63"/>
                  <a:gd name="T52" fmla="*/ 724 w 627"/>
                  <a:gd name="T53" fmla="*/ 6 h 63"/>
                  <a:gd name="T54" fmla="*/ 675 w 627"/>
                  <a:gd name="T55" fmla="*/ 6 h 63"/>
                  <a:gd name="T56" fmla="*/ 633 w 627"/>
                  <a:gd name="T57" fmla="*/ 6 h 63"/>
                  <a:gd name="T58" fmla="*/ 581 w 627"/>
                  <a:gd name="T59" fmla="*/ 6 h 63"/>
                  <a:gd name="T60" fmla="*/ 532 w 627"/>
                  <a:gd name="T61" fmla="*/ 6 h 63"/>
                  <a:gd name="T62" fmla="*/ 495 w 627"/>
                  <a:gd name="T63" fmla="*/ 7 h 63"/>
                  <a:gd name="T64" fmla="*/ 464 w 627"/>
                  <a:gd name="T65" fmla="*/ 7 h 63"/>
                  <a:gd name="T66" fmla="*/ 432 w 627"/>
                  <a:gd name="T67" fmla="*/ 8 h 63"/>
                  <a:gd name="T68" fmla="*/ 396 w 627"/>
                  <a:gd name="T69" fmla="*/ 10 h 63"/>
                  <a:gd name="T70" fmla="*/ 365 w 627"/>
                  <a:gd name="T71" fmla="*/ 11 h 63"/>
                  <a:gd name="T72" fmla="*/ 322 w 627"/>
                  <a:gd name="T73" fmla="*/ 12 h 63"/>
                  <a:gd name="T74" fmla="*/ 286 w 627"/>
                  <a:gd name="T75" fmla="*/ 13 h 63"/>
                  <a:gd name="T76" fmla="*/ 248 w 627"/>
                  <a:gd name="T77" fmla="*/ 13 h 63"/>
                  <a:gd name="T78" fmla="*/ 215 w 627"/>
                  <a:gd name="T79" fmla="*/ 15 h 63"/>
                  <a:gd name="T80" fmla="*/ 179 w 627"/>
                  <a:gd name="T81" fmla="*/ 16 h 63"/>
                  <a:gd name="T82" fmla="*/ 148 w 627"/>
                  <a:gd name="T83" fmla="*/ 16 h 63"/>
                  <a:gd name="T84" fmla="*/ 125 w 627"/>
                  <a:gd name="T85" fmla="*/ 17 h 63"/>
                  <a:gd name="T86" fmla="*/ 88 w 627"/>
                  <a:gd name="T87" fmla="*/ 20 h 63"/>
                  <a:gd name="T88" fmla="*/ 40 w 627"/>
                  <a:gd name="T89" fmla="*/ 21 h 63"/>
                  <a:gd name="T90" fmla="*/ 49 w 627"/>
                  <a:gd name="T91" fmla="*/ 14 h 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7"/>
                  <a:gd name="T139" fmla="*/ 0 h 63"/>
                  <a:gd name="T140" fmla="*/ 627 w 627"/>
                  <a:gd name="T141" fmla="*/ 63 h 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7" h="63">
                    <a:moveTo>
                      <a:pt x="37" y="37"/>
                    </a:moveTo>
                    <a:lnTo>
                      <a:pt x="51" y="34"/>
                    </a:lnTo>
                    <a:lnTo>
                      <a:pt x="64" y="29"/>
                    </a:lnTo>
                    <a:lnTo>
                      <a:pt x="74" y="26"/>
                    </a:lnTo>
                    <a:lnTo>
                      <a:pt x="87" y="23"/>
                    </a:lnTo>
                    <a:lnTo>
                      <a:pt x="101" y="20"/>
                    </a:lnTo>
                    <a:lnTo>
                      <a:pt x="115" y="17"/>
                    </a:lnTo>
                    <a:lnTo>
                      <a:pt x="128" y="15"/>
                    </a:lnTo>
                    <a:lnTo>
                      <a:pt x="142" y="15"/>
                    </a:lnTo>
                    <a:lnTo>
                      <a:pt x="156" y="12"/>
                    </a:lnTo>
                    <a:lnTo>
                      <a:pt x="170" y="9"/>
                    </a:lnTo>
                    <a:lnTo>
                      <a:pt x="183" y="6"/>
                    </a:lnTo>
                    <a:lnTo>
                      <a:pt x="197" y="6"/>
                    </a:lnTo>
                    <a:lnTo>
                      <a:pt x="215" y="6"/>
                    </a:lnTo>
                    <a:lnTo>
                      <a:pt x="229" y="3"/>
                    </a:lnTo>
                    <a:lnTo>
                      <a:pt x="243" y="3"/>
                    </a:lnTo>
                    <a:lnTo>
                      <a:pt x="261" y="3"/>
                    </a:lnTo>
                    <a:lnTo>
                      <a:pt x="270" y="0"/>
                    </a:lnTo>
                    <a:lnTo>
                      <a:pt x="288" y="0"/>
                    </a:lnTo>
                    <a:lnTo>
                      <a:pt x="302" y="0"/>
                    </a:lnTo>
                    <a:lnTo>
                      <a:pt x="316" y="0"/>
                    </a:lnTo>
                    <a:lnTo>
                      <a:pt x="329" y="0"/>
                    </a:lnTo>
                    <a:lnTo>
                      <a:pt x="339" y="0"/>
                    </a:lnTo>
                    <a:lnTo>
                      <a:pt x="357" y="0"/>
                    </a:lnTo>
                    <a:lnTo>
                      <a:pt x="375" y="0"/>
                    </a:lnTo>
                    <a:lnTo>
                      <a:pt x="384" y="0"/>
                    </a:lnTo>
                    <a:lnTo>
                      <a:pt x="393" y="0"/>
                    </a:lnTo>
                    <a:lnTo>
                      <a:pt x="407" y="0"/>
                    </a:lnTo>
                    <a:lnTo>
                      <a:pt x="421" y="0"/>
                    </a:lnTo>
                    <a:lnTo>
                      <a:pt x="430" y="0"/>
                    </a:lnTo>
                    <a:lnTo>
                      <a:pt x="444" y="0"/>
                    </a:lnTo>
                    <a:lnTo>
                      <a:pt x="462" y="0"/>
                    </a:lnTo>
                    <a:lnTo>
                      <a:pt x="471" y="3"/>
                    </a:lnTo>
                    <a:lnTo>
                      <a:pt x="480" y="3"/>
                    </a:lnTo>
                    <a:lnTo>
                      <a:pt x="494" y="3"/>
                    </a:lnTo>
                    <a:lnTo>
                      <a:pt x="503" y="3"/>
                    </a:lnTo>
                    <a:lnTo>
                      <a:pt x="517" y="6"/>
                    </a:lnTo>
                    <a:lnTo>
                      <a:pt x="535" y="6"/>
                    </a:lnTo>
                    <a:lnTo>
                      <a:pt x="553" y="9"/>
                    </a:lnTo>
                    <a:lnTo>
                      <a:pt x="567" y="9"/>
                    </a:lnTo>
                    <a:lnTo>
                      <a:pt x="581" y="12"/>
                    </a:lnTo>
                    <a:lnTo>
                      <a:pt x="595" y="15"/>
                    </a:lnTo>
                    <a:lnTo>
                      <a:pt x="604" y="15"/>
                    </a:lnTo>
                    <a:lnTo>
                      <a:pt x="617" y="17"/>
                    </a:lnTo>
                    <a:lnTo>
                      <a:pt x="627" y="20"/>
                    </a:lnTo>
                    <a:lnTo>
                      <a:pt x="622" y="20"/>
                    </a:lnTo>
                    <a:lnTo>
                      <a:pt x="617" y="20"/>
                    </a:lnTo>
                    <a:lnTo>
                      <a:pt x="613" y="20"/>
                    </a:lnTo>
                    <a:lnTo>
                      <a:pt x="604" y="23"/>
                    </a:lnTo>
                    <a:lnTo>
                      <a:pt x="590" y="20"/>
                    </a:lnTo>
                    <a:lnTo>
                      <a:pt x="576" y="20"/>
                    </a:lnTo>
                    <a:lnTo>
                      <a:pt x="567" y="20"/>
                    </a:lnTo>
                    <a:lnTo>
                      <a:pt x="558" y="20"/>
                    </a:lnTo>
                    <a:lnTo>
                      <a:pt x="535" y="17"/>
                    </a:lnTo>
                    <a:lnTo>
                      <a:pt x="517" y="17"/>
                    </a:lnTo>
                    <a:lnTo>
                      <a:pt x="499" y="17"/>
                    </a:lnTo>
                    <a:lnTo>
                      <a:pt x="485" y="17"/>
                    </a:lnTo>
                    <a:lnTo>
                      <a:pt x="467" y="17"/>
                    </a:lnTo>
                    <a:lnTo>
                      <a:pt x="448" y="17"/>
                    </a:lnTo>
                    <a:lnTo>
                      <a:pt x="430" y="17"/>
                    </a:lnTo>
                    <a:lnTo>
                      <a:pt x="416" y="17"/>
                    </a:lnTo>
                    <a:lnTo>
                      <a:pt x="393" y="17"/>
                    </a:lnTo>
                    <a:lnTo>
                      <a:pt x="375" y="20"/>
                    </a:lnTo>
                    <a:lnTo>
                      <a:pt x="366" y="20"/>
                    </a:lnTo>
                    <a:lnTo>
                      <a:pt x="357" y="20"/>
                    </a:lnTo>
                    <a:lnTo>
                      <a:pt x="343" y="20"/>
                    </a:lnTo>
                    <a:lnTo>
                      <a:pt x="334" y="23"/>
                    </a:lnTo>
                    <a:lnTo>
                      <a:pt x="320" y="23"/>
                    </a:lnTo>
                    <a:lnTo>
                      <a:pt x="307" y="26"/>
                    </a:lnTo>
                    <a:lnTo>
                      <a:pt x="293" y="26"/>
                    </a:lnTo>
                    <a:lnTo>
                      <a:pt x="284" y="29"/>
                    </a:lnTo>
                    <a:lnTo>
                      <a:pt x="270" y="29"/>
                    </a:lnTo>
                    <a:lnTo>
                      <a:pt x="252" y="29"/>
                    </a:lnTo>
                    <a:lnTo>
                      <a:pt x="238" y="32"/>
                    </a:lnTo>
                    <a:lnTo>
                      <a:pt x="224" y="34"/>
                    </a:lnTo>
                    <a:lnTo>
                      <a:pt x="211" y="34"/>
                    </a:lnTo>
                    <a:lnTo>
                      <a:pt x="197" y="34"/>
                    </a:lnTo>
                    <a:lnTo>
                      <a:pt x="183" y="34"/>
                    </a:lnTo>
                    <a:lnTo>
                      <a:pt x="174" y="37"/>
                    </a:lnTo>
                    <a:lnTo>
                      <a:pt x="160" y="40"/>
                    </a:lnTo>
                    <a:lnTo>
                      <a:pt x="147" y="40"/>
                    </a:lnTo>
                    <a:lnTo>
                      <a:pt x="133" y="43"/>
                    </a:lnTo>
                    <a:lnTo>
                      <a:pt x="124" y="43"/>
                    </a:lnTo>
                    <a:lnTo>
                      <a:pt x="110" y="43"/>
                    </a:lnTo>
                    <a:lnTo>
                      <a:pt x="101" y="49"/>
                    </a:lnTo>
                    <a:lnTo>
                      <a:pt x="92" y="49"/>
                    </a:lnTo>
                    <a:lnTo>
                      <a:pt x="83" y="52"/>
                    </a:lnTo>
                    <a:lnTo>
                      <a:pt x="64" y="54"/>
                    </a:lnTo>
                    <a:lnTo>
                      <a:pt x="46" y="54"/>
                    </a:lnTo>
                    <a:lnTo>
                      <a:pt x="28" y="57"/>
                    </a:lnTo>
                    <a:lnTo>
                      <a:pt x="0" y="63"/>
                    </a:lnTo>
                    <a:lnTo>
                      <a:pt x="37"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0" name="Freeform 214"/>
              <p:cNvSpPr>
                <a:spLocks/>
              </p:cNvSpPr>
              <p:nvPr>
                <p:custDataLst>
                  <p:tags r:id="rId45"/>
                </p:custDataLst>
              </p:nvPr>
            </p:nvSpPr>
            <p:spPr bwMode="gray">
              <a:xfrm>
                <a:off x="2628" y="2323"/>
                <a:ext cx="614" cy="45"/>
              </a:xfrm>
              <a:custGeom>
                <a:avLst/>
                <a:gdLst>
                  <a:gd name="T0" fmla="*/ 141 w 599"/>
                  <a:gd name="T1" fmla="*/ 6 h 49"/>
                  <a:gd name="T2" fmla="*/ 172 w 599"/>
                  <a:gd name="T3" fmla="*/ 6 h 49"/>
                  <a:gd name="T4" fmla="*/ 208 w 599"/>
                  <a:gd name="T5" fmla="*/ 3 h 49"/>
                  <a:gd name="T6" fmla="*/ 240 w 599"/>
                  <a:gd name="T7" fmla="*/ 0 h 49"/>
                  <a:gd name="T8" fmla="*/ 270 w 599"/>
                  <a:gd name="T9" fmla="*/ 0 h 49"/>
                  <a:gd name="T10" fmla="*/ 306 w 599"/>
                  <a:gd name="T11" fmla="*/ 0 h 49"/>
                  <a:gd name="T12" fmla="*/ 344 w 599"/>
                  <a:gd name="T13" fmla="*/ 0 h 49"/>
                  <a:gd name="T14" fmla="*/ 369 w 599"/>
                  <a:gd name="T15" fmla="*/ 0 h 49"/>
                  <a:gd name="T16" fmla="*/ 406 w 599"/>
                  <a:gd name="T17" fmla="*/ 0 h 49"/>
                  <a:gd name="T18" fmla="*/ 436 w 599"/>
                  <a:gd name="T19" fmla="*/ 0 h 49"/>
                  <a:gd name="T20" fmla="*/ 467 w 599"/>
                  <a:gd name="T21" fmla="*/ 3 h 49"/>
                  <a:gd name="T22" fmla="*/ 497 w 599"/>
                  <a:gd name="T23" fmla="*/ 6 h 49"/>
                  <a:gd name="T24" fmla="*/ 534 w 599"/>
                  <a:gd name="T25" fmla="*/ 6 h 49"/>
                  <a:gd name="T26" fmla="*/ 559 w 599"/>
                  <a:gd name="T27" fmla="*/ 6 h 49"/>
                  <a:gd name="T28" fmla="*/ 584 w 599"/>
                  <a:gd name="T29" fmla="*/ 6 h 49"/>
                  <a:gd name="T30" fmla="*/ 607 w 599"/>
                  <a:gd name="T31" fmla="*/ 6 h 49"/>
                  <a:gd name="T32" fmla="*/ 651 w 599"/>
                  <a:gd name="T33" fmla="*/ 7 h 49"/>
                  <a:gd name="T34" fmla="*/ 695 w 599"/>
                  <a:gd name="T35" fmla="*/ 10 h 49"/>
                  <a:gd name="T36" fmla="*/ 732 w 599"/>
                  <a:gd name="T37" fmla="*/ 12 h 49"/>
                  <a:gd name="T38" fmla="*/ 763 w 599"/>
                  <a:gd name="T39" fmla="*/ 14 h 49"/>
                  <a:gd name="T40" fmla="*/ 793 w 599"/>
                  <a:gd name="T41" fmla="*/ 16 h 49"/>
                  <a:gd name="T42" fmla="*/ 806 w 599"/>
                  <a:gd name="T43" fmla="*/ 17 h 49"/>
                  <a:gd name="T44" fmla="*/ 781 w 599"/>
                  <a:gd name="T45" fmla="*/ 17 h 49"/>
                  <a:gd name="T46" fmla="*/ 732 w 599"/>
                  <a:gd name="T47" fmla="*/ 15 h 49"/>
                  <a:gd name="T48" fmla="*/ 682 w 599"/>
                  <a:gd name="T49" fmla="*/ 14 h 49"/>
                  <a:gd name="T50" fmla="*/ 628 w 599"/>
                  <a:gd name="T51" fmla="*/ 13 h 49"/>
                  <a:gd name="T52" fmla="*/ 584 w 599"/>
                  <a:gd name="T53" fmla="*/ 12 h 49"/>
                  <a:gd name="T54" fmla="*/ 559 w 599"/>
                  <a:gd name="T55" fmla="*/ 11 h 49"/>
                  <a:gd name="T56" fmla="*/ 529 w 599"/>
                  <a:gd name="T57" fmla="*/ 11 h 49"/>
                  <a:gd name="T58" fmla="*/ 497 w 599"/>
                  <a:gd name="T59" fmla="*/ 11 h 49"/>
                  <a:gd name="T60" fmla="*/ 461 w 599"/>
                  <a:gd name="T61" fmla="*/ 11 h 49"/>
                  <a:gd name="T62" fmla="*/ 436 w 599"/>
                  <a:gd name="T63" fmla="*/ 11 h 49"/>
                  <a:gd name="T64" fmla="*/ 400 w 599"/>
                  <a:gd name="T65" fmla="*/ 11 h 49"/>
                  <a:gd name="T66" fmla="*/ 369 w 599"/>
                  <a:gd name="T67" fmla="*/ 11 h 49"/>
                  <a:gd name="T68" fmla="*/ 344 w 599"/>
                  <a:gd name="T69" fmla="*/ 11 h 49"/>
                  <a:gd name="T70" fmla="*/ 306 w 599"/>
                  <a:gd name="T71" fmla="*/ 11 h 49"/>
                  <a:gd name="T72" fmla="*/ 270 w 599"/>
                  <a:gd name="T73" fmla="*/ 11 h 49"/>
                  <a:gd name="T74" fmla="*/ 240 w 599"/>
                  <a:gd name="T75" fmla="*/ 11 h 49"/>
                  <a:gd name="T76" fmla="*/ 208 w 599"/>
                  <a:gd name="T77" fmla="*/ 11 h 49"/>
                  <a:gd name="T78" fmla="*/ 172 w 599"/>
                  <a:gd name="T79" fmla="*/ 11 h 49"/>
                  <a:gd name="T80" fmla="*/ 141 w 599"/>
                  <a:gd name="T81" fmla="*/ 12 h 49"/>
                  <a:gd name="T82" fmla="*/ 116 w 599"/>
                  <a:gd name="T83" fmla="*/ 12 h 49"/>
                  <a:gd name="T84" fmla="*/ 88 w 599"/>
                  <a:gd name="T85" fmla="*/ 13 h 49"/>
                  <a:gd name="T86" fmla="*/ 53 w 599"/>
                  <a:gd name="T87" fmla="*/ 13 h 49"/>
                  <a:gd name="T88" fmla="*/ 18 w 599"/>
                  <a:gd name="T89" fmla="*/ 13 h 49"/>
                  <a:gd name="T90" fmla="*/ 0 w 599"/>
                  <a:gd name="T91" fmla="*/ 12 h 49"/>
                  <a:gd name="T92" fmla="*/ 35 w 599"/>
                  <a:gd name="T93" fmla="*/ 8 h 49"/>
                  <a:gd name="T94" fmla="*/ 74 w 599"/>
                  <a:gd name="T95" fmla="*/ 6 h 49"/>
                  <a:gd name="T96" fmla="*/ 103 w 599"/>
                  <a:gd name="T97" fmla="*/ 6 h 49"/>
                  <a:gd name="T98" fmla="*/ 116 w 599"/>
                  <a:gd name="T99" fmla="*/ 6 h 49"/>
                  <a:gd name="T100" fmla="*/ 122 w 599"/>
                  <a:gd name="T101" fmla="*/ 6 h 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9"/>
                  <a:gd name="T154" fmla="*/ 0 h 49"/>
                  <a:gd name="T155" fmla="*/ 599 w 599"/>
                  <a:gd name="T156" fmla="*/ 49 h 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9" h="49">
                    <a:moveTo>
                      <a:pt x="91" y="12"/>
                    </a:moveTo>
                    <a:lnTo>
                      <a:pt x="105" y="9"/>
                    </a:lnTo>
                    <a:lnTo>
                      <a:pt x="114" y="6"/>
                    </a:lnTo>
                    <a:lnTo>
                      <a:pt x="128" y="6"/>
                    </a:lnTo>
                    <a:lnTo>
                      <a:pt x="142" y="3"/>
                    </a:lnTo>
                    <a:lnTo>
                      <a:pt x="155" y="3"/>
                    </a:lnTo>
                    <a:lnTo>
                      <a:pt x="169" y="0"/>
                    </a:lnTo>
                    <a:lnTo>
                      <a:pt x="178" y="0"/>
                    </a:lnTo>
                    <a:lnTo>
                      <a:pt x="192" y="0"/>
                    </a:lnTo>
                    <a:lnTo>
                      <a:pt x="201" y="0"/>
                    </a:lnTo>
                    <a:lnTo>
                      <a:pt x="219" y="0"/>
                    </a:lnTo>
                    <a:lnTo>
                      <a:pt x="228" y="0"/>
                    </a:lnTo>
                    <a:lnTo>
                      <a:pt x="242" y="0"/>
                    </a:lnTo>
                    <a:lnTo>
                      <a:pt x="256" y="0"/>
                    </a:lnTo>
                    <a:lnTo>
                      <a:pt x="265" y="0"/>
                    </a:lnTo>
                    <a:lnTo>
                      <a:pt x="274" y="0"/>
                    </a:lnTo>
                    <a:lnTo>
                      <a:pt x="292" y="0"/>
                    </a:lnTo>
                    <a:lnTo>
                      <a:pt x="301" y="0"/>
                    </a:lnTo>
                    <a:lnTo>
                      <a:pt x="311" y="0"/>
                    </a:lnTo>
                    <a:lnTo>
                      <a:pt x="324" y="0"/>
                    </a:lnTo>
                    <a:lnTo>
                      <a:pt x="338" y="3"/>
                    </a:lnTo>
                    <a:lnTo>
                      <a:pt x="347" y="3"/>
                    </a:lnTo>
                    <a:lnTo>
                      <a:pt x="361" y="3"/>
                    </a:lnTo>
                    <a:lnTo>
                      <a:pt x="370" y="6"/>
                    </a:lnTo>
                    <a:lnTo>
                      <a:pt x="384" y="6"/>
                    </a:lnTo>
                    <a:lnTo>
                      <a:pt x="397" y="6"/>
                    </a:lnTo>
                    <a:lnTo>
                      <a:pt x="407" y="9"/>
                    </a:lnTo>
                    <a:lnTo>
                      <a:pt x="416" y="9"/>
                    </a:lnTo>
                    <a:lnTo>
                      <a:pt x="425" y="12"/>
                    </a:lnTo>
                    <a:lnTo>
                      <a:pt x="434" y="12"/>
                    </a:lnTo>
                    <a:lnTo>
                      <a:pt x="448" y="15"/>
                    </a:lnTo>
                    <a:lnTo>
                      <a:pt x="452" y="15"/>
                    </a:lnTo>
                    <a:lnTo>
                      <a:pt x="466" y="17"/>
                    </a:lnTo>
                    <a:lnTo>
                      <a:pt x="484" y="20"/>
                    </a:lnTo>
                    <a:lnTo>
                      <a:pt x="498" y="23"/>
                    </a:lnTo>
                    <a:lnTo>
                      <a:pt x="516" y="26"/>
                    </a:lnTo>
                    <a:lnTo>
                      <a:pt x="535" y="29"/>
                    </a:lnTo>
                    <a:lnTo>
                      <a:pt x="544" y="32"/>
                    </a:lnTo>
                    <a:lnTo>
                      <a:pt x="557" y="35"/>
                    </a:lnTo>
                    <a:lnTo>
                      <a:pt x="567" y="37"/>
                    </a:lnTo>
                    <a:lnTo>
                      <a:pt x="580" y="40"/>
                    </a:lnTo>
                    <a:lnTo>
                      <a:pt x="589" y="43"/>
                    </a:lnTo>
                    <a:lnTo>
                      <a:pt x="599" y="49"/>
                    </a:lnTo>
                    <a:lnTo>
                      <a:pt x="589" y="49"/>
                    </a:lnTo>
                    <a:lnTo>
                      <a:pt x="580" y="46"/>
                    </a:lnTo>
                    <a:lnTo>
                      <a:pt x="562" y="43"/>
                    </a:lnTo>
                    <a:lnTo>
                      <a:pt x="544" y="40"/>
                    </a:lnTo>
                    <a:lnTo>
                      <a:pt x="530" y="37"/>
                    </a:lnTo>
                    <a:lnTo>
                      <a:pt x="507" y="37"/>
                    </a:lnTo>
                    <a:lnTo>
                      <a:pt x="489" y="35"/>
                    </a:lnTo>
                    <a:lnTo>
                      <a:pt x="466" y="35"/>
                    </a:lnTo>
                    <a:lnTo>
                      <a:pt x="448" y="35"/>
                    </a:lnTo>
                    <a:lnTo>
                      <a:pt x="434" y="32"/>
                    </a:lnTo>
                    <a:lnTo>
                      <a:pt x="425" y="32"/>
                    </a:lnTo>
                    <a:lnTo>
                      <a:pt x="416" y="29"/>
                    </a:lnTo>
                    <a:lnTo>
                      <a:pt x="402" y="29"/>
                    </a:lnTo>
                    <a:lnTo>
                      <a:pt x="393" y="29"/>
                    </a:lnTo>
                    <a:lnTo>
                      <a:pt x="379" y="29"/>
                    </a:lnTo>
                    <a:lnTo>
                      <a:pt x="370" y="29"/>
                    </a:lnTo>
                    <a:lnTo>
                      <a:pt x="361" y="29"/>
                    </a:lnTo>
                    <a:lnTo>
                      <a:pt x="343" y="29"/>
                    </a:lnTo>
                    <a:lnTo>
                      <a:pt x="333" y="29"/>
                    </a:lnTo>
                    <a:lnTo>
                      <a:pt x="324" y="29"/>
                    </a:lnTo>
                    <a:lnTo>
                      <a:pt x="311" y="29"/>
                    </a:lnTo>
                    <a:lnTo>
                      <a:pt x="297" y="29"/>
                    </a:lnTo>
                    <a:lnTo>
                      <a:pt x="288" y="29"/>
                    </a:lnTo>
                    <a:lnTo>
                      <a:pt x="274" y="29"/>
                    </a:lnTo>
                    <a:lnTo>
                      <a:pt x="265" y="29"/>
                    </a:lnTo>
                    <a:lnTo>
                      <a:pt x="256" y="29"/>
                    </a:lnTo>
                    <a:lnTo>
                      <a:pt x="242" y="29"/>
                    </a:lnTo>
                    <a:lnTo>
                      <a:pt x="228" y="29"/>
                    </a:lnTo>
                    <a:lnTo>
                      <a:pt x="219" y="29"/>
                    </a:lnTo>
                    <a:lnTo>
                      <a:pt x="201" y="29"/>
                    </a:lnTo>
                    <a:lnTo>
                      <a:pt x="187" y="29"/>
                    </a:lnTo>
                    <a:lnTo>
                      <a:pt x="178" y="29"/>
                    </a:lnTo>
                    <a:lnTo>
                      <a:pt x="169" y="29"/>
                    </a:lnTo>
                    <a:lnTo>
                      <a:pt x="155" y="29"/>
                    </a:lnTo>
                    <a:lnTo>
                      <a:pt x="137" y="29"/>
                    </a:lnTo>
                    <a:lnTo>
                      <a:pt x="128" y="29"/>
                    </a:lnTo>
                    <a:lnTo>
                      <a:pt x="119" y="32"/>
                    </a:lnTo>
                    <a:lnTo>
                      <a:pt x="105" y="32"/>
                    </a:lnTo>
                    <a:lnTo>
                      <a:pt x="91" y="32"/>
                    </a:lnTo>
                    <a:lnTo>
                      <a:pt x="87" y="32"/>
                    </a:lnTo>
                    <a:lnTo>
                      <a:pt x="73" y="35"/>
                    </a:lnTo>
                    <a:lnTo>
                      <a:pt x="64" y="35"/>
                    </a:lnTo>
                    <a:lnTo>
                      <a:pt x="55" y="35"/>
                    </a:lnTo>
                    <a:lnTo>
                      <a:pt x="41" y="35"/>
                    </a:lnTo>
                    <a:lnTo>
                      <a:pt x="36" y="35"/>
                    </a:lnTo>
                    <a:lnTo>
                      <a:pt x="18" y="35"/>
                    </a:lnTo>
                    <a:lnTo>
                      <a:pt x="14" y="35"/>
                    </a:lnTo>
                    <a:lnTo>
                      <a:pt x="0" y="32"/>
                    </a:lnTo>
                    <a:lnTo>
                      <a:pt x="9" y="29"/>
                    </a:lnTo>
                    <a:lnTo>
                      <a:pt x="23" y="23"/>
                    </a:lnTo>
                    <a:lnTo>
                      <a:pt x="36" y="20"/>
                    </a:lnTo>
                    <a:lnTo>
                      <a:pt x="55" y="17"/>
                    </a:lnTo>
                    <a:lnTo>
                      <a:pt x="68" y="15"/>
                    </a:lnTo>
                    <a:lnTo>
                      <a:pt x="78" y="15"/>
                    </a:lnTo>
                    <a:lnTo>
                      <a:pt x="87" y="12"/>
                    </a:lnTo>
                    <a:lnTo>
                      <a:pt x="91" y="12"/>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1" name="Freeform 215"/>
              <p:cNvSpPr>
                <a:spLocks/>
              </p:cNvSpPr>
              <p:nvPr>
                <p:custDataLst>
                  <p:tags r:id="rId46"/>
                </p:custDataLst>
              </p:nvPr>
            </p:nvSpPr>
            <p:spPr bwMode="gray">
              <a:xfrm>
                <a:off x="1260" y="2190"/>
                <a:ext cx="993" cy="80"/>
              </a:xfrm>
              <a:custGeom>
                <a:avLst/>
                <a:gdLst>
                  <a:gd name="T0" fmla="*/ 53 w 969"/>
                  <a:gd name="T1" fmla="*/ 3 h 88"/>
                  <a:gd name="T2" fmla="*/ 97 w 969"/>
                  <a:gd name="T3" fmla="*/ 5 h 88"/>
                  <a:gd name="T4" fmla="*/ 159 w 969"/>
                  <a:gd name="T5" fmla="*/ 5 h 88"/>
                  <a:gd name="T6" fmla="*/ 220 w 969"/>
                  <a:gd name="T7" fmla="*/ 5 h 88"/>
                  <a:gd name="T8" fmla="*/ 257 w 969"/>
                  <a:gd name="T9" fmla="*/ 6 h 88"/>
                  <a:gd name="T10" fmla="*/ 301 w 969"/>
                  <a:gd name="T11" fmla="*/ 6 h 88"/>
                  <a:gd name="T12" fmla="*/ 343 w 969"/>
                  <a:gd name="T13" fmla="*/ 7 h 88"/>
                  <a:gd name="T14" fmla="*/ 385 w 969"/>
                  <a:gd name="T15" fmla="*/ 9 h 88"/>
                  <a:gd name="T16" fmla="*/ 436 w 969"/>
                  <a:gd name="T17" fmla="*/ 11 h 88"/>
                  <a:gd name="T18" fmla="*/ 480 w 969"/>
                  <a:gd name="T19" fmla="*/ 11 h 88"/>
                  <a:gd name="T20" fmla="*/ 522 w 969"/>
                  <a:gd name="T21" fmla="*/ 11 h 88"/>
                  <a:gd name="T22" fmla="*/ 564 w 969"/>
                  <a:gd name="T23" fmla="*/ 12 h 88"/>
                  <a:gd name="T24" fmla="*/ 620 w 969"/>
                  <a:gd name="T25" fmla="*/ 13 h 88"/>
                  <a:gd name="T26" fmla="*/ 663 w 969"/>
                  <a:gd name="T27" fmla="*/ 14 h 88"/>
                  <a:gd name="T28" fmla="*/ 705 w 969"/>
                  <a:gd name="T29" fmla="*/ 15 h 88"/>
                  <a:gd name="T30" fmla="*/ 754 w 969"/>
                  <a:gd name="T31" fmla="*/ 15 h 88"/>
                  <a:gd name="T32" fmla="*/ 834 w 969"/>
                  <a:gd name="T33" fmla="*/ 16 h 88"/>
                  <a:gd name="T34" fmla="*/ 897 w 969"/>
                  <a:gd name="T35" fmla="*/ 16 h 88"/>
                  <a:gd name="T36" fmla="*/ 956 w 969"/>
                  <a:gd name="T37" fmla="*/ 16 h 88"/>
                  <a:gd name="T38" fmla="*/ 1018 w 969"/>
                  <a:gd name="T39" fmla="*/ 16 h 88"/>
                  <a:gd name="T40" fmla="*/ 1079 w 969"/>
                  <a:gd name="T41" fmla="*/ 17 h 88"/>
                  <a:gd name="T42" fmla="*/ 1134 w 969"/>
                  <a:gd name="T43" fmla="*/ 17 h 88"/>
                  <a:gd name="T44" fmla="*/ 1177 w 969"/>
                  <a:gd name="T45" fmla="*/ 18 h 88"/>
                  <a:gd name="T46" fmla="*/ 1240 w 969"/>
                  <a:gd name="T47" fmla="*/ 19 h 88"/>
                  <a:gd name="T48" fmla="*/ 1281 w 969"/>
                  <a:gd name="T49" fmla="*/ 20 h 88"/>
                  <a:gd name="T50" fmla="*/ 1299 w 969"/>
                  <a:gd name="T51" fmla="*/ 28 h 88"/>
                  <a:gd name="T52" fmla="*/ 1257 w 969"/>
                  <a:gd name="T53" fmla="*/ 28 h 88"/>
                  <a:gd name="T54" fmla="*/ 1207 w 969"/>
                  <a:gd name="T55" fmla="*/ 26 h 88"/>
                  <a:gd name="T56" fmla="*/ 1158 w 969"/>
                  <a:gd name="T57" fmla="*/ 26 h 88"/>
                  <a:gd name="T58" fmla="*/ 1103 w 969"/>
                  <a:gd name="T59" fmla="*/ 26 h 88"/>
                  <a:gd name="T60" fmla="*/ 1029 w 969"/>
                  <a:gd name="T61" fmla="*/ 25 h 88"/>
                  <a:gd name="T62" fmla="*/ 968 w 969"/>
                  <a:gd name="T63" fmla="*/ 25 h 88"/>
                  <a:gd name="T64" fmla="*/ 901 w 969"/>
                  <a:gd name="T65" fmla="*/ 25 h 88"/>
                  <a:gd name="T66" fmla="*/ 840 w 969"/>
                  <a:gd name="T67" fmla="*/ 25 h 88"/>
                  <a:gd name="T68" fmla="*/ 773 w 969"/>
                  <a:gd name="T69" fmla="*/ 23 h 88"/>
                  <a:gd name="T70" fmla="*/ 718 w 969"/>
                  <a:gd name="T71" fmla="*/ 23 h 88"/>
                  <a:gd name="T72" fmla="*/ 651 w 969"/>
                  <a:gd name="T73" fmla="*/ 22 h 88"/>
                  <a:gd name="T74" fmla="*/ 612 w 969"/>
                  <a:gd name="T75" fmla="*/ 21 h 88"/>
                  <a:gd name="T76" fmla="*/ 564 w 969"/>
                  <a:gd name="T77" fmla="*/ 20 h 88"/>
                  <a:gd name="T78" fmla="*/ 522 w 969"/>
                  <a:gd name="T79" fmla="*/ 19 h 88"/>
                  <a:gd name="T80" fmla="*/ 472 w 969"/>
                  <a:gd name="T81" fmla="*/ 18 h 88"/>
                  <a:gd name="T82" fmla="*/ 429 w 969"/>
                  <a:gd name="T83" fmla="*/ 17 h 88"/>
                  <a:gd name="T84" fmla="*/ 374 w 969"/>
                  <a:gd name="T85" fmla="*/ 16 h 88"/>
                  <a:gd name="T86" fmla="*/ 331 w 969"/>
                  <a:gd name="T87" fmla="*/ 15 h 88"/>
                  <a:gd name="T88" fmla="*/ 282 w 969"/>
                  <a:gd name="T89" fmla="*/ 15 h 88"/>
                  <a:gd name="T90" fmla="*/ 241 w 969"/>
                  <a:gd name="T91" fmla="*/ 14 h 88"/>
                  <a:gd name="T92" fmla="*/ 198 w 969"/>
                  <a:gd name="T93" fmla="*/ 12 h 88"/>
                  <a:gd name="T94" fmla="*/ 129 w 969"/>
                  <a:gd name="T95" fmla="*/ 11 h 88"/>
                  <a:gd name="T96" fmla="*/ 65 w 969"/>
                  <a:gd name="T97" fmla="*/ 10 h 88"/>
                  <a:gd name="T98" fmla="*/ 19 w 969"/>
                  <a:gd name="T99" fmla="*/ 9 h 88"/>
                  <a:gd name="T100" fmla="*/ 44 w 969"/>
                  <a:gd name="T101" fmla="*/ 0 h 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9"/>
                  <a:gd name="T154" fmla="*/ 0 h 88"/>
                  <a:gd name="T155" fmla="*/ 969 w 969"/>
                  <a:gd name="T156" fmla="*/ 88 h 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9" h="88">
                    <a:moveTo>
                      <a:pt x="32" y="0"/>
                    </a:moveTo>
                    <a:lnTo>
                      <a:pt x="37" y="0"/>
                    </a:lnTo>
                    <a:lnTo>
                      <a:pt x="41" y="3"/>
                    </a:lnTo>
                    <a:lnTo>
                      <a:pt x="51" y="3"/>
                    </a:lnTo>
                    <a:lnTo>
                      <a:pt x="60" y="6"/>
                    </a:lnTo>
                    <a:lnTo>
                      <a:pt x="73" y="6"/>
                    </a:lnTo>
                    <a:lnTo>
                      <a:pt x="87" y="9"/>
                    </a:lnTo>
                    <a:lnTo>
                      <a:pt x="101" y="9"/>
                    </a:lnTo>
                    <a:lnTo>
                      <a:pt x="119" y="12"/>
                    </a:lnTo>
                    <a:lnTo>
                      <a:pt x="133" y="12"/>
                    </a:lnTo>
                    <a:lnTo>
                      <a:pt x="151" y="14"/>
                    </a:lnTo>
                    <a:lnTo>
                      <a:pt x="165" y="14"/>
                    </a:lnTo>
                    <a:lnTo>
                      <a:pt x="169" y="17"/>
                    </a:lnTo>
                    <a:lnTo>
                      <a:pt x="183" y="17"/>
                    </a:lnTo>
                    <a:lnTo>
                      <a:pt x="192" y="20"/>
                    </a:lnTo>
                    <a:lnTo>
                      <a:pt x="201" y="20"/>
                    </a:lnTo>
                    <a:lnTo>
                      <a:pt x="211" y="20"/>
                    </a:lnTo>
                    <a:lnTo>
                      <a:pt x="224" y="20"/>
                    </a:lnTo>
                    <a:lnTo>
                      <a:pt x="233" y="23"/>
                    </a:lnTo>
                    <a:lnTo>
                      <a:pt x="243" y="23"/>
                    </a:lnTo>
                    <a:lnTo>
                      <a:pt x="256" y="23"/>
                    </a:lnTo>
                    <a:lnTo>
                      <a:pt x="270" y="23"/>
                    </a:lnTo>
                    <a:lnTo>
                      <a:pt x="279" y="26"/>
                    </a:lnTo>
                    <a:lnTo>
                      <a:pt x="288" y="26"/>
                    </a:lnTo>
                    <a:lnTo>
                      <a:pt x="302" y="29"/>
                    </a:lnTo>
                    <a:lnTo>
                      <a:pt x="316" y="29"/>
                    </a:lnTo>
                    <a:lnTo>
                      <a:pt x="325" y="32"/>
                    </a:lnTo>
                    <a:lnTo>
                      <a:pt x="334" y="32"/>
                    </a:lnTo>
                    <a:lnTo>
                      <a:pt x="348" y="32"/>
                    </a:lnTo>
                    <a:lnTo>
                      <a:pt x="357" y="34"/>
                    </a:lnTo>
                    <a:lnTo>
                      <a:pt x="371" y="34"/>
                    </a:lnTo>
                    <a:lnTo>
                      <a:pt x="380" y="34"/>
                    </a:lnTo>
                    <a:lnTo>
                      <a:pt x="389" y="34"/>
                    </a:lnTo>
                    <a:lnTo>
                      <a:pt x="403" y="34"/>
                    </a:lnTo>
                    <a:lnTo>
                      <a:pt x="416" y="37"/>
                    </a:lnTo>
                    <a:lnTo>
                      <a:pt x="421" y="37"/>
                    </a:lnTo>
                    <a:lnTo>
                      <a:pt x="439" y="40"/>
                    </a:lnTo>
                    <a:lnTo>
                      <a:pt x="448" y="40"/>
                    </a:lnTo>
                    <a:lnTo>
                      <a:pt x="462" y="40"/>
                    </a:lnTo>
                    <a:lnTo>
                      <a:pt x="471" y="40"/>
                    </a:lnTo>
                    <a:lnTo>
                      <a:pt x="480" y="43"/>
                    </a:lnTo>
                    <a:lnTo>
                      <a:pt x="494" y="43"/>
                    </a:lnTo>
                    <a:lnTo>
                      <a:pt x="503" y="43"/>
                    </a:lnTo>
                    <a:lnTo>
                      <a:pt x="512" y="43"/>
                    </a:lnTo>
                    <a:lnTo>
                      <a:pt x="526" y="46"/>
                    </a:lnTo>
                    <a:lnTo>
                      <a:pt x="535" y="46"/>
                    </a:lnTo>
                    <a:lnTo>
                      <a:pt x="544" y="46"/>
                    </a:lnTo>
                    <a:lnTo>
                      <a:pt x="562" y="46"/>
                    </a:lnTo>
                    <a:lnTo>
                      <a:pt x="585" y="46"/>
                    </a:lnTo>
                    <a:lnTo>
                      <a:pt x="599" y="49"/>
                    </a:lnTo>
                    <a:lnTo>
                      <a:pt x="622" y="51"/>
                    </a:lnTo>
                    <a:lnTo>
                      <a:pt x="636" y="51"/>
                    </a:lnTo>
                    <a:lnTo>
                      <a:pt x="654" y="51"/>
                    </a:lnTo>
                    <a:lnTo>
                      <a:pt x="668" y="51"/>
                    </a:lnTo>
                    <a:lnTo>
                      <a:pt x="681" y="51"/>
                    </a:lnTo>
                    <a:lnTo>
                      <a:pt x="700" y="51"/>
                    </a:lnTo>
                    <a:lnTo>
                      <a:pt x="713" y="51"/>
                    </a:lnTo>
                    <a:lnTo>
                      <a:pt x="732" y="51"/>
                    </a:lnTo>
                    <a:lnTo>
                      <a:pt x="750" y="51"/>
                    </a:lnTo>
                    <a:lnTo>
                      <a:pt x="759" y="51"/>
                    </a:lnTo>
                    <a:lnTo>
                      <a:pt x="777" y="51"/>
                    </a:lnTo>
                    <a:lnTo>
                      <a:pt x="786" y="54"/>
                    </a:lnTo>
                    <a:lnTo>
                      <a:pt x="805" y="54"/>
                    </a:lnTo>
                    <a:lnTo>
                      <a:pt x="818" y="54"/>
                    </a:lnTo>
                    <a:lnTo>
                      <a:pt x="832" y="54"/>
                    </a:lnTo>
                    <a:lnTo>
                      <a:pt x="846" y="54"/>
                    </a:lnTo>
                    <a:lnTo>
                      <a:pt x="860" y="57"/>
                    </a:lnTo>
                    <a:lnTo>
                      <a:pt x="869" y="57"/>
                    </a:lnTo>
                    <a:lnTo>
                      <a:pt x="878" y="57"/>
                    </a:lnTo>
                    <a:lnTo>
                      <a:pt x="892" y="57"/>
                    </a:lnTo>
                    <a:lnTo>
                      <a:pt x="901" y="60"/>
                    </a:lnTo>
                    <a:lnTo>
                      <a:pt x="924" y="60"/>
                    </a:lnTo>
                    <a:lnTo>
                      <a:pt x="937" y="60"/>
                    </a:lnTo>
                    <a:lnTo>
                      <a:pt x="951" y="60"/>
                    </a:lnTo>
                    <a:lnTo>
                      <a:pt x="956" y="63"/>
                    </a:lnTo>
                    <a:lnTo>
                      <a:pt x="965" y="63"/>
                    </a:lnTo>
                    <a:lnTo>
                      <a:pt x="969" y="63"/>
                    </a:lnTo>
                    <a:lnTo>
                      <a:pt x="969" y="88"/>
                    </a:lnTo>
                    <a:lnTo>
                      <a:pt x="965" y="86"/>
                    </a:lnTo>
                    <a:lnTo>
                      <a:pt x="951" y="86"/>
                    </a:lnTo>
                    <a:lnTo>
                      <a:pt x="937" y="86"/>
                    </a:lnTo>
                    <a:lnTo>
                      <a:pt x="924" y="86"/>
                    </a:lnTo>
                    <a:lnTo>
                      <a:pt x="914" y="83"/>
                    </a:lnTo>
                    <a:lnTo>
                      <a:pt x="901" y="83"/>
                    </a:lnTo>
                    <a:lnTo>
                      <a:pt x="887" y="83"/>
                    </a:lnTo>
                    <a:lnTo>
                      <a:pt x="878" y="83"/>
                    </a:lnTo>
                    <a:lnTo>
                      <a:pt x="864" y="83"/>
                    </a:lnTo>
                    <a:lnTo>
                      <a:pt x="846" y="83"/>
                    </a:lnTo>
                    <a:lnTo>
                      <a:pt x="837" y="83"/>
                    </a:lnTo>
                    <a:lnTo>
                      <a:pt x="823" y="83"/>
                    </a:lnTo>
                    <a:lnTo>
                      <a:pt x="805" y="83"/>
                    </a:lnTo>
                    <a:lnTo>
                      <a:pt x="786" y="83"/>
                    </a:lnTo>
                    <a:lnTo>
                      <a:pt x="768" y="80"/>
                    </a:lnTo>
                    <a:lnTo>
                      <a:pt x="754" y="80"/>
                    </a:lnTo>
                    <a:lnTo>
                      <a:pt x="736" y="80"/>
                    </a:lnTo>
                    <a:lnTo>
                      <a:pt x="722" y="80"/>
                    </a:lnTo>
                    <a:lnTo>
                      <a:pt x="704" y="80"/>
                    </a:lnTo>
                    <a:lnTo>
                      <a:pt x="690" y="80"/>
                    </a:lnTo>
                    <a:lnTo>
                      <a:pt x="672" y="77"/>
                    </a:lnTo>
                    <a:lnTo>
                      <a:pt x="658" y="77"/>
                    </a:lnTo>
                    <a:lnTo>
                      <a:pt x="640" y="77"/>
                    </a:lnTo>
                    <a:lnTo>
                      <a:pt x="626" y="77"/>
                    </a:lnTo>
                    <a:lnTo>
                      <a:pt x="608" y="74"/>
                    </a:lnTo>
                    <a:lnTo>
                      <a:pt x="590" y="74"/>
                    </a:lnTo>
                    <a:lnTo>
                      <a:pt x="576" y="74"/>
                    </a:lnTo>
                    <a:lnTo>
                      <a:pt x="567" y="74"/>
                    </a:lnTo>
                    <a:lnTo>
                      <a:pt x="549" y="71"/>
                    </a:lnTo>
                    <a:lnTo>
                      <a:pt x="535" y="71"/>
                    </a:lnTo>
                    <a:lnTo>
                      <a:pt x="517" y="69"/>
                    </a:lnTo>
                    <a:lnTo>
                      <a:pt x="499" y="69"/>
                    </a:lnTo>
                    <a:lnTo>
                      <a:pt x="485" y="69"/>
                    </a:lnTo>
                    <a:lnTo>
                      <a:pt x="476" y="69"/>
                    </a:lnTo>
                    <a:lnTo>
                      <a:pt x="467" y="66"/>
                    </a:lnTo>
                    <a:lnTo>
                      <a:pt x="457" y="66"/>
                    </a:lnTo>
                    <a:lnTo>
                      <a:pt x="444" y="66"/>
                    </a:lnTo>
                    <a:lnTo>
                      <a:pt x="435" y="63"/>
                    </a:lnTo>
                    <a:lnTo>
                      <a:pt x="421" y="63"/>
                    </a:lnTo>
                    <a:lnTo>
                      <a:pt x="412" y="63"/>
                    </a:lnTo>
                    <a:lnTo>
                      <a:pt x="403" y="60"/>
                    </a:lnTo>
                    <a:lnTo>
                      <a:pt x="389" y="60"/>
                    </a:lnTo>
                    <a:lnTo>
                      <a:pt x="380" y="57"/>
                    </a:lnTo>
                    <a:lnTo>
                      <a:pt x="366" y="57"/>
                    </a:lnTo>
                    <a:lnTo>
                      <a:pt x="352" y="57"/>
                    </a:lnTo>
                    <a:lnTo>
                      <a:pt x="343" y="54"/>
                    </a:lnTo>
                    <a:lnTo>
                      <a:pt x="334" y="54"/>
                    </a:lnTo>
                    <a:lnTo>
                      <a:pt x="320" y="54"/>
                    </a:lnTo>
                    <a:lnTo>
                      <a:pt x="307" y="51"/>
                    </a:lnTo>
                    <a:lnTo>
                      <a:pt x="297" y="51"/>
                    </a:lnTo>
                    <a:lnTo>
                      <a:pt x="279" y="51"/>
                    </a:lnTo>
                    <a:lnTo>
                      <a:pt x="270" y="51"/>
                    </a:lnTo>
                    <a:lnTo>
                      <a:pt x="261" y="49"/>
                    </a:lnTo>
                    <a:lnTo>
                      <a:pt x="247" y="46"/>
                    </a:lnTo>
                    <a:lnTo>
                      <a:pt x="238" y="46"/>
                    </a:lnTo>
                    <a:lnTo>
                      <a:pt x="224" y="46"/>
                    </a:lnTo>
                    <a:lnTo>
                      <a:pt x="211" y="46"/>
                    </a:lnTo>
                    <a:lnTo>
                      <a:pt x="201" y="43"/>
                    </a:lnTo>
                    <a:lnTo>
                      <a:pt x="188" y="43"/>
                    </a:lnTo>
                    <a:lnTo>
                      <a:pt x="179" y="43"/>
                    </a:lnTo>
                    <a:lnTo>
                      <a:pt x="165" y="40"/>
                    </a:lnTo>
                    <a:lnTo>
                      <a:pt x="156" y="40"/>
                    </a:lnTo>
                    <a:lnTo>
                      <a:pt x="147" y="37"/>
                    </a:lnTo>
                    <a:lnTo>
                      <a:pt x="137" y="37"/>
                    </a:lnTo>
                    <a:lnTo>
                      <a:pt x="115" y="34"/>
                    </a:lnTo>
                    <a:lnTo>
                      <a:pt x="96" y="34"/>
                    </a:lnTo>
                    <a:lnTo>
                      <a:pt x="78" y="32"/>
                    </a:lnTo>
                    <a:lnTo>
                      <a:pt x="69" y="32"/>
                    </a:lnTo>
                    <a:lnTo>
                      <a:pt x="51" y="29"/>
                    </a:lnTo>
                    <a:lnTo>
                      <a:pt x="41" y="26"/>
                    </a:lnTo>
                    <a:lnTo>
                      <a:pt x="23" y="26"/>
                    </a:lnTo>
                    <a:lnTo>
                      <a:pt x="19" y="26"/>
                    </a:lnTo>
                    <a:lnTo>
                      <a:pt x="5" y="23"/>
                    </a:lnTo>
                    <a:lnTo>
                      <a:pt x="0" y="23"/>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2" name="Freeform 216"/>
              <p:cNvSpPr>
                <a:spLocks/>
              </p:cNvSpPr>
              <p:nvPr>
                <p:custDataLst>
                  <p:tags r:id="rId47"/>
                </p:custDataLst>
              </p:nvPr>
            </p:nvSpPr>
            <p:spPr bwMode="gray">
              <a:xfrm>
                <a:off x="3720" y="2221"/>
                <a:ext cx="623" cy="63"/>
              </a:xfrm>
              <a:custGeom>
                <a:avLst/>
                <a:gdLst>
                  <a:gd name="T0" fmla="*/ 13 w 608"/>
                  <a:gd name="T1" fmla="*/ 13 h 69"/>
                  <a:gd name="T2" fmla="*/ 53 w 608"/>
                  <a:gd name="T3" fmla="*/ 13 h 69"/>
                  <a:gd name="T4" fmla="*/ 92 w 608"/>
                  <a:gd name="T5" fmla="*/ 13 h 69"/>
                  <a:gd name="T6" fmla="*/ 135 w 608"/>
                  <a:gd name="T7" fmla="*/ 13 h 69"/>
                  <a:gd name="T8" fmla="*/ 171 w 608"/>
                  <a:gd name="T9" fmla="*/ 12 h 69"/>
                  <a:gd name="T10" fmla="*/ 208 w 608"/>
                  <a:gd name="T11" fmla="*/ 12 h 69"/>
                  <a:gd name="T12" fmla="*/ 244 w 608"/>
                  <a:gd name="T13" fmla="*/ 12 h 69"/>
                  <a:gd name="T14" fmla="*/ 281 w 608"/>
                  <a:gd name="T15" fmla="*/ 12 h 69"/>
                  <a:gd name="T16" fmla="*/ 317 w 608"/>
                  <a:gd name="T17" fmla="*/ 11 h 69"/>
                  <a:gd name="T18" fmla="*/ 348 w 608"/>
                  <a:gd name="T19" fmla="*/ 10 h 69"/>
                  <a:gd name="T20" fmla="*/ 391 w 608"/>
                  <a:gd name="T21" fmla="*/ 10 h 69"/>
                  <a:gd name="T22" fmla="*/ 422 w 608"/>
                  <a:gd name="T23" fmla="*/ 9 h 69"/>
                  <a:gd name="T24" fmla="*/ 453 w 608"/>
                  <a:gd name="T25" fmla="*/ 9 h 69"/>
                  <a:gd name="T26" fmla="*/ 484 w 608"/>
                  <a:gd name="T27" fmla="*/ 8 h 69"/>
                  <a:gd name="T28" fmla="*/ 521 w 608"/>
                  <a:gd name="T29" fmla="*/ 6 h 69"/>
                  <a:gd name="T30" fmla="*/ 550 w 608"/>
                  <a:gd name="T31" fmla="*/ 6 h 69"/>
                  <a:gd name="T32" fmla="*/ 593 w 608"/>
                  <a:gd name="T33" fmla="*/ 5 h 69"/>
                  <a:gd name="T34" fmla="*/ 642 w 608"/>
                  <a:gd name="T35" fmla="*/ 5 h 69"/>
                  <a:gd name="T36" fmla="*/ 691 w 608"/>
                  <a:gd name="T37" fmla="*/ 5 h 69"/>
                  <a:gd name="T38" fmla="*/ 729 w 608"/>
                  <a:gd name="T39" fmla="*/ 5 h 69"/>
                  <a:gd name="T40" fmla="*/ 758 w 608"/>
                  <a:gd name="T41" fmla="*/ 3 h 69"/>
                  <a:gd name="T42" fmla="*/ 784 w 608"/>
                  <a:gd name="T43" fmla="*/ 0 h 69"/>
                  <a:gd name="T44" fmla="*/ 808 w 608"/>
                  <a:gd name="T45" fmla="*/ 0 h 69"/>
                  <a:gd name="T46" fmla="*/ 815 w 608"/>
                  <a:gd name="T47" fmla="*/ 10 h 69"/>
                  <a:gd name="T48" fmla="*/ 800 w 608"/>
                  <a:gd name="T49" fmla="*/ 10 h 69"/>
                  <a:gd name="T50" fmla="*/ 777 w 608"/>
                  <a:gd name="T51" fmla="*/ 11 h 69"/>
                  <a:gd name="T52" fmla="*/ 753 w 608"/>
                  <a:gd name="T53" fmla="*/ 12 h 69"/>
                  <a:gd name="T54" fmla="*/ 715 w 608"/>
                  <a:gd name="T55" fmla="*/ 12 h 69"/>
                  <a:gd name="T56" fmla="*/ 687 w 608"/>
                  <a:gd name="T57" fmla="*/ 13 h 69"/>
                  <a:gd name="T58" fmla="*/ 642 w 608"/>
                  <a:gd name="T59" fmla="*/ 13 h 69"/>
                  <a:gd name="T60" fmla="*/ 599 w 608"/>
                  <a:gd name="T61" fmla="*/ 14 h 69"/>
                  <a:gd name="T62" fmla="*/ 557 w 608"/>
                  <a:gd name="T63" fmla="*/ 15 h 69"/>
                  <a:gd name="T64" fmla="*/ 513 w 608"/>
                  <a:gd name="T65" fmla="*/ 15 h 69"/>
                  <a:gd name="T66" fmla="*/ 472 w 608"/>
                  <a:gd name="T67" fmla="*/ 16 h 69"/>
                  <a:gd name="T68" fmla="*/ 428 w 608"/>
                  <a:gd name="T69" fmla="*/ 18 h 69"/>
                  <a:gd name="T70" fmla="*/ 391 w 608"/>
                  <a:gd name="T71" fmla="*/ 18 h 69"/>
                  <a:gd name="T72" fmla="*/ 348 w 608"/>
                  <a:gd name="T73" fmla="*/ 18 h 69"/>
                  <a:gd name="T74" fmla="*/ 324 w 608"/>
                  <a:gd name="T75" fmla="*/ 19 h 69"/>
                  <a:gd name="T76" fmla="*/ 301 w 608"/>
                  <a:gd name="T77" fmla="*/ 20 h 69"/>
                  <a:gd name="T78" fmla="*/ 251 w 608"/>
                  <a:gd name="T79" fmla="*/ 22 h 69"/>
                  <a:gd name="T80" fmla="*/ 196 w 608"/>
                  <a:gd name="T81" fmla="*/ 22 h 69"/>
                  <a:gd name="T82" fmla="*/ 146 w 608"/>
                  <a:gd name="T83" fmla="*/ 22 h 69"/>
                  <a:gd name="T84" fmla="*/ 101 w 608"/>
                  <a:gd name="T85" fmla="*/ 24 h 69"/>
                  <a:gd name="T86" fmla="*/ 57 w 608"/>
                  <a:gd name="T87" fmla="*/ 24 h 69"/>
                  <a:gd name="T88" fmla="*/ 35 w 608"/>
                  <a:gd name="T89" fmla="*/ 24 h 69"/>
                  <a:gd name="T90" fmla="*/ 0 w 608"/>
                  <a:gd name="T91" fmla="*/ 24 h 69"/>
                  <a:gd name="T92" fmla="*/ 0 w 608"/>
                  <a:gd name="T93" fmla="*/ 14 h 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8"/>
                  <a:gd name="T142" fmla="*/ 0 h 69"/>
                  <a:gd name="T143" fmla="*/ 608 w 608"/>
                  <a:gd name="T144" fmla="*/ 69 h 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8" h="69">
                    <a:moveTo>
                      <a:pt x="0" y="40"/>
                    </a:moveTo>
                    <a:lnTo>
                      <a:pt x="13" y="37"/>
                    </a:lnTo>
                    <a:lnTo>
                      <a:pt x="27" y="37"/>
                    </a:lnTo>
                    <a:lnTo>
                      <a:pt x="41" y="37"/>
                    </a:lnTo>
                    <a:lnTo>
                      <a:pt x="59" y="37"/>
                    </a:lnTo>
                    <a:lnTo>
                      <a:pt x="68" y="37"/>
                    </a:lnTo>
                    <a:lnTo>
                      <a:pt x="87" y="37"/>
                    </a:lnTo>
                    <a:lnTo>
                      <a:pt x="100" y="37"/>
                    </a:lnTo>
                    <a:lnTo>
                      <a:pt x="119" y="37"/>
                    </a:lnTo>
                    <a:lnTo>
                      <a:pt x="128" y="35"/>
                    </a:lnTo>
                    <a:lnTo>
                      <a:pt x="141" y="35"/>
                    </a:lnTo>
                    <a:lnTo>
                      <a:pt x="155" y="35"/>
                    </a:lnTo>
                    <a:lnTo>
                      <a:pt x="169" y="35"/>
                    </a:lnTo>
                    <a:lnTo>
                      <a:pt x="182" y="35"/>
                    </a:lnTo>
                    <a:lnTo>
                      <a:pt x="201" y="35"/>
                    </a:lnTo>
                    <a:lnTo>
                      <a:pt x="210" y="35"/>
                    </a:lnTo>
                    <a:lnTo>
                      <a:pt x="224" y="35"/>
                    </a:lnTo>
                    <a:lnTo>
                      <a:pt x="237" y="32"/>
                    </a:lnTo>
                    <a:lnTo>
                      <a:pt x="251" y="32"/>
                    </a:lnTo>
                    <a:lnTo>
                      <a:pt x="260" y="29"/>
                    </a:lnTo>
                    <a:lnTo>
                      <a:pt x="278" y="29"/>
                    </a:lnTo>
                    <a:lnTo>
                      <a:pt x="292" y="29"/>
                    </a:lnTo>
                    <a:lnTo>
                      <a:pt x="301" y="26"/>
                    </a:lnTo>
                    <a:lnTo>
                      <a:pt x="315" y="26"/>
                    </a:lnTo>
                    <a:lnTo>
                      <a:pt x="329" y="26"/>
                    </a:lnTo>
                    <a:lnTo>
                      <a:pt x="338" y="26"/>
                    </a:lnTo>
                    <a:lnTo>
                      <a:pt x="352" y="23"/>
                    </a:lnTo>
                    <a:lnTo>
                      <a:pt x="361" y="23"/>
                    </a:lnTo>
                    <a:lnTo>
                      <a:pt x="374" y="23"/>
                    </a:lnTo>
                    <a:lnTo>
                      <a:pt x="388" y="20"/>
                    </a:lnTo>
                    <a:lnTo>
                      <a:pt x="397" y="20"/>
                    </a:lnTo>
                    <a:lnTo>
                      <a:pt x="411" y="20"/>
                    </a:lnTo>
                    <a:lnTo>
                      <a:pt x="425" y="20"/>
                    </a:lnTo>
                    <a:lnTo>
                      <a:pt x="443" y="17"/>
                    </a:lnTo>
                    <a:lnTo>
                      <a:pt x="461" y="17"/>
                    </a:lnTo>
                    <a:lnTo>
                      <a:pt x="480" y="12"/>
                    </a:lnTo>
                    <a:lnTo>
                      <a:pt x="498" y="12"/>
                    </a:lnTo>
                    <a:lnTo>
                      <a:pt x="516" y="12"/>
                    </a:lnTo>
                    <a:lnTo>
                      <a:pt x="530" y="9"/>
                    </a:lnTo>
                    <a:lnTo>
                      <a:pt x="544" y="6"/>
                    </a:lnTo>
                    <a:lnTo>
                      <a:pt x="557" y="6"/>
                    </a:lnTo>
                    <a:lnTo>
                      <a:pt x="566" y="3"/>
                    </a:lnTo>
                    <a:lnTo>
                      <a:pt x="580" y="0"/>
                    </a:lnTo>
                    <a:lnTo>
                      <a:pt x="585" y="0"/>
                    </a:lnTo>
                    <a:lnTo>
                      <a:pt x="594" y="0"/>
                    </a:lnTo>
                    <a:lnTo>
                      <a:pt x="603" y="0"/>
                    </a:lnTo>
                    <a:lnTo>
                      <a:pt x="608" y="0"/>
                    </a:lnTo>
                    <a:lnTo>
                      <a:pt x="608" y="29"/>
                    </a:lnTo>
                    <a:lnTo>
                      <a:pt x="603" y="29"/>
                    </a:lnTo>
                    <a:lnTo>
                      <a:pt x="598" y="29"/>
                    </a:lnTo>
                    <a:lnTo>
                      <a:pt x="585" y="29"/>
                    </a:lnTo>
                    <a:lnTo>
                      <a:pt x="580" y="32"/>
                    </a:lnTo>
                    <a:lnTo>
                      <a:pt x="571" y="32"/>
                    </a:lnTo>
                    <a:lnTo>
                      <a:pt x="562" y="35"/>
                    </a:lnTo>
                    <a:lnTo>
                      <a:pt x="548" y="35"/>
                    </a:lnTo>
                    <a:lnTo>
                      <a:pt x="534" y="35"/>
                    </a:lnTo>
                    <a:lnTo>
                      <a:pt x="525" y="35"/>
                    </a:lnTo>
                    <a:lnTo>
                      <a:pt x="512" y="37"/>
                    </a:lnTo>
                    <a:lnTo>
                      <a:pt x="498" y="37"/>
                    </a:lnTo>
                    <a:lnTo>
                      <a:pt x="480" y="37"/>
                    </a:lnTo>
                    <a:lnTo>
                      <a:pt x="466" y="40"/>
                    </a:lnTo>
                    <a:lnTo>
                      <a:pt x="448" y="40"/>
                    </a:lnTo>
                    <a:lnTo>
                      <a:pt x="434" y="40"/>
                    </a:lnTo>
                    <a:lnTo>
                      <a:pt x="416" y="43"/>
                    </a:lnTo>
                    <a:lnTo>
                      <a:pt x="402" y="43"/>
                    </a:lnTo>
                    <a:lnTo>
                      <a:pt x="384" y="46"/>
                    </a:lnTo>
                    <a:lnTo>
                      <a:pt x="370" y="49"/>
                    </a:lnTo>
                    <a:lnTo>
                      <a:pt x="352" y="49"/>
                    </a:lnTo>
                    <a:lnTo>
                      <a:pt x="333" y="49"/>
                    </a:lnTo>
                    <a:lnTo>
                      <a:pt x="320" y="54"/>
                    </a:lnTo>
                    <a:lnTo>
                      <a:pt x="301" y="54"/>
                    </a:lnTo>
                    <a:lnTo>
                      <a:pt x="292" y="54"/>
                    </a:lnTo>
                    <a:lnTo>
                      <a:pt x="278" y="54"/>
                    </a:lnTo>
                    <a:lnTo>
                      <a:pt x="260" y="54"/>
                    </a:lnTo>
                    <a:lnTo>
                      <a:pt x="251" y="57"/>
                    </a:lnTo>
                    <a:lnTo>
                      <a:pt x="242" y="57"/>
                    </a:lnTo>
                    <a:lnTo>
                      <a:pt x="228" y="60"/>
                    </a:lnTo>
                    <a:lnTo>
                      <a:pt x="224" y="60"/>
                    </a:lnTo>
                    <a:lnTo>
                      <a:pt x="201" y="60"/>
                    </a:lnTo>
                    <a:lnTo>
                      <a:pt x="187" y="63"/>
                    </a:lnTo>
                    <a:lnTo>
                      <a:pt x="164" y="63"/>
                    </a:lnTo>
                    <a:lnTo>
                      <a:pt x="146" y="63"/>
                    </a:lnTo>
                    <a:lnTo>
                      <a:pt x="128" y="63"/>
                    </a:lnTo>
                    <a:lnTo>
                      <a:pt x="109" y="63"/>
                    </a:lnTo>
                    <a:lnTo>
                      <a:pt x="91" y="66"/>
                    </a:lnTo>
                    <a:lnTo>
                      <a:pt x="77" y="69"/>
                    </a:lnTo>
                    <a:lnTo>
                      <a:pt x="59" y="69"/>
                    </a:lnTo>
                    <a:lnTo>
                      <a:pt x="45" y="69"/>
                    </a:lnTo>
                    <a:lnTo>
                      <a:pt x="32" y="69"/>
                    </a:lnTo>
                    <a:lnTo>
                      <a:pt x="23" y="69"/>
                    </a:lnTo>
                    <a:lnTo>
                      <a:pt x="0" y="69"/>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3" name="Freeform 217"/>
              <p:cNvSpPr>
                <a:spLocks/>
              </p:cNvSpPr>
              <p:nvPr>
                <p:custDataLst>
                  <p:tags r:id="rId48"/>
                </p:custDataLst>
              </p:nvPr>
            </p:nvSpPr>
            <p:spPr bwMode="gray">
              <a:xfrm>
                <a:off x="2328" y="1914"/>
                <a:ext cx="193" cy="794"/>
              </a:xfrm>
              <a:custGeom>
                <a:avLst/>
                <a:gdLst>
                  <a:gd name="T0" fmla="*/ 0 w 188"/>
                  <a:gd name="T1" fmla="*/ 291 h 869"/>
                  <a:gd name="T2" fmla="*/ 31 w 188"/>
                  <a:gd name="T3" fmla="*/ 293 h 869"/>
                  <a:gd name="T4" fmla="*/ 49 w 188"/>
                  <a:gd name="T5" fmla="*/ 294 h 869"/>
                  <a:gd name="T6" fmla="*/ 88 w 188"/>
                  <a:gd name="T7" fmla="*/ 294 h 869"/>
                  <a:gd name="T8" fmla="*/ 113 w 188"/>
                  <a:gd name="T9" fmla="*/ 294 h 869"/>
                  <a:gd name="T10" fmla="*/ 144 w 188"/>
                  <a:gd name="T11" fmla="*/ 294 h 869"/>
                  <a:gd name="T12" fmla="*/ 175 w 188"/>
                  <a:gd name="T13" fmla="*/ 291 h 869"/>
                  <a:gd name="T14" fmla="*/ 175 w 188"/>
                  <a:gd name="T15" fmla="*/ 287 h 869"/>
                  <a:gd name="T16" fmla="*/ 175 w 188"/>
                  <a:gd name="T17" fmla="*/ 285 h 869"/>
                  <a:gd name="T18" fmla="*/ 183 w 188"/>
                  <a:gd name="T19" fmla="*/ 278 h 869"/>
                  <a:gd name="T20" fmla="*/ 183 w 188"/>
                  <a:gd name="T21" fmla="*/ 272 h 869"/>
                  <a:gd name="T22" fmla="*/ 183 w 188"/>
                  <a:gd name="T23" fmla="*/ 266 h 869"/>
                  <a:gd name="T24" fmla="*/ 188 w 188"/>
                  <a:gd name="T25" fmla="*/ 257 h 869"/>
                  <a:gd name="T26" fmla="*/ 188 w 188"/>
                  <a:gd name="T27" fmla="*/ 249 h 869"/>
                  <a:gd name="T28" fmla="*/ 188 w 188"/>
                  <a:gd name="T29" fmla="*/ 239 h 869"/>
                  <a:gd name="T30" fmla="*/ 195 w 188"/>
                  <a:gd name="T31" fmla="*/ 229 h 869"/>
                  <a:gd name="T32" fmla="*/ 195 w 188"/>
                  <a:gd name="T33" fmla="*/ 219 h 869"/>
                  <a:gd name="T34" fmla="*/ 201 w 188"/>
                  <a:gd name="T35" fmla="*/ 208 h 869"/>
                  <a:gd name="T36" fmla="*/ 201 w 188"/>
                  <a:gd name="T37" fmla="*/ 198 h 869"/>
                  <a:gd name="T38" fmla="*/ 201 w 188"/>
                  <a:gd name="T39" fmla="*/ 187 h 869"/>
                  <a:gd name="T40" fmla="*/ 201 w 188"/>
                  <a:gd name="T41" fmla="*/ 175 h 869"/>
                  <a:gd name="T42" fmla="*/ 213 w 188"/>
                  <a:gd name="T43" fmla="*/ 164 h 869"/>
                  <a:gd name="T44" fmla="*/ 213 w 188"/>
                  <a:gd name="T45" fmla="*/ 151 h 869"/>
                  <a:gd name="T46" fmla="*/ 219 w 188"/>
                  <a:gd name="T47" fmla="*/ 138 h 869"/>
                  <a:gd name="T48" fmla="*/ 219 w 188"/>
                  <a:gd name="T49" fmla="*/ 127 h 869"/>
                  <a:gd name="T50" fmla="*/ 219 w 188"/>
                  <a:gd name="T51" fmla="*/ 117 h 869"/>
                  <a:gd name="T52" fmla="*/ 226 w 188"/>
                  <a:gd name="T53" fmla="*/ 105 h 869"/>
                  <a:gd name="T54" fmla="*/ 226 w 188"/>
                  <a:gd name="T55" fmla="*/ 95 h 869"/>
                  <a:gd name="T56" fmla="*/ 232 w 188"/>
                  <a:gd name="T57" fmla="*/ 84 h 869"/>
                  <a:gd name="T58" fmla="*/ 232 w 188"/>
                  <a:gd name="T59" fmla="*/ 75 h 869"/>
                  <a:gd name="T60" fmla="*/ 232 w 188"/>
                  <a:gd name="T61" fmla="*/ 65 h 869"/>
                  <a:gd name="T62" fmla="*/ 239 w 188"/>
                  <a:gd name="T63" fmla="*/ 58 h 869"/>
                  <a:gd name="T64" fmla="*/ 239 w 188"/>
                  <a:gd name="T65" fmla="*/ 49 h 869"/>
                  <a:gd name="T66" fmla="*/ 245 w 188"/>
                  <a:gd name="T67" fmla="*/ 44 h 869"/>
                  <a:gd name="T68" fmla="*/ 250 w 188"/>
                  <a:gd name="T69" fmla="*/ 38 h 869"/>
                  <a:gd name="T70" fmla="*/ 250 w 188"/>
                  <a:gd name="T71" fmla="*/ 35 h 869"/>
                  <a:gd name="T72" fmla="*/ 257 w 188"/>
                  <a:gd name="T73" fmla="*/ 31 h 869"/>
                  <a:gd name="T74" fmla="*/ 257 w 188"/>
                  <a:gd name="T75" fmla="*/ 24 h 869"/>
                  <a:gd name="T76" fmla="*/ 239 w 188"/>
                  <a:gd name="T77" fmla="*/ 18 h 869"/>
                  <a:gd name="T78" fmla="*/ 206 w 188"/>
                  <a:gd name="T79" fmla="*/ 14 h 869"/>
                  <a:gd name="T80" fmla="*/ 175 w 188"/>
                  <a:gd name="T81" fmla="*/ 10 h 869"/>
                  <a:gd name="T82" fmla="*/ 138 w 188"/>
                  <a:gd name="T83" fmla="*/ 5 h 869"/>
                  <a:gd name="T84" fmla="*/ 106 w 188"/>
                  <a:gd name="T85" fmla="*/ 5 h 869"/>
                  <a:gd name="T86" fmla="*/ 77 w 188"/>
                  <a:gd name="T87" fmla="*/ 0 h 86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8"/>
                  <a:gd name="T133" fmla="*/ 0 h 869"/>
                  <a:gd name="T134" fmla="*/ 188 w 188"/>
                  <a:gd name="T135" fmla="*/ 869 h 86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8" h="869">
                    <a:moveTo>
                      <a:pt x="55" y="0"/>
                    </a:moveTo>
                    <a:lnTo>
                      <a:pt x="0" y="860"/>
                    </a:lnTo>
                    <a:lnTo>
                      <a:pt x="9" y="860"/>
                    </a:lnTo>
                    <a:lnTo>
                      <a:pt x="19" y="863"/>
                    </a:lnTo>
                    <a:lnTo>
                      <a:pt x="28" y="863"/>
                    </a:lnTo>
                    <a:lnTo>
                      <a:pt x="37" y="866"/>
                    </a:lnTo>
                    <a:lnTo>
                      <a:pt x="51" y="866"/>
                    </a:lnTo>
                    <a:lnTo>
                      <a:pt x="64" y="869"/>
                    </a:lnTo>
                    <a:lnTo>
                      <a:pt x="69" y="869"/>
                    </a:lnTo>
                    <a:lnTo>
                      <a:pt x="83" y="869"/>
                    </a:lnTo>
                    <a:lnTo>
                      <a:pt x="92" y="869"/>
                    </a:lnTo>
                    <a:lnTo>
                      <a:pt x="105" y="869"/>
                    </a:lnTo>
                    <a:lnTo>
                      <a:pt x="119" y="866"/>
                    </a:lnTo>
                    <a:lnTo>
                      <a:pt x="128" y="860"/>
                    </a:lnTo>
                    <a:lnTo>
                      <a:pt x="128" y="857"/>
                    </a:lnTo>
                    <a:lnTo>
                      <a:pt x="128" y="849"/>
                    </a:lnTo>
                    <a:lnTo>
                      <a:pt x="128" y="843"/>
                    </a:lnTo>
                    <a:lnTo>
                      <a:pt x="128" y="838"/>
                    </a:lnTo>
                    <a:lnTo>
                      <a:pt x="128" y="829"/>
                    </a:lnTo>
                    <a:lnTo>
                      <a:pt x="133" y="823"/>
                    </a:lnTo>
                    <a:lnTo>
                      <a:pt x="133" y="812"/>
                    </a:lnTo>
                    <a:lnTo>
                      <a:pt x="133" y="803"/>
                    </a:lnTo>
                    <a:lnTo>
                      <a:pt x="133" y="795"/>
                    </a:lnTo>
                    <a:lnTo>
                      <a:pt x="133" y="786"/>
                    </a:lnTo>
                    <a:lnTo>
                      <a:pt x="133" y="775"/>
                    </a:lnTo>
                    <a:lnTo>
                      <a:pt x="137" y="761"/>
                    </a:lnTo>
                    <a:lnTo>
                      <a:pt x="137" y="749"/>
                    </a:lnTo>
                    <a:lnTo>
                      <a:pt x="137" y="738"/>
                    </a:lnTo>
                    <a:lnTo>
                      <a:pt x="137" y="724"/>
                    </a:lnTo>
                    <a:lnTo>
                      <a:pt x="137" y="709"/>
                    </a:lnTo>
                    <a:lnTo>
                      <a:pt x="137" y="695"/>
                    </a:lnTo>
                    <a:lnTo>
                      <a:pt x="142" y="678"/>
                    </a:lnTo>
                    <a:lnTo>
                      <a:pt x="142" y="664"/>
                    </a:lnTo>
                    <a:lnTo>
                      <a:pt x="142" y="650"/>
                    </a:lnTo>
                    <a:lnTo>
                      <a:pt x="142" y="635"/>
                    </a:lnTo>
                    <a:lnTo>
                      <a:pt x="147" y="618"/>
                    </a:lnTo>
                    <a:lnTo>
                      <a:pt x="147" y="601"/>
                    </a:lnTo>
                    <a:lnTo>
                      <a:pt x="147" y="584"/>
                    </a:lnTo>
                    <a:lnTo>
                      <a:pt x="147" y="567"/>
                    </a:lnTo>
                    <a:lnTo>
                      <a:pt x="147" y="550"/>
                    </a:lnTo>
                    <a:lnTo>
                      <a:pt x="147" y="533"/>
                    </a:lnTo>
                    <a:lnTo>
                      <a:pt x="147" y="519"/>
                    </a:lnTo>
                    <a:lnTo>
                      <a:pt x="151" y="499"/>
                    </a:lnTo>
                    <a:lnTo>
                      <a:pt x="156" y="482"/>
                    </a:lnTo>
                    <a:lnTo>
                      <a:pt x="156" y="464"/>
                    </a:lnTo>
                    <a:lnTo>
                      <a:pt x="156" y="447"/>
                    </a:lnTo>
                    <a:lnTo>
                      <a:pt x="156" y="430"/>
                    </a:lnTo>
                    <a:lnTo>
                      <a:pt x="160" y="410"/>
                    </a:lnTo>
                    <a:lnTo>
                      <a:pt x="160" y="396"/>
                    </a:lnTo>
                    <a:lnTo>
                      <a:pt x="160" y="376"/>
                    </a:lnTo>
                    <a:lnTo>
                      <a:pt x="160" y="362"/>
                    </a:lnTo>
                    <a:lnTo>
                      <a:pt x="160" y="345"/>
                    </a:lnTo>
                    <a:lnTo>
                      <a:pt x="160" y="328"/>
                    </a:lnTo>
                    <a:lnTo>
                      <a:pt x="165" y="311"/>
                    </a:lnTo>
                    <a:lnTo>
                      <a:pt x="165" y="294"/>
                    </a:lnTo>
                    <a:lnTo>
                      <a:pt x="165" y="282"/>
                    </a:lnTo>
                    <a:lnTo>
                      <a:pt x="165" y="265"/>
                    </a:lnTo>
                    <a:lnTo>
                      <a:pt x="169" y="251"/>
                    </a:lnTo>
                    <a:lnTo>
                      <a:pt x="169" y="237"/>
                    </a:lnTo>
                    <a:lnTo>
                      <a:pt x="169" y="222"/>
                    </a:lnTo>
                    <a:lnTo>
                      <a:pt x="169" y="208"/>
                    </a:lnTo>
                    <a:lnTo>
                      <a:pt x="169" y="194"/>
                    </a:lnTo>
                    <a:lnTo>
                      <a:pt x="174" y="183"/>
                    </a:lnTo>
                    <a:lnTo>
                      <a:pt x="174" y="171"/>
                    </a:lnTo>
                    <a:lnTo>
                      <a:pt x="174" y="160"/>
                    </a:lnTo>
                    <a:lnTo>
                      <a:pt x="174" y="148"/>
                    </a:lnTo>
                    <a:lnTo>
                      <a:pt x="179" y="140"/>
                    </a:lnTo>
                    <a:lnTo>
                      <a:pt x="179" y="131"/>
                    </a:lnTo>
                    <a:lnTo>
                      <a:pt x="179" y="123"/>
                    </a:lnTo>
                    <a:lnTo>
                      <a:pt x="183" y="114"/>
                    </a:lnTo>
                    <a:lnTo>
                      <a:pt x="183" y="106"/>
                    </a:lnTo>
                    <a:lnTo>
                      <a:pt x="183" y="103"/>
                    </a:lnTo>
                    <a:lnTo>
                      <a:pt x="183" y="91"/>
                    </a:lnTo>
                    <a:lnTo>
                      <a:pt x="188" y="89"/>
                    </a:lnTo>
                    <a:lnTo>
                      <a:pt x="188" y="77"/>
                    </a:lnTo>
                    <a:lnTo>
                      <a:pt x="188" y="69"/>
                    </a:lnTo>
                    <a:lnTo>
                      <a:pt x="179" y="60"/>
                    </a:lnTo>
                    <a:lnTo>
                      <a:pt x="174" y="54"/>
                    </a:lnTo>
                    <a:lnTo>
                      <a:pt x="160" y="46"/>
                    </a:lnTo>
                    <a:lnTo>
                      <a:pt x="151" y="40"/>
                    </a:lnTo>
                    <a:lnTo>
                      <a:pt x="137" y="35"/>
                    </a:lnTo>
                    <a:lnTo>
                      <a:pt x="128" y="29"/>
                    </a:lnTo>
                    <a:lnTo>
                      <a:pt x="115" y="20"/>
                    </a:lnTo>
                    <a:lnTo>
                      <a:pt x="101" y="15"/>
                    </a:lnTo>
                    <a:lnTo>
                      <a:pt x="87" y="12"/>
                    </a:lnTo>
                    <a:lnTo>
                      <a:pt x="78" y="9"/>
                    </a:lnTo>
                    <a:lnTo>
                      <a:pt x="60" y="3"/>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4" name="Freeform 218"/>
              <p:cNvSpPr>
                <a:spLocks/>
              </p:cNvSpPr>
              <p:nvPr>
                <p:custDataLst>
                  <p:tags r:id="rId49"/>
                </p:custDataLst>
              </p:nvPr>
            </p:nvSpPr>
            <p:spPr bwMode="gray">
              <a:xfrm>
                <a:off x="3443" y="1961"/>
                <a:ext cx="188" cy="716"/>
              </a:xfrm>
              <a:custGeom>
                <a:avLst/>
                <a:gdLst>
                  <a:gd name="T0" fmla="*/ 190 w 183"/>
                  <a:gd name="T1" fmla="*/ 5 h 783"/>
                  <a:gd name="T2" fmla="*/ 196 w 183"/>
                  <a:gd name="T3" fmla="*/ 14 h 783"/>
                  <a:gd name="T4" fmla="*/ 208 w 183"/>
                  <a:gd name="T5" fmla="*/ 24 h 783"/>
                  <a:gd name="T6" fmla="*/ 208 w 183"/>
                  <a:gd name="T7" fmla="*/ 37 h 783"/>
                  <a:gd name="T8" fmla="*/ 221 w 183"/>
                  <a:gd name="T9" fmla="*/ 51 h 783"/>
                  <a:gd name="T10" fmla="*/ 229 w 183"/>
                  <a:gd name="T11" fmla="*/ 65 h 783"/>
                  <a:gd name="T12" fmla="*/ 234 w 183"/>
                  <a:gd name="T13" fmla="*/ 83 h 783"/>
                  <a:gd name="T14" fmla="*/ 234 w 183"/>
                  <a:gd name="T15" fmla="*/ 100 h 783"/>
                  <a:gd name="T16" fmla="*/ 240 w 183"/>
                  <a:gd name="T17" fmla="*/ 116 h 783"/>
                  <a:gd name="T18" fmla="*/ 246 w 183"/>
                  <a:gd name="T19" fmla="*/ 134 h 783"/>
                  <a:gd name="T20" fmla="*/ 253 w 183"/>
                  <a:gd name="T21" fmla="*/ 152 h 783"/>
                  <a:gd name="T22" fmla="*/ 253 w 183"/>
                  <a:gd name="T23" fmla="*/ 167 h 783"/>
                  <a:gd name="T24" fmla="*/ 253 w 183"/>
                  <a:gd name="T25" fmla="*/ 183 h 783"/>
                  <a:gd name="T26" fmla="*/ 253 w 183"/>
                  <a:gd name="T27" fmla="*/ 199 h 783"/>
                  <a:gd name="T28" fmla="*/ 253 w 183"/>
                  <a:gd name="T29" fmla="*/ 214 h 783"/>
                  <a:gd name="T30" fmla="*/ 253 w 183"/>
                  <a:gd name="T31" fmla="*/ 229 h 783"/>
                  <a:gd name="T32" fmla="*/ 253 w 183"/>
                  <a:gd name="T33" fmla="*/ 240 h 783"/>
                  <a:gd name="T34" fmla="*/ 253 w 183"/>
                  <a:gd name="T35" fmla="*/ 250 h 783"/>
                  <a:gd name="T36" fmla="*/ 253 w 183"/>
                  <a:gd name="T37" fmla="*/ 257 h 783"/>
                  <a:gd name="T38" fmla="*/ 246 w 183"/>
                  <a:gd name="T39" fmla="*/ 264 h 783"/>
                  <a:gd name="T40" fmla="*/ 240 w 183"/>
                  <a:gd name="T41" fmla="*/ 268 h 783"/>
                  <a:gd name="T42" fmla="*/ 177 w 183"/>
                  <a:gd name="T43" fmla="*/ 265 h 783"/>
                  <a:gd name="T44" fmla="*/ 107 w 183"/>
                  <a:gd name="T45" fmla="*/ 265 h 783"/>
                  <a:gd name="T46" fmla="*/ 88 w 183"/>
                  <a:gd name="T47" fmla="*/ 265 h 783"/>
                  <a:gd name="T48" fmla="*/ 88 w 183"/>
                  <a:gd name="T49" fmla="*/ 258 h 783"/>
                  <a:gd name="T50" fmla="*/ 88 w 183"/>
                  <a:gd name="T51" fmla="*/ 250 h 783"/>
                  <a:gd name="T52" fmla="*/ 88 w 183"/>
                  <a:gd name="T53" fmla="*/ 242 h 783"/>
                  <a:gd name="T54" fmla="*/ 83 w 183"/>
                  <a:gd name="T55" fmla="*/ 233 h 783"/>
                  <a:gd name="T56" fmla="*/ 83 w 183"/>
                  <a:gd name="T57" fmla="*/ 220 h 783"/>
                  <a:gd name="T58" fmla="*/ 83 w 183"/>
                  <a:gd name="T59" fmla="*/ 209 h 783"/>
                  <a:gd name="T60" fmla="*/ 79 w 183"/>
                  <a:gd name="T61" fmla="*/ 196 h 783"/>
                  <a:gd name="T62" fmla="*/ 69 w 183"/>
                  <a:gd name="T63" fmla="*/ 181 h 783"/>
                  <a:gd name="T64" fmla="*/ 69 w 183"/>
                  <a:gd name="T65" fmla="*/ 167 h 783"/>
                  <a:gd name="T66" fmla="*/ 69 w 183"/>
                  <a:gd name="T67" fmla="*/ 153 h 783"/>
                  <a:gd name="T68" fmla="*/ 61 w 183"/>
                  <a:gd name="T69" fmla="*/ 139 h 783"/>
                  <a:gd name="T70" fmla="*/ 61 w 183"/>
                  <a:gd name="T71" fmla="*/ 126 h 783"/>
                  <a:gd name="T72" fmla="*/ 61 w 183"/>
                  <a:gd name="T73" fmla="*/ 112 h 783"/>
                  <a:gd name="T74" fmla="*/ 61 w 183"/>
                  <a:gd name="T75" fmla="*/ 100 h 783"/>
                  <a:gd name="T76" fmla="*/ 61 w 183"/>
                  <a:gd name="T77" fmla="*/ 87 h 783"/>
                  <a:gd name="T78" fmla="*/ 61 w 183"/>
                  <a:gd name="T79" fmla="*/ 78 h 783"/>
                  <a:gd name="T80" fmla="*/ 61 w 183"/>
                  <a:gd name="T81" fmla="*/ 68 h 783"/>
                  <a:gd name="T82" fmla="*/ 61 w 183"/>
                  <a:gd name="T83" fmla="*/ 59 h 783"/>
                  <a:gd name="T84" fmla="*/ 61 w 183"/>
                  <a:gd name="T85" fmla="*/ 53 h 783"/>
                  <a:gd name="T86" fmla="*/ 53 w 183"/>
                  <a:gd name="T87" fmla="*/ 45 h 783"/>
                  <a:gd name="T88" fmla="*/ 49 w 183"/>
                  <a:gd name="T89" fmla="*/ 34 h 783"/>
                  <a:gd name="T90" fmla="*/ 39 w 183"/>
                  <a:gd name="T91" fmla="*/ 24 h 783"/>
                  <a:gd name="T92" fmla="*/ 14 w 183"/>
                  <a:gd name="T93" fmla="*/ 16 h 783"/>
                  <a:gd name="T94" fmla="*/ 0 w 183"/>
                  <a:gd name="T95" fmla="*/ 11 h 783"/>
                  <a:gd name="T96" fmla="*/ 185 w 183"/>
                  <a:gd name="T97" fmla="*/ 0 h 7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
                  <a:gd name="T148" fmla="*/ 0 h 783"/>
                  <a:gd name="T149" fmla="*/ 183 w 183"/>
                  <a:gd name="T150" fmla="*/ 783 h 7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 h="783">
                    <a:moveTo>
                      <a:pt x="133" y="0"/>
                    </a:moveTo>
                    <a:lnTo>
                      <a:pt x="133" y="5"/>
                    </a:lnTo>
                    <a:lnTo>
                      <a:pt x="137" y="11"/>
                    </a:lnTo>
                    <a:lnTo>
                      <a:pt x="137" y="20"/>
                    </a:lnTo>
                    <a:lnTo>
                      <a:pt x="142" y="28"/>
                    </a:lnTo>
                    <a:lnTo>
                      <a:pt x="142" y="39"/>
                    </a:lnTo>
                    <a:lnTo>
                      <a:pt x="146" y="48"/>
                    </a:lnTo>
                    <a:lnTo>
                      <a:pt x="146" y="59"/>
                    </a:lnTo>
                    <a:lnTo>
                      <a:pt x="151" y="71"/>
                    </a:lnTo>
                    <a:lnTo>
                      <a:pt x="151" y="82"/>
                    </a:lnTo>
                    <a:lnTo>
                      <a:pt x="151" y="94"/>
                    </a:lnTo>
                    <a:lnTo>
                      <a:pt x="151" y="108"/>
                    </a:lnTo>
                    <a:lnTo>
                      <a:pt x="155" y="122"/>
                    </a:lnTo>
                    <a:lnTo>
                      <a:pt x="155" y="136"/>
                    </a:lnTo>
                    <a:lnTo>
                      <a:pt x="160" y="151"/>
                    </a:lnTo>
                    <a:lnTo>
                      <a:pt x="160" y="165"/>
                    </a:lnTo>
                    <a:lnTo>
                      <a:pt x="165" y="179"/>
                    </a:lnTo>
                    <a:lnTo>
                      <a:pt x="165" y="193"/>
                    </a:lnTo>
                    <a:lnTo>
                      <a:pt x="165" y="207"/>
                    </a:lnTo>
                    <a:lnTo>
                      <a:pt x="169" y="225"/>
                    </a:lnTo>
                    <a:lnTo>
                      <a:pt x="169" y="242"/>
                    </a:lnTo>
                    <a:lnTo>
                      <a:pt x="169" y="256"/>
                    </a:lnTo>
                    <a:lnTo>
                      <a:pt x="169" y="273"/>
                    </a:lnTo>
                    <a:lnTo>
                      <a:pt x="169" y="290"/>
                    </a:lnTo>
                    <a:lnTo>
                      <a:pt x="174" y="307"/>
                    </a:lnTo>
                    <a:lnTo>
                      <a:pt x="174" y="324"/>
                    </a:lnTo>
                    <a:lnTo>
                      <a:pt x="174" y="338"/>
                    </a:lnTo>
                    <a:lnTo>
                      <a:pt x="174" y="356"/>
                    </a:lnTo>
                    <a:lnTo>
                      <a:pt x="178" y="373"/>
                    </a:lnTo>
                    <a:lnTo>
                      <a:pt x="178" y="390"/>
                    </a:lnTo>
                    <a:lnTo>
                      <a:pt x="178" y="407"/>
                    </a:lnTo>
                    <a:lnTo>
                      <a:pt x="183" y="424"/>
                    </a:lnTo>
                    <a:lnTo>
                      <a:pt x="183" y="444"/>
                    </a:lnTo>
                    <a:lnTo>
                      <a:pt x="183" y="458"/>
                    </a:lnTo>
                    <a:lnTo>
                      <a:pt x="183" y="475"/>
                    </a:lnTo>
                    <a:lnTo>
                      <a:pt x="183" y="489"/>
                    </a:lnTo>
                    <a:lnTo>
                      <a:pt x="183" y="509"/>
                    </a:lnTo>
                    <a:lnTo>
                      <a:pt x="183" y="521"/>
                    </a:lnTo>
                    <a:lnTo>
                      <a:pt x="183" y="538"/>
                    </a:lnTo>
                    <a:lnTo>
                      <a:pt x="183" y="555"/>
                    </a:lnTo>
                    <a:lnTo>
                      <a:pt x="183" y="569"/>
                    </a:lnTo>
                    <a:lnTo>
                      <a:pt x="183" y="583"/>
                    </a:lnTo>
                    <a:lnTo>
                      <a:pt x="183" y="598"/>
                    </a:lnTo>
                    <a:lnTo>
                      <a:pt x="183" y="612"/>
                    </a:lnTo>
                    <a:lnTo>
                      <a:pt x="183" y="626"/>
                    </a:lnTo>
                    <a:lnTo>
                      <a:pt x="183" y="637"/>
                    </a:lnTo>
                    <a:lnTo>
                      <a:pt x="183" y="655"/>
                    </a:lnTo>
                    <a:lnTo>
                      <a:pt x="183" y="666"/>
                    </a:lnTo>
                    <a:lnTo>
                      <a:pt x="183" y="680"/>
                    </a:lnTo>
                    <a:lnTo>
                      <a:pt x="183" y="689"/>
                    </a:lnTo>
                    <a:lnTo>
                      <a:pt x="183" y="700"/>
                    </a:lnTo>
                    <a:lnTo>
                      <a:pt x="183" y="709"/>
                    </a:lnTo>
                    <a:lnTo>
                      <a:pt x="183" y="720"/>
                    </a:lnTo>
                    <a:lnTo>
                      <a:pt x="183" y="729"/>
                    </a:lnTo>
                    <a:lnTo>
                      <a:pt x="183" y="737"/>
                    </a:lnTo>
                    <a:lnTo>
                      <a:pt x="183" y="746"/>
                    </a:lnTo>
                    <a:lnTo>
                      <a:pt x="183" y="751"/>
                    </a:lnTo>
                    <a:lnTo>
                      <a:pt x="178" y="760"/>
                    </a:lnTo>
                    <a:lnTo>
                      <a:pt x="178" y="766"/>
                    </a:lnTo>
                    <a:lnTo>
                      <a:pt x="178" y="771"/>
                    </a:lnTo>
                    <a:lnTo>
                      <a:pt x="178" y="774"/>
                    </a:lnTo>
                    <a:lnTo>
                      <a:pt x="174" y="780"/>
                    </a:lnTo>
                    <a:lnTo>
                      <a:pt x="174" y="783"/>
                    </a:lnTo>
                    <a:lnTo>
                      <a:pt x="165" y="780"/>
                    </a:lnTo>
                    <a:lnTo>
                      <a:pt x="151" y="780"/>
                    </a:lnTo>
                    <a:lnTo>
                      <a:pt x="128" y="780"/>
                    </a:lnTo>
                    <a:lnTo>
                      <a:pt x="110" y="780"/>
                    </a:lnTo>
                    <a:lnTo>
                      <a:pt x="96" y="777"/>
                    </a:lnTo>
                    <a:lnTo>
                      <a:pt x="78" y="777"/>
                    </a:lnTo>
                    <a:lnTo>
                      <a:pt x="69" y="777"/>
                    </a:lnTo>
                    <a:lnTo>
                      <a:pt x="64" y="777"/>
                    </a:lnTo>
                    <a:lnTo>
                      <a:pt x="64" y="771"/>
                    </a:lnTo>
                    <a:lnTo>
                      <a:pt x="64" y="763"/>
                    </a:lnTo>
                    <a:lnTo>
                      <a:pt x="64" y="754"/>
                    </a:lnTo>
                    <a:lnTo>
                      <a:pt x="64" y="749"/>
                    </a:lnTo>
                    <a:lnTo>
                      <a:pt x="64" y="740"/>
                    </a:lnTo>
                    <a:lnTo>
                      <a:pt x="64" y="734"/>
                    </a:lnTo>
                    <a:lnTo>
                      <a:pt x="64" y="726"/>
                    </a:lnTo>
                    <a:lnTo>
                      <a:pt x="64" y="714"/>
                    </a:lnTo>
                    <a:lnTo>
                      <a:pt x="64" y="709"/>
                    </a:lnTo>
                    <a:lnTo>
                      <a:pt x="64" y="700"/>
                    </a:lnTo>
                    <a:lnTo>
                      <a:pt x="64" y="692"/>
                    </a:lnTo>
                    <a:lnTo>
                      <a:pt x="59" y="680"/>
                    </a:lnTo>
                    <a:lnTo>
                      <a:pt x="59" y="669"/>
                    </a:lnTo>
                    <a:lnTo>
                      <a:pt x="59" y="657"/>
                    </a:lnTo>
                    <a:lnTo>
                      <a:pt x="59" y="646"/>
                    </a:lnTo>
                    <a:lnTo>
                      <a:pt x="59" y="632"/>
                    </a:lnTo>
                    <a:lnTo>
                      <a:pt x="59" y="620"/>
                    </a:lnTo>
                    <a:lnTo>
                      <a:pt x="59" y="609"/>
                    </a:lnTo>
                    <a:lnTo>
                      <a:pt x="59" y="598"/>
                    </a:lnTo>
                    <a:lnTo>
                      <a:pt x="55" y="583"/>
                    </a:lnTo>
                    <a:lnTo>
                      <a:pt x="55" y="572"/>
                    </a:lnTo>
                    <a:lnTo>
                      <a:pt x="50" y="558"/>
                    </a:lnTo>
                    <a:lnTo>
                      <a:pt x="50" y="543"/>
                    </a:lnTo>
                    <a:lnTo>
                      <a:pt x="50" y="529"/>
                    </a:lnTo>
                    <a:lnTo>
                      <a:pt x="50" y="521"/>
                    </a:lnTo>
                    <a:lnTo>
                      <a:pt x="50" y="506"/>
                    </a:lnTo>
                    <a:lnTo>
                      <a:pt x="50" y="492"/>
                    </a:lnTo>
                    <a:lnTo>
                      <a:pt x="50" y="478"/>
                    </a:lnTo>
                    <a:lnTo>
                      <a:pt x="50" y="464"/>
                    </a:lnTo>
                    <a:lnTo>
                      <a:pt x="50" y="450"/>
                    </a:lnTo>
                    <a:lnTo>
                      <a:pt x="50" y="435"/>
                    </a:lnTo>
                    <a:lnTo>
                      <a:pt x="46" y="421"/>
                    </a:lnTo>
                    <a:lnTo>
                      <a:pt x="46" y="407"/>
                    </a:lnTo>
                    <a:lnTo>
                      <a:pt x="46" y="393"/>
                    </a:lnTo>
                    <a:lnTo>
                      <a:pt x="46" y="381"/>
                    </a:lnTo>
                    <a:lnTo>
                      <a:pt x="46" y="367"/>
                    </a:lnTo>
                    <a:lnTo>
                      <a:pt x="46" y="353"/>
                    </a:lnTo>
                    <a:lnTo>
                      <a:pt x="46" y="338"/>
                    </a:lnTo>
                    <a:lnTo>
                      <a:pt x="46" y="327"/>
                    </a:lnTo>
                    <a:lnTo>
                      <a:pt x="46" y="313"/>
                    </a:lnTo>
                    <a:lnTo>
                      <a:pt x="46" y="301"/>
                    </a:lnTo>
                    <a:lnTo>
                      <a:pt x="46" y="290"/>
                    </a:lnTo>
                    <a:lnTo>
                      <a:pt x="46" y="279"/>
                    </a:lnTo>
                    <a:lnTo>
                      <a:pt x="46" y="267"/>
                    </a:lnTo>
                    <a:lnTo>
                      <a:pt x="46" y="256"/>
                    </a:lnTo>
                    <a:lnTo>
                      <a:pt x="46" y="244"/>
                    </a:lnTo>
                    <a:lnTo>
                      <a:pt x="46" y="233"/>
                    </a:lnTo>
                    <a:lnTo>
                      <a:pt x="46" y="225"/>
                    </a:lnTo>
                    <a:lnTo>
                      <a:pt x="46" y="213"/>
                    </a:lnTo>
                    <a:lnTo>
                      <a:pt x="46" y="207"/>
                    </a:lnTo>
                    <a:lnTo>
                      <a:pt x="46" y="199"/>
                    </a:lnTo>
                    <a:lnTo>
                      <a:pt x="46" y="188"/>
                    </a:lnTo>
                    <a:lnTo>
                      <a:pt x="46" y="182"/>
                    </a:lnTo>
                    <a:lnTo>
                      <a:pt x="46" y="176"/>
                    </a:lnTo>
                    <a:lnTo>
                      <a:pt x="46" y="170"/>
                    </a:lnTo>
                    <a:lnTo>
                      <a:pt x="46" y="159"/>
                    </a:lnTo>
                    <a:lnTo>
                      <a:pt x="46" y="153"/>
                    </a:lnTo>
                    <a:lnTo>
                      <a:pt x="41" y="145"/>
                    </a:lnTo>
                    <a:lnTo>
                      <a:pt x="41" y="136"/>
                    </a:lnTo>
                    <a:lnTo>
                      <a:pt x="41" y="131"/>
                    </a:lnTo>
                    <a:lnTo>
                      <a:pt x="41" y="125"/>
                    </a:lnTo>
                    <a:lnTo>
                      <a:pt x="41" y="113"/>
                    </a:lnTo>
                    <a:lnTo>
                      <a:pt x="37" y="102"/>
                    </a:lnTo>
                    <a:lnTo>
                      <a:pt x="32" y="91"/>
                    </a:lnTo>
                    <a:lnTo>
                      <a:pt x="27" y="79"/>
                    </a:lnTo>
                    <a:lnTo>
                      <a:pt x="27" y="71"/>
                    </a:lnTo>
                    <a:lnTo>
                      <a:pt x="23" y="62"/>
                    </a:lnTo>
                    <a:lnTo>
                      <a:pt x="18" y="54"/>
                    </a:lnTo>
                    <a:lnTo>
                      <a:pt x="14" y="48"/>
                    </a:lnTo>
                    <a:lnTo>
                      <a:pt x="9" y="39"/>
                    </a:lnTo>
                    <a:lnTo>
                      <a:pt x="5" y="37"/>
                    </a:lnTo>
                    <a:lnTo>
                      <a:pt x="0" y="31"/>
                    </a:lnTo>
                    <a:lnTo>
                      <a:pt x="0" y="28"/>
                    </a:lnTo>
                    <a:lnTo>
                      <a:pt x="13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5" name="Freeform 219"/>
              <p:cNvSpPr>
                <a:spLocks/>
              </p:cNvSpPr>
              <p:nvPr>
                <p:custDataLst>
                  <p:tags r:id="rId50"/>
                </p:custDataLst>
              </p:nvPr>
            </p:nvSpPr>
            <p:spPr bwMode="gray">
              <a:xfrm>
                <a:off x="1495" y="2448"/>
                <a:ext cx="168" cy="93"/>
              </a:xfrm>
              <a:custGeom>
                <a:avLst/>
                <a:gdLst>
                  <a:gd name="T0" fmla="*/ 44 w 164"/>
                  <a:gd name="T1" fmla="*/ 3 h 103"/>
                  <a:gd name="T2" fmla="*/ 35 w 164"/>
                  <a:gd name="T3" fmla="*/ 5 h 103"/>
                  <a:gd name="T4" fmla="*/ 14 w 164"/>
                  <a:gd name="T5" fmla="*/ 7 h 103"/>
                  <a:gd name="T6" fmla="*/ 9 w 164"/>
                  <a:gd name="T7" fmla="*/ 10 h 103"/>
                  <a:gd name="T8" fmla="*/ 4 w 164"/>
                  <a:gd name="T9" fmla="*/ 12 h 103"/>
                  <a:gd name="T10" fmla="*/ 0 w 164"/>
                  <a:gd name="T11" fmla="*/ 14 h 103"/>
                  <a:gd name="T12" fmla="*/ 0 w 164"/>
                  <a:gd name="T13" fmla="*/ 15 h 103"/>
                  <a:gd name="T14" fmla="*/ 0 w 164"/>
                  <a:gd name="T15" fmla="*/ 17 h 103"/>
                  <a:gd name="T16" fmla="*/ 4 w 164"/>
                  <a:gd name="T17" fmla="*/ 20 h 103"/>
                  <a:gd name="T18" fmla="*/ 4 w 164"/>
                  <a:gd name="T19" fmla="*/ 22 h 103"/>
                  <a:gd name="T20" fmla="*/ 14 w 164"/>
                  <a:gd name="T21" fmla="*/ 25 h 103"/>
                  <a:gd name="T22" fmla="*/ 35 w 164"/>
                  <a:gd name="T23" fmla="*/ 27 h 103"/>
                  <a:gd name="T24" fmla="*/ 44 w 164"/>
                  <a:gd name="T25" fmla="*/ 28 h 103"/>
                  <a:gd name="T26" fmla="*/ 58 w 164"/>
                  <a:gd name="T27" fmla="*/ 30 h 103"/>
                  <a:gd name="T28" fmla="*/ 80 w 164"/>
                  <a:gd name="T29" fmla="*/ 30 h 103"/>
                  <a:gd name="T30" fmla="*/ 97 w 164"/>
                  <a:gd name="T31" fmla="*/ 30 h 103"/>
                  <a:gd name="T32" fmla="*/ 121 w 164"/>
                  <a:gd name="T33" fmla="*/ 31 h 103"/>
                  <a:gd name="T34" fmla="*/ 141 w 164"/>
                  <a:gd name="T35" fmla="*/ 30 h 103"/>
                  <a:gd name="T36" fmla="*/ 152 w 164"/>
                  <a:gd name="T37" fmla="*/ 30 h 103"/>
                  <a:gd name="T38" fmla="*/ 164 w 164"/>
                  <a:gd name="T39" fmla="*/ 28 h 103"/>
                  <a:gd name="T40" fmla="*/ 182 w 164"/>
                  <a:gd name="T41" fmla="*/ 28 h 103"/>
                  <a:gd name="T42" fmla="*/ 202 w 164"/>
                  <a:gd name="T43" fmla="*/ 25 h 103"/>
                  <a:gd name="T44" fmla="*/ 207 w 164"/>
                  <a:gd name="T45" fmla="*/ 22 h 103"/>
                  <a:gd name="T46" fmla="*/ 213 w 164"/>
                  <a:gd name="T47" fmla="*/ 20 h 103"/>
                  <a:gd name="T48" fmla="*/ 218 w 164"/>
                  <a:gd name="T49" fmla="*/ 17 h 103"/>
                  <a:gd name="T50" fmla="*/ 213 w 164"/>
                  <a:gd name="T51" fmla="*/ 14 h 103"/>
                  <a:gd name="T52" fmla="*/ 213 w 164"/>
                  <a:gd name="T53" fmla="*/ 11 h 103"/>
                  <a:gd name="T54" fmla="*/ 207 w 164"/>
                  <a:gd name="T55" fmla="*/ 8 h 103"/>
                  <a:gd name="T56" fmla="*/ 202 w 164"/>
                  <a:gd name="T57" fmla="*/ 5 h 103"/>
                  <a:gd name="T58" fmla="*/ 182 w 164"/>
                  <a:gd name="T59" fmla="*/ 5 h 103"/>
                  <a:gd name="T60" fmla="*/ 158 w 164"/>
                  <a:gd name="T61" fmla="*/ 5 h 103"/>
                  <a:gd name="T62" fmla="*/ 146 w 164"/>
                  <a:gd name="T63" fmla="*/ 5 h 103"/>
                  <a:gd name="T64" fmla="*/ 134 w 164"/>
                  <a:gd name="T65" fmla="*/ 3 h 103"/>
                  <a:gd name="T66" fmla="*/ 121 w 164"/>
                  <a:gd name="T67" fmla="*/ 3 h 103"/>
                  <a:gd name="T68" fmla="*/ 107 w 164"/>
                  <a:gd name="T69" fmla="*/ 3 h 103"/>
                  <a:gd name="T70" fmla="*/ 80 w 164"/>
                  <a:gd name="T71" fmla="*/ 0 h 103"/>
                  <a:gd name="T72" fmla="*/ 58 w 164"/>
                  <a:gd name="T73" fmla="*/ 0 h 103"/>
                  <a:gd name="T74" fmla="*/ 48 w 164"/>
                  <a:gd name="T75" fmla="*/ 0 h 103"/>
                  <a:gd name="T76" fmla="*/ 44 w 164"/>
                  <a:gd name="T77" fmla="*/ 3 h 103"/>
                  <a:gd name="T78" fmla="*/ 44 w 164"/>
                  <a:gd name="T79" fmla="*/ 3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103"/>
                  <a:gd name="T122" fmla="*/ 164 w 164"/>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103">
                    <a:moveTo>
                      <a:pt x="32" y="3"/>
                    </a:moveTo>
                    <a:lnTo>
                      <a:pt x="23" y="11"/>
                    </a:lnTo>
                    <a:lnTo>
                      <a:pt x="14" y="23"/>
                    </a:lnTo>
                    <a:lnTo>
                      <a:pt x="9" y="31"/>
                    </a:lnTo>
                    <a:lnTo>
                      <a:pt x="4" y="40"/>
                    </a:lnTo>
                    <a:lnTo>
                      <a:pt x="0" y="46"/>
                    </a:lnTo>
                    <a:lnTo>
                      <a:pt x="0" y="51"/>
                    </a:lnTo>
                    <a:lnTo>
                      <a:pt x="0" y="57"/>
                    </a:lnTo>
                    <a:lnTo>
                      <a:pt x="4" y="66"/>
                    </a:lnTo>
                    <a:lnTo>
                      <a:pt x="4" y="74"/>
                    </a:lnTo>
                    <a:lnTo>
                      <a:pt x="14" y="86"/>
                    </a:lnTo>
                    <a:lnTo>
                      <a:pt x="23" y="91"/>
                    </a:lnTo>
                    <a:lnTo>
                      <a:pt x="32" y="97"/>
                    </a:lnTo>
                    <a:lnTo>
                      <a:pt x="46" y="100"/>
                    </a:lnTo>
                    <a:lnTo>
                      <a:pt x="59" y="100"/>
                    </a:lnTo>
                    <a:lnTo>
                      <a:pt x="73" y="100"/>
                    </a:lnTo>
                    <a:lnTo>
                      <a:pt x="91" y="103"/>
                    </a:lnTo>
                    <a:lnTo>
                      <a:pt x="105" y="100"/>
                    </a:lnTo>
                    <a:lnTo>
                      <a:pt x="114" y="100"/>
                    </a:lnTo>
                    <a:lnTo>
                      <a:pt x="123" y="94"/>
                    </a:lnTo>
                    <a:lnTo>
                      <a:pt x="137" y="94"/>
                    </a:lnTo>
                    <a:lnTo>
                      <a:pt x="151" y="86"/>
                    </a:lnTo>
                    <a:lnTo>
                      <a:pt x="155" y="74"/>
                    </a:lnTo>
                    <a:lnTo>
                      <a:pt x="160" y="66"/>
                    </a:lnTo>
                    <a:lnTo>
                      <a:pt x="164" y="57"/>
                    </a:lnTo>
                    <a:lnTo>
                      <a:pt x="160" y="46"/>
                    </a:lnTo>
                    <a:lnTo>
                      <a:pt x="160" y="34"/>
                    </a:lnTo>
                    <a:lnTo>
                      <a:pt x="155" y="26"/>
                    </a:lnTo>
                    <a:lnTo>
                      <a:pt x="151" y="20"/>
                    </a:lnTo>
                    <a:lnTo>
                      <a:pt x="137" y="9"/>
                    </a:lnTo>
                    <a:lnTo>
                      <a:pt x="119" y="9"/>
                    </a:lnTo>
                    <a:lnTo>
                      <a:pt x="110" y="6"/>
                    </a:lnTo>
                    <a:lnTo>
                      <a:pt x="100" y="3"/>
                    </a:lnTo>
                    <a:lnTo>
                      <a:pt x="91" y="3"/>
                    </a:lnTo>
                    <a:lnTo>
                      <a:pt x="82" y="3"/>
                    </a:lnTo>
                    <a:lnTo>
                      <a:pt x="59" y="0"/>
                    </a:lnTo>
                    <a:lnTo>
                      <a:pt x="46" y="0"/>
                    </a:lnTo>
                    <a:lnTo>
                      <a:pt x="36"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6" name="Freeform 220"/>
              <p:cNvSpPr>
                <a:spLocks/>
              </p:cNvSpPr>
              <p:nvPr>
                <p:custDataLst>
                  <p:tags r:id="rId51"/>
                </p:custDataLst>
              </p:nvPr>
            </p:nvSpPr>
            <p:spPr bwMode="gray">
              <a:xfrm>
                <a:off x="1382" y="1589"/>
                <a:ext cx="1064" cy="63"/>
              </a:xfrm>
              <a:custGeom>
                <a:avLst/>
                <a:gdLst>
                  <a:gd name="T0" fmla="*/ 116 w 1038"/>
                  <a:gd name="T1" fmla="*/ 5 h 69"/>
                  <a:gd name="T2" fmla="*/ 192 w 1038"/>
                  <a:gd name="T3" fmla="*/ 5 h 69"/>
                  <a:gd name="T4" fmla="*/ 270 w 1038"/>
                  <a:gd name="T5" fmla="*/ 5 h 69"/>
                  <a:gd name="T6" fmla="*/ 352 w 1038"/>
                  <a:gd name="T7" fmla="*/ 5 h 69"/>
                  <a:gd name="T8" fmla="*/ 437 w 1038"/>
                  <a:gd name="T9" fmla="*/ 8 h 69"/>
                  <a:gd name="T10" fmla="*/ 523 w 1038"/>
                  <a:gd name="T11" fmla="*/ 9 h 69"/>
                  <a:gd name="T12" fmla="*/ 611 w 1038"/>
                  <a:gd name="T13" fmla="*/ 10 h 69"/>
                  <a:gd name="T14" fmla="*/ 696 w 1038"/>
                  <a:gd name="T15" fmla="*/ 12 h 69"/>
                  <a:gd name="T16" fmla="*/ 782 w 1038"/>
                  <a:gd name="T17" fmla="*/ 12 h 69"/>
                  <a:gd name="T18" fmla="*/ 862 w 1038"/>
                  <a:gd name="T19" fmla="*/ 13 h 69"/>
                  <a:gd name="T20" fmla="*/ 947 w 1038"/>
                  <a:gd name="T21" fmla="*/ 15 h 69"/>
                  <a:gd name="T22" fmla="*/ 1014 w 1038"/>
                  <a:gd name="T23" fmla="*/ 15 h 69"/>
                  <a:gd name="T24" fmla="*/ 1088 w 1038"/>
                  <a:gd name="T25" fmla="*/ 15 h 69"/>
                  <a:gd name="T26" fmla="*/ 1157 w 1038"/>
                  <a:gd name="T27" fmla="*/ 15 h 69"/>
                  <a:gd name="T28" fmla="*/ 1218 w 1038"/>
                  <a:gd name="T29" fmla="*/ 16 h 69"/>
                  <a:gd name="T30" fmla="*/ 1267 w 1038"/>
                  <a:gd name="T31" fmla="*/ 16 h 69"/>
                  <a:gd name="T32" fmla="*/ 1310 w 1038"/>
                  <a:gd name="T33" fmla="*/ 16 h 69"/>
                  <a:gd name="T34" fmla="*/ 1359 w 1038"/>
                  <a:gd name="T35" fmla="*/ 16 h 69"/>
                  <a:gd name="T36" fmla="*/ 1396 w 1038"/>
                  <a:gd name="T37" fmla="*/ 18 h 69"/>
                  <a:gd name="T38" fmla="*/ 1383 w 1038"/>
                  <a:gd name="T39" fmla="*/ 18 h 69"/>
                  <a:gd name="T40" fmla="*/ 1335 w 1038"/>
                  <a:gd name="T41" fmla="*/ 18 h 69"/>
                  <a:gd name="T42" fmla="*/ 1280 w 1038"/>
                  <a:gd name="T43" fmla="*/ 19 h 69"/>
                  <a:gd name="T44" fmla="*/ 1199 w 1038"/>
                  <a:gd name="T45" fmla="*/ 20 h 69"/>
                  <a:gd name="T46" fmla="*/ 1143 w 1038"/>
                  <a:gd name="T47" fmla="*/ 20 h 69"/>
                  <a:gd name="T48" fmla="*/ 1101 w 1038"/>
                  <a:gd name="T49" fmla="*/ 20 h 69"/>
                  <a:gd name="T50" fmla="*/ 1053 w 1038"/>
                  <a:gd name="T51" fmla="*/ 22 h 69"/>
                  <a:gd name="T52" fmla="*/ 1004 w 1038"/>
                  <a:gd name="T53" fmla="*/ 22 h 69"/>
                  <a:gd name="T54" fmla="*/ 955 w 1038"/>
                  <a:gd name="T55" fmla="*/ 22 h 69"/>
                  <a:gd name="T56" fmla="*/ 897 w 1038"/>
                  <a:gd name="T57" fmla="*/ 24 h 69"/>
                  <a:gd name="T58" fmla="*/ 849 w 1038"/>
                  <a:gd name="T59" fmla="*/ 24 h 69"/>
                  <a:gd name="T60" fmla="*/ 800 w 1038"/>
                  <a:gd name="T61" fmla="*/ 24 h 69"/>
                  <a:gd name="T62" fmla="*/ 756 w 1038"/>
                  <a:gd name="T63" fmla="*/ 24 h 69"/>
                  <a:gd name="T64" fmla="*/ 708 w 1038"/>
                  <a:gd name="T65" fmla="*/ 24 h 69"/>
                  <a:gd name="T66" fmla="*/ 659 w 1038"/>
                  <a:gd name="T67" fmla="*/ 24 h 69"/>
                  <a:gd name="T68" fmla="*/ 615 w 1038"/>
                  <a:gd name="T69" fmla="*/ 22 h 69"/>
                  <a:gd name="T70" fmla="*/ 547 w 1038"/>
                  <a:gd name="T71" fmla="*/ 22 h 69"/>
                  <a:gd name="T72" fmla="*/ 504 w 1038"/>
                  <a:gd name="T73" fmla="*/ 20 h 69"/>
                  <a:gd name="T74" fmla="*/ 437 w 1038"/>
                  <a:gd name="T75" fmla="*/ 20 h 69"/>
                  <a:gd name="T76" fmla="*/ 363 w 1038"/>
                  <a:gd name="T77" fmla="*/ 18 h 69"/>
                  <a:gd name="T78" fmla="*/ 290 w 1038"/>
                  <a:gd name="T79" fmla="*/ 16 h 69"/>
                  <a:gd name="T80" fmla="*/ 221 w 1038"/>
                  <a:gd name="T81" fmla="*/ 15 h 69"/>
                  <a:gd name="T82" fmla="*/ 166 w 1038"/>
                  <a:gd name="T83" fmla="*/ 15 h 69"/>
                  <a:gd name="T84" fmla="*/ 109 w 1038"/>
                  <a:gd name="T85" fmla="*/ 13 h 69"/>
                  <a:gd name="T86" fmla="*/ 64 w 1038"/>
                  <a:gd name="T87" fmla="*/ 12 h 69"/>
                  <a:gd name="T88" fmla="*/ 18 w 1038"/>
                  <a:gd name="T89" fmla="*/ 11 h 69"/>
                  <a:gd name="T90" fmla="*/ 74 w 1038"/>
                  <a:gd name="T91" fmla="*/ 0 h 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8"/>
                  <a:gd name="T139" fmla="*/ 0 h 69"/>
                  <a:gd name="T140" fmla="*/ 1038 w 1038"/>
                  <a:gd name="T141" fmla="*/ 69 h 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8" h="69">
                    <a:moveTo>
                      <a:pt x="55" y="0"/>
                    </a:moveTo>
                    <a:lnTo>
                      <a:pt x="69" y="3"/>
                    </a:lnTo>
                    <a:lnTo>
                      <a:pt x="87" y="6"/>
                    </a:lnTo>
                    <a:lnTo>
                      <a:pt x="105" y="6"/>
                    </a:lnTo>
                    <a:lnTo>
                      <a:pt x="124" y="9"/>
                    </a:lnTo>
                    <a:lnTo>
                      <a:pt x="142" y="9"/>
                    </a:lnTo>
                    <a:lnTo>
                      <a:pt x="160" y="12"/>
                    </a:lnTo>
                    <a:lnTo>
                      <a:pt x="178" y="15"/>
                    </a:lnTo>
                    <a:lnTo>
                      <a:pt x="201" y="15"/>
                    </a:lnTo>
                    <a:lnTo>
                      <a:pt x="220" y="15"/>
                    </a:lnTo>
                    <a:lnTo>
                      <a:pt x="242" y="17"/>
                    </a:lnTo>
                    <a:lnTo>
                      <a:pt x="261" y="17"/>
                    </a:lnTo>
                    <a:lnTo>
                      <a:pt x="284" y="20"/>
                    </a:lnTo>
                    <a:lnTo>
                      <a:pt x="302" y="20"/>
                    </a:lnTo>
                    <a:lnTo>
                      <a:pt x="325" y="23"/>
                    </a:lnTo>
                    <a:lnTo>
                      <a:pt x="348" y="23"/>
                    </a:lnTo>
                    <a:lnTo>
                      <a:pt x="370" y="26"/>
                    </a:lnTo>
                    <a:lnTo>
                      <a:pt x="389" y="26"/>
                    </a:lnTo>
                    <a:lnTo>
                      <a:pt x="407" y="26"/>
                    </a:lnTo>
                    <a:lnTo>
                      <a:pt x="430" y="26"/>
                    </a:lnTo>
                    <a:lnTo>
                      <a:pt x="453" y="29"/>
                    </a:lnTo>
                    <a:lnTo>
                      <a:pt x="471" y="32"/>
                    </a:lnTo>
                    <a:lnTo>
                      <a:pt x="494" y="32"/>
                    </a:lnTo>
                    <a:lnTo>
                      <a:pt x="517" y="35"/>
                    </a:lnTo>
                    <a:lnTo>
                      <a:pt x="539" y="35"/>
                    </a:lnTo>
                    <a:lnTo>
                      <a:pt x="558" y="35"/>
                    </a:lnTo>
                    <a:lnTo>
                      <a:pt x="581" y="35"/>
                    </a:lnTo>
                    <a:lnTo>
                      <a:pt x="599" y="37"/>
                    </a:lnTo>
                    <a:lnTo>
                      <a:pt x="622" y="37"/>
                    </a:lnTo>
                    <a:lnTo>
                      <a:pt x="640" y="37"/>
                    </a:lnTo>
                    <a:lnTo>
                      <a:pt x="658" y="37"/>
                    </a:lnTo>
                    <a:lnTo>
                      <a:pt x="681" y="40"/>
                    </a:lnTo>
                    <a:lnTo>
                      <a:pt x="704" y="43"/>
                    </a:lnTo>
                    <a:lnTo>
                      <a:pt x="718" y="43"/>
                    </a:lnTo>
                    <a:lnTo>
                      <a:pt x="736" y="43"/>
                    </a:lnTo>
                    <a:lnTo>
                      <a:pt x="754" y="43"/>
                    </a:lnTo>
                    <a:lnTo>
                      <a:pt x="773" y="43"/>
                    </a:lnTo>
                    <a:lnTo>
                      <a:pt x="791" y="43"/>
                    </a:lnTo>
                    <a:lnTo>
                      <a:pt x="809" y="43"/>
                    </a:lnTo>
                    <a:lnTo>
                      <a:pt x="827" y="43"/>
                    </a:lnTo>
                    <a:lnTo>
                      <a:pt x="846" y="46"/>
                    </a:lnTo>
                    <a:lnTo>
                      <a:pt x="859" y="46"/>
                    </a:lnTo>
                    <a:lnTo>
                      <a:pt x="873" y="46"/>
                    </a:lnTo>
                    <a:lnTo>
                      <a:pt x="887" y="46"/>
                    </a:lnTo>
                    <a:lnTo>
                      <a:pt x="905" y="49"/>
                    </a:lnTo>
                    <a:lnTo>
                      <a:pt x="914" y="49"/>
                    </a:lnTo>
                    <a:lnTo>
                      <a:pt x="928" y="49"/>
                    </a:lnTo>
                    <a:lnTo>
                      <a:pt x="942" y="49"/>
                    </a:lnTo>
                    <a:lnTo>
                      <a:pt x="955" y="49"/>
                    </a:lnTo>
                    <a:lnTo>
                      <a:pt x="964" y="49"/>
                    </a:lnTo>
                    <a:lnTo>
                      <a:pt x="974" y="49"/>
                    </a:lnTo>
                    <a:lnTo>
                      <a:pt x="987" y="49"/>
                    </a:lnTo>
                    <a:lnTo>
                      <a:pt x="992" y="49"/>
                    </a:lnTo>
                    <a:lnTo>
                      <a:pt x="1010" y="49"/>
                    </a:lnTo>
                    <a:lnTo>
                      <a:pt x="1028" y="52"/>
                    </a:lnTo>
                    <a:lnTo>
                      <a:pt x="1033" y="52"/>
                    </a:lnTo>
                    <a:lnTo>
                      <a:pt x="1038" y="54"/>
                    </a:lnTo>
                    <a:lnTo>
                      <a:pt x="1033" y="54"/>
                    </a:lnTo>
                    <a:lnTo>
                      <a:pt x="1028" y="54"/>
                    </a:lnTo>
                    <a:lnTo>
                      <a:pt x="1015" y="54"/>
                    </a:lnTo>
                    <a:lnTo>
                      <a:pt x="1006" y="54"/>
                    </a:lnTo>
                    <a:lnTo>
                      <a:pt x="992" y="54"/>
                    </a:lnTo>
                    <a:lnTo>
                      <a:pt x="978" y="54"/>
                    </a:lnTo>
                    <a:lnTo>
                      <a:pt x="964" y="57"/>
                    </a:lnTo>
                    <a:lnTo>
                      <a:pt x="951" y="57"/>
                    </a:lnTo>
                    <a:lnTo>
                      <a:pt x="932" y="57"/>
                    </a:lnTo>
                    <a:lnTo>
                      <a:pt x="914" y="60"/>
                    </a:lnTo>
                    <a:lnTo>
                      <a:pt x="891" y="60"/>
                    </a:lnTo>
                    <a:lnTo>
                      <a:pt x="873" y="60"/>
                    </a:lnTo>
                    <a:lnTo>
                      <a:pt x="864" y="60"/>
                    </a:lnTo>
                    <a:lnTo>
                      <a:pt x="850" y="60"/>
                    </a:lnTo>
                    <a:lnTo>
                      <a:pt x="837" y="60"/>
                    </a:lnTo>
                    <a:lnTo>
                      <a:pt x="827" y="60"/>
                    </a:lnTo>
                    <a:lnTo>
                      <a:pt x="818" y="60"/>
                    </a:lnTo>
                    <a:lnTo>
                      <a:pt x="805" y="63"/>
                    </a:lnTo>
                    <a:lnTo>
                      <a:pt x="795" y="63"/>
                    </a:lnTo>
                    <a:lnTo>
                      <a:pt x="782" y="66"/>
                    </a:lnTo>
                    <a:lnTo>
                      <a:pt x="773" y="66"/>
                    </a:lnTo>
                    <a:lnTo>
                      <a:pt x="759" y="66"/>
                    </a:lnTo>
                    <a:lnTo>
                      <a:pt x="745" y="66"/>
                    </a:lnTo>
                    <a:lnTo>
                      <a:pt x="736" y="66"/>
                    </a:lnTo>
                    <a:lnTo>
                      <a:pt x="722" y="66"/>
                    </a:lnTo>
                    <a:lnTo>
                      <a:pt x="709" y="66"/>
                    </a:lnTo>
                    <a:lnTo>
                      <a:pt x="695" y="66"/>
                    </a:lnTo>
                    <a:lnTo>
                      <a:pt x="686" y="69"/>
                    </a:lnTo>
                    <a:lnTo>
                      <a:pt x="667" y="69"/>
                    </a:lnTo>
                    <a:lnTo>
                      <a:pt x="658" y="69"/>
                    </a:lnTo>
                    <a:lnTo>
                      <a:pt x="649" y="69"/>
                    </a:lnTo>
                    <a:lnTo>
                      <a:pt x="631" y="69"/>
                    </a:lnTo>
                    <a:lnTo>
                      <a:pt x="622" y="69"/>
                    </a:lnTo>
                    <a:lnTo>
                      <a:pt x="613" y="69"/>
                    </a:lnTo>
                    <a:lnTo>
                      <a:pt x="594" y="69"/>
                    </a:lnTo>
                    <a:lnTo>
                      <a:pt x="585" y="69"/>
                    </a:lnTo>
                    <a:lnTo>
                      <a:pt x="571" y="69"/>
                    </a:lnTo>
                    <a:lnTo>
                      <a:pt x="562" y="69"/>
                    </a:lnTo>
                    <a:lnTo>
                      <a:pt x="544" y="69"/>
                    </a:lnTo>
                    <a:lnTo>
                      <a:pt x="535" y="69"/>
                    </a:lnTo>
                    <a:lnTo>
                      <a:pt x="526" y="69"/>
                    </a:lnTo>
                    <a:lnTo>
                      <a:pt x="512" y="69"/>
                    </a:lnTo>
                    <a:lnTo>
                      <a:pt x="503" y="69"/>
                    </a:lnTo>
                    <a:lnTo>
                      <a:pt x="489" y="69"/>
                    </a:lnTo>
                    <a:lnTo>
                      <a:pt x="480" y="66"/>
                    </a:lnTo>
                    <a:lnTo>
                      <a:pt x="471" y="66"/>
                    </a:lnTo>
                    <a:lnTo>
                      <a:pt x="457" y="66"/>
                    </a:lnTo>
                    <a:lnTo>
                      <a:pt x="443" y="66"/>
                    </a:lnTo>
                    <a:lnTo>
                      <a:pt x="425" y="66"/>
                    </a:lnTo>
                    <a:lnTo>
                      <a:pt x="407" y="66"/>
                    </a:lnTo>
                    <a:lnTo>
                      <a:pt x="393" y="63"/>
                    </a:lnTo>
                    <a:lnTo>
                      <a:pt x="384" y="60"/>
                    </a:lnTo>
                    <a:lnTo>
                      <a:pt x="375" y="60"/>
                    </a:lnTo>
                    <a:lnTo>
                      <a:pt x="366" y="60"/>
                    </a:lnTo>
                    <a:lnTo>
                      <a:pt x="343" y="60"/>
                    </a:lnTo>
                    <a:lnTo>
                      <a:pt x="325" y="60"/>
                    </a:lnTo>
                    <a:lnTo>
                      <a:pt x="302" y="57"/>
                    </a:lnTo>
                    <a:lnTo>
                      <a:pt x="288" y="57"/>
                    </a:lnTo>
                    <a:lnTo>
                      <a:pt x="270" y="54"/>
                    </a:lnTo>
                    <a:lnTo>
                      <a:pt x="252" y="54"/>
                    </a:lnTo>
                    <a:lnTo>
                      <a:pt x="233" y="52"/>
                    </a:lnTo>
                    <a:lnTo>
                      <a:pt x="215" y="49"/>
                    </a:lnTo>
                    <a:lnTo>
                      <a:pt x="197" y="49"/>
                    </a:lnTo>
                    <a:lnTo>
                      <a:pt x="183" y="49"/>
                    </a:lnTo>
                    <a:lnTo>
                      <a:pt x="165" y="46"/>
                    </a:lnTo>
                    <a:lnTo>
                      <a:pt x="151" y="46"/>
                    </a:lnTo>
                    <a:lnTo>
                      <a:pt x="137" y="43"/>
                    </a:lnTo>
                    <a:lnTo>
                      <a:pt x="124" y="43"/>
                    </a:lnTo>
                    <a:lnTo>
                      <a:pt x="110" y="40"/>
                    </a:lnTo>
                    <a:lnTo>
                      <a:pt x="96" y="37"/>
                    </a:lnTo>
                    <a:lnTo>
                      <a:pt x="82" y="37"/>
                    </a:lnTo>
                    <a:lnTo>
                      <a:pt x="73" y="37"/>
                    </a:lnTo>
                    <a:lnTo>
                      <a:pt x="64" y="35"/>
                    </a:lnTo>
                    <a:lnTo>
                      <a:pt x="50" y="35"/>
                    </a:lnTo>
                    <a:lnTo>
                      <a:pt x="41" y="35"/>
                    </a:lnTo>
                    <a:lnTo>
                      <a:pt x="37" y="35"/>
                    </a:lnTo>
                    <a:lnTo>
                      <a:pt x="18" y="32"/>
                    </a:lnTo>
                    <a:lnTo>
                      <a:pt x="14" y="29"/>
                    </a:lnTo>
                    <a:lnTo>
                      <a:pt x="0" y="29"/>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7" name="Freeform 221"/>
              <p:cNvSpPr>
                <a:spLocks/>
              </p:cNvSpPr>
              <p:nvPr>
                <p:custDataLst>
                  <p:tags r:id="rId52"/>
                </p:custDataLst>
              </p:nvPr>
            </p:nvSpPr>
            <p:spPr bwMode="gray">
              <a:xfrm>
                <a:off x="2900" y="1545"/>
                <a:ext cx="1387" cy="114"/>
              </a:xfrm>
              <a:custGeom>
                <a:avLst/>
                <a:gdLst>
                  <a:gd name="T0" fmla="*/ 320 w 1353"/>
                  <a:gd name="T1" fmla="*/ 36 h 125"/>
                  <a:gd name="T2" fmla="*/ 419 w 1353"/>
                  <a:gd name="T3" fmla="*/ 34 h 125"/>
                  <a:gd name="T4" fmla="*/ 524 w 1353"/>
                  <a:gd name="T5" fmla="*/ 33 h 125"/>
                  <a:gd name="T6" fmla="*/ 615 w 1353"/>
                  <a:gd name="T7" fmla="*/ 31 h 125"/>
                  <a:gd name="T8" fmla="*/ 720 w 1353"/>
                  <a:gd name="T9" fmla="*/ 30 h 125"/>
                  <a:gd name="T10" fmla="*/ 824 w 1353"/>
                  <a:gd name="T11" fmla="*/ 27 h 125"/>
                  <a:gd name="T12" fmla="*/ 925 w 1353"/>
                  <a:gd name="T13" fmla="*/ 25 h 125"/>
                  <a:gd name="T14" fmla="*/ 1023 w 1353"/>
                  <a:gd name="T15" fmla="*/ 23 h 125"/>
                  <a:gd name="T16" fmla="*/ 1114 w 1353"/>
                  <a:gd name="T17" fmla="*/ 21 h 125"/>
                  <a:gd name="T18" fmla="*/ 1213 w 1353"/>
                  <a:gd name="T19" fmla="*/ 18 h 125"/>
                  <a:gd name="T20" fmla="*/ 1298 w 1353"/>
                  <a:gd name="T21" fmla="*/ 16 h 125"/>
                  <a:gd name="T22" fmla="*/ 1379 w 1353"/>
                  <a:gd name="T23" fmla="*/ 15 h 125"/>
                  <a:gd name="T24" fmla="*/ 1452 w 1353"/>
                  <a:gd name="T25" fmla="*/ 12 h 125"/>
                  <a:gd name="T26" fmla="*/ 1525 w 1353"/>
                  <a:gd name="T27" fmla="*/ 9 h 125"/>
                  <a:gd name="T28" fmla="*/ 1600 w 1353"/>
                  <a:gd name="T29" fmla="*/ 8 h 125"/>
                  <a:gd name="T30" fmla="*/ 1657 w 1353"/>
                  <a:gd name="T31" fmla="*/ 5 h 125"/>
                  <a:gd name="T32" fmla="*/ 1706 w 1353"/>
                  <a:gd name="T33" fmla="*/ 5 h 125"/>
                  <a:gd name="T34" fmla="*/ 1760 w 1353"/>
                  <a:gd name="T35" fmla="*/ 5 h 125"/>
                  <a:gd name="T36" fmla="*/ 1814 w 1353"/>
                  <a:gd name="T37" fmla="*/ 0 h 125"/>
                  <a:gd name="T38" fmla="*/ 1827 w 1353"/>
                  <a:gd name="T39" fmla="*/ 13 h 125"/>
                  <a:gd name="T40" fmla="*/ 1787 w 1353"/>
                  <a:gd name="T41" fmla="*/ 14 h 125"/>
                  <a:gd name="T42" fmla="*/ 1728 w 1353"/>
                  <a:gd name="T43" fmla="*/ 15 h 125"/>
                  <a:gd name="T44" fmla="*/ 1663 w 1353"/>
                  <a:gd name="T45" fmla="*/ 16 h 125"/>
                  <a:gd name="T46" fmla="*/ 1620 w 1353"/>
                  <a:gd name="T47" fmla="*/ 18 h 125"/>
                  <a:gd name="T48" fmla="*/ 1570 w 1353"/>
                  <a:gd name="T49" fmla="*/ 18 h 125"/>
                  <a:gd name="T50" fmla="*/ 1520 w 1353"/>
                  <a:gd name="T51" fmla="*/ 21 h 125"/>
                  <a:gd name="T52" fmla="*/ 1465 w 1353"/>
                  <a:gd name="T53" fmla="*/ 22 h 125"/>
                  <a:gd name="T54" fmla="*/ 1404 w 1353"/>
                  <a:gd name="T55" fmla="*/ 23 h 125"/>
                  <a:gd name="T56" fmla="*/ 1347 w 1353"/>
                  <a:gd name="T57" fmla="*/ 25 h 125"/>
                  <a:gd name="T58" fmla="*/ 1288 w 1353"/>
                  <a:gd name="T59" fmla="*/ 25 h 125"/>
                  <a:gd name="T60" fmla="*/ 1213 w 1353"/>
                  <a:gd name="T61" fmla="*/ 27 h 125"/>
                  <a:gd name="T62" fmla="*/ 1157 w 1353"/>
                  <a:gd name="T63" fmla="*/ 28 h 125"/>
                  <a:gd name="T64" fmla="*/ 1083 w 1353"/>
                  <a:gd name="T65" fmla="*/ 30 h 125"/>
                  <a:gd name="T66" fmla="*/ 1015 w 1353"/>
                  <a:gd name="T67" fmla="*/ 33 h 125"/>
                  <a:gd name="T68" fmla="*/ 950 w 1353"/>
                  <a:gd name="T69" fmla="*/ 33 h 125"/>
                  <a:gd name="T70" fmla="*/ 881 w 1353"/>
                  <a:gd name="T71" fmla="*/ 34 h 125"/>
                  <a:gd name="T72" fmla="*/ 812 w 1353"/>
                  <a:gd name="T73" fmla="*/ 36 h 125"/>
                  <a:gd name="T74" fmla="*/ 749 w 1353"/>
                  <a:gd name="T75" fmla="*/ 36 h 125"/>
                  <a:gd name="T76" fmla="*/ 678 w 1353"/>
                  <a:gd name="T77" fmla="*/ 38 h 125"/>
                  <a:gd name="T78" fmla="*/ 615 w 1353"/>
                  <a:gd name="T79" fmla="*/ 39 h 125"/>
                  <a:gd name="T80" fmla="*/ 560 w 1353"/>
                  <a:gd name="T81" fmla="*/ 39 h 125"/>
                  <a:gd name="T82" fmla="*/ 499 w 1353"/>
                  <a:gd name="T83" fmla="*/ 39 h 125"/>
                  <a:gd name="T84" fmla="*/ 436 w 1353"/>
                  <a:gd name="T85" fmla="*/ 39 h 125"/>
                  <a:gd name="T86" fmla="*/ 387 w 1353"/>
                  <a:gd name="T87" fmla="*/ 40 h 125"/>
                  <a:gd name="T88" fmla="*/ 337 w 1353"/>
                  <a:gd name="T89" fmla="*/ 40 h 125"/>
                  <a:gd name="T90" fmla="*/ 290 w 1353"/>
                  <a:gd name="T91" fmla="*/ 42 h 125"/>
                  <a:gd name="T92" fmla="*/ 227 w 1353"/>
                  <a:gd name="T93" fmla="*/ 42 h 125"/>
                  <a:gd name="T94" fmla="*/ 153 w 1353"/>
                  <a:gd name="T95" fmla="*/ 42 h 125"/>
                  <a:gd name="T96" fmla="*/ 92 w 1353"/>
                  <a:gd name="T97" fmla="*/ 42 h 125"/>
                  <a:gd name="T98" fmla="*/ 44 w 1353"/>
                  <a:gd name="T99" fmla="*/ 42 h 125"/>
                  <a:gd name="T100" fmla="*/ 0 w 1353"/>
                  <a:gd name="T101" fmla="*/ 42 h 125"/>
                  <a:gd name="T102" fmla="*/ 35 w 1353"/>
                  <a:gd name="T103" fmla="*/ 42 h 125"/>
                  <a:gd name="T104" fmla="*/ 82 w 1353"/>
                  <a:gd name="T105" fmla="*/ 39 h 125"/>
                  <a:gd name="T106" fmla="*/ 153 w 1353"/>
                  <a:gd name="T107" fmla="*/ 39 h 125"/>
                  <a:gd name="T108" fmla="*/ 203 w 1353"/>
                  <a:gd name="T109" fmla="*/ 36 h 125"/>
                  <a:gd name="T110" fmla="*/ 247 w 1353"/>
                  <a:gd name="T111" fmla="*/ 36 h 125"/>
                  <a:gd name="T112" fmla="*/ 252 w 1353"/>
                  <a:gd name="T113" fmla="*/ 36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53"/>
                  <a:gd name="T172" fmla="*/ 0 h 125"/>
                  <a:gd name="T173" fmla="*/ 1353 w 1353"/>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53" h="125">
                    <a:moveTo>
                      <a:pt x="187" y="108"/>
                    </a:moveTo>
                    <a:lnTo>
                      <a:pt x="210" y="108"/>
                    </a:lnTo>
                    <a:lnTo>
                      <a:pt x="238" y="108"/>
                    </a:lnTo>
                    <a:lnTo>
                      <a:pt x="260" y="105"/>
                    </a:lnTo>
                    <a:lnTo>
                      <a:pt x="283" y="105"/>
                    </a:lnTo>
                    <a:lnTo>
                      <a:pt x="311" y="102"/>
                    </a:lnTo>
                    <a:lnTo>
                      <a:pt x="334" y="102"/>
                    </a:lnTo>
                    <a:lnTo>
                      <a:pt x="361" y="102"/>
                    </a:lnTo>
                    <a:lnTo>
                      <a:pt x="388" y="100"/>
                    </a:lnTo>
                    <a:lnTo>
                      <a:pt x="407" y="97"/>
                    </a:lnTo>
                    <a:lnTo>
                      <a:pt x="434" y="97"/>
                    </a:lnTo>
                    <a:lnTo>
                      <a:pt x="457" y="94"/>
                    </a:lnTo>
                    <a:lnTo>
                      <a:pt x="484" y="94"/>
                    </a:lnTo>
                    <a:lnTo>
                      <a:pt x="512" y="91"/>
                    </a:lnTo>
                    <a:lnTo>
                      <a:pt x="535" y="91"/>
                    </a:lnTo>
                    <a:lnTo>
                      <a:pt x="562" y="85"/>
                    </a:lnTo>
                    <a:lnTo>
                      <a:pt x="589" y="85"/>
                    </a:lnTo>
                    <a:lnTo>
                      <a:pt x="612" y="83"/>
                    </a:lnTo>
                    <a:lnTo>
                      <a:pt x="635" y="83"/>
                    </a:lnTo>
                    <a:lnTo>
                      <a:pt x="658" y="77"/>
                    </a:lnTo>
                    <a:lnTo>
                      <a:pt x="685" y="74"/>
                    </a:lnTo>
                    <a:lnTo>
                      <a:pt x="708" y="74"/>
                    </a:lnTo>
                    <a:lnTo>
                      <a:pt x="736" y="71"/>
                    </a:lnTo>
                    <a:lnTo>
                      <a:pt x="759" y="68"/>
                    </a:lnTo>
                    <a:lnTo>
                      <a:pt x="781" y="68"/>
                    </a:lnTo>
                    <a:lnTo>
                      <a:pt x="804" y="65"/>
                    </a:lnTo>
                    <a:lnTo>
                      <a:pt x="827" y="63"/>
                    </a:lnTo>
                    <a:lnTo>
                      <a:pt x="850" y="60"/>
                    </a:lnTo>
                    <a:lnTo>
                      <a:pt x="877" y="60"/>
                    </a:lnTo>
                    <a:lnTo>
                      <a:pt x="900" y="54"/>
                    </a:lnTo>
                    <a:lnTo>
                      <a:pt x="919" y="54"/>
                    </a:lnTo>
                    <a:lnTo>
                      <a:pt x="941" y="51"/>
                    </a:lnTo>
                    <a:lnTo>
                      <a:pt x="964" y="48"/>
                    </a:lnTo>
                    <a:lnTo>
                      <a:pt x="982" y="46"/>
                    </a:lnTo>
                    <a:lnTo>
                      <a:pt x="1005" y="43"/>
                    </a:lnTo>
                    <a:lnTo>
                      <a:pt x="1024" y="43"/>
                    </a:lnTo>
                    <a:lnTo>
                      <a:pt x="1042" y="40"/>
                    </a:lnTo>
                    <a:lnTo>
                      <a:pt x="1060" y="34"/>
                    </a:lnTo>
                    <a:lnTo>
                      <a:pt x="1078" y="34"/>
                    </a:lnTo>
                    <a:lnTo>
                      <a:pt x="1101" y="31"/>
                    </a:lnTo>
                    <a:lnTo>
                      <a:pt x="1120" y="31"/>
                    </a:lnTo>
                    <a:lnTo>
                      <a:pt x="1133" y="26"/>
                    </a:lnTo>
                    <a:lnTo>
                      <a:pt x="1152" y="26"/>
                    </a:lnTo>
                    <a:lnTo>
                      <a:pt x="1170" y="23"/>
                    </a:lnTo>
                    <a:lnTo>
                      <a:pt x="1188" y="23"/>
                    </a:lnTo>
                    <a:lnTo>
                      <a:pt x="1202" y="20"/>
                    </a:lnTo>
                    <a:lnTo>
                      <a:pt x="1216" y="20"/>
                    </a:lnTo>
                    <a:lnTo>
                      <a:pt x="1229" y="14"/>
                    </a:lnTo>
                    <a:lnTo>
                      <a:pt x="1243" y="14"/>
                    </a:lnTo>
                    <a:lnTo>
                      <a:pt x="1257" y="11"/>
                    </a:lnTo>
                    <a:lnTo>
                      <a:pt x="1266" y="11"/>
                    </a:lnTo>
                    <a:lnTo>
                      <a:pt x="1280" y="9"/>
                    </a:lnTo>
                    <a:lnTo>
                      <a:pt x="1289" y="9"/>
                    </a:lnTo>
                    <a:lnTo>
                      <a:pt x="1307" y="6"/>
                    </a:lnTo>
                    <a:lnTo>
                      <a:pt x="1325" y="6"/>
                    </a:lnTo>
                    <a:lnTo>
                      <a:pt x="1334" y="0"/>
                    </a:lnTo>
                    <a:lnTo>
                      <a:pt x="1348" y="0"/>
                    </a:lnTo>
                    <a:lnTo>
                      <a:pt x="1353" y="0"/>
                    </a:lnTo>
                    <a:lnTo>
                      <a:pt x="1353" y="37"/>
                    </a:lnTo>
                    <a:lnTo>
                      <a:pt x="1348" y="37"/>
                    </a:lnTo>
                    <a:lnTo>
                      <a:pt x="1334" y="40"/>
                    </a:lnTo>
                    <a:lnTo>
                      <a:pt x="1325" y="40"/>
                    </a:lnTo>
                    <a:lnTo>
                      <a:pt x="1316" y="43"/>
                    </a:lnTo>
                    <a:lnTo>
                      <a:pt x="1298" y="43"/>
                    </a:lnTo>
                    <a:lnTo>
                      <a:pt x="1284" y="46"/>
                    </a:lnTo>
                    <a:lnTo>
                      <a:pt x="1266" y="46"/>
                    </a:lnTo>
                    <a:lnTo>
                      <a:pt x="1243" y="48"/>
                    </a:lnTo>
                    <a:lnTo>
                      <a:pt x="1234" y="48"/>
                    </a:lnTo>
                    <a:lnTo>
                      <a:pt x="1225" y="48"/>
                    </a:lnTo>
                    <a:lnTo>
                      <a:pt x="1211" y="51"/>
                    </a:lnTo>
                    <a:lnTo>
                      <a:pt x="1202" y="54"/>
                    </a:lnTo>
                    <a:lnTo>
                      <a:pt x="1188" y="54"/>
                    </a:lnTo>
                    <a:lnTo>
                      <a:pt x="1179" y="54"/>
                    </a:lnTo>
                    <a:lnTo>
                      <a:pt x="1165" y="54"/>
                    </a:lnTo>
                    <a:lnTo>
                      <a:pt x="1152" y="57"/>
                    </a:lnTo>
                    <a:lnTo>
                      <a:pt x="1138" y="60"/>
                    </a:lnTo>
                    <a:lnTo>
                      <a:pt x="1129" y="63"/>
                    </a:lnTo>
                    <a:lnTo>
                      <a:pt x="1115" y="63"/>
                    </a:lnTo>
                    <a:lnTo>
                      <a:pt x="1101" y="65"/>
                    </a:lnTo>
                    <a:lnTo>
                      <a:pt x="1088" y="65"/>
                    </a:lnTo>
                    <a:lnTo>
                      <a:pt x="1074" y="68"/>
                    </a:lnTo>
                    <a:lnTo>
                      <a:pt x="1060" y="68"/>
                    </a:lnTo>
                    <a:lnTo>
                      <a:pt x="1042" y="68"/>
                    </a:lnTo>
                    <a:lnTo>
                      <a:pt x="1024" y="71"/>
                    </a:lnTo>
                    <a:lnTo>
                      <a:pt x="1010" y="71"/>
                    </a:lnTo>
                    <a:lnTo>
                      <a:pt x="1001" y="74"/>
                    </a:lnTo>
                    <a:lnTo>
                      <a:pt x="982" y="74"/>
                    </a:lnTo>
                    <a:lnTo>
                      <a:pt x="969" y="74"/>
                    </a:lnTo>
                    <a:lnTo>
                      <a:pt x="955" y="77"/>
                    </a:lnTo>
                    <a:lnTo>
                      <a:pt x="937" y="80"/>
                    </a:lnTo>
                    <a:lnTo>
                      <a:pt x="919" y="83"/>
                    </a:lnTo>
                    <a:lnTo>
                      <a:pt x="900" y="83"/>
                    </a:lnTo>
                    <a:lnTo>
                      <a:pt x="887" y="83"/>
                    </a:lnTo>
                    <a:lnTo>
                      <a:pt x="868" y="85"/>
                    </a:lnTo>
                    <a:lnTo>
                      <a:pt x="859" y="85"/>
                    </a:lnTo>
                    <a:lnTo>
                      <a:pt x="841" y="85"/>
                    </a:lnTo>
                    <a:lnTo>
                      <a:pt x="823" y="91"/>
                    </a:lnTo>
                    <a:lnTo>
                      <a:pt x="804" y="91"/>
                    </a:lnTo>
                    <a:lnTo>
                      <a:pt x="791" y="94"/>
                    </a:lnTo>
                    <a:lnTo>
                      <a:pt x="772" y="94"/>
                    </a:lnTo>
                    <a:lnTo>
                      <a:pt x="754" y="97"/>
                    </a:lnTo>
                    <a:lnTo>
                      <a:pt x="736" y="97"/>
                    </a:lnTo>
                    <a:lnTo>
                      <a:pt x="722" y="97"/>
                    </a:lnTo>
                    <a:lnTo>
                      <a:pt x="704" y="97"/>
                    </a:lnTo>
                    <a:lnTo>
                      <a:pt x="690" y="102"/>
                    </a:lnTo>
                    <a:lnTo>
                      <a:pt x="672" y="102"/>
                    </a:lnTo>
                    <a:lnTo>
                      <a:pt x="653" y="102"/>
                    </a:lnTo>
                    <a:lnTo>
                      <a:pt x="635" y="105"/>
                    </a:lnTo>
                    <a:lnTo>
                      <a:pt x="621" y="105"/>
                    </a:lnTo>
                    <a:lnTo>
                      <a:pt x="603" y="108"/>
                    </a:lnTo>
                    <a:lnTo>
                      <a:pt x="589" y="108"/>
                    </a:lnTo>
                    <a:lnTo>
                      <a:pt x="571" y="108"/>
                    </a:lnTo>
                    <a:lnTo>
                      <a:pt x="557" y="108"/>
                    </a:lnTo>
                    <a:lnTo>
                      <a:pt x="539" y="111"/>
                    </a:lnTo>
                    <a:lnTo>
                      <a:pt x="521" y="114"/>
                    </a:lnTo>
                    <a:lnTo>
                      <a:pt x="503" y="114"/>
                    </a:lnTo>
                    <a:lnTo>
                      <a:pt x="493" y="114"/>
                    </a:lnTo>
                    <a:lnTo>
                      <a:pt x="475" y="117"/>
                    </a:lnTo>
                    <a:lnTo>
                      <a:pt x="457" y="117"/>
                    </a:lnTo>
                    <a:lnTo>
                      <a:pt x="443" y="117"/>
                    </a:lnTo>
                    <a:lnTo>
                      <a:pt x="425" y="117"/>
                    </a:lnTo>
                    <a:lnTo>
                      <a:pt x="416" y="117"/>
                    </a:lnTo>
                    <a:lnTo>
                      <a:pt x="398" y="117"/>
                    </a:lnTo>
                    <a:lnTo>
                      <a:pt x="384" y="117"/>
                    </a:lnTo>
                    <a:lnTo>
                      <a:pt x="370" y="117"/>
                    </a:lnTo>
                    <a:lnTo>
                      <a:pt x="352" y="120"/>
                    </a:lnTo>
                    <a:lnTo>
                      <a:pt x="343" y="120"/>
                    </a:lnTo>
                    <a:lnTo>
                      <a:pt x="324" y="120"/>
                    </a:lnTo>
                    <a:lnTo>
                      <a:pt x="315" y="120"/>
                    </a:lnTo>
                    <a:lnTo>
                      <a:pt x="297" y="120"/>
                    </a:lnTo>
                    <a:lnTo>
                      <a:pt x="288" y="122"/>
                    </a:lnTo>
                    <a:lnTo>
                      <a:pt x="274" y="122"/>
                    </a:lnTo>
                    <a:lnTo>
                      <a:pt x="260" y="122"/>
                    </a:lnTo>
                    <a:lnTo>
                      <a:pt x="251" y="122"/>
                    </a:lnTo>
                    <a:lnTo>
                      <a:pt x="238" y="125"/>
                    </a:lnTo>
                    <a:lnTo>
                      <a:pt x="224" y="125"/>
                    </a:lnTo>
                    <a:lnTo>
                      <a:pt x="215" y="125"/>
                    </a:lnTo>
                    <a:lnTo>
                      <a:pt x="201" y="125"/>
                    </a:lnTo>
                    <a:lnTo>
                      <a:pt x="192" y="125"/>
                    </a:lnTo>
                    <a:lnTo>
                      <a:pt x="169" y="125"/>
                    </a:lnTo>
                    <a:lnTo>
                      <a:pt x="151" y="125"/>
                    </a:lnTo>
                    <a:lnTo>
                      <a:pt x="132" y="125"/>
                    </a:lnTo>
                    <a:lnTo>
                      <a:pt x="114" y="125"/>
                    </a:lnTo>
                    <a:lnTo>
                      <a:pt x="96" y="125"/>
                    </a:lnTo>
                    <a:lnTo>
                      <a:pt x="78" y="125"/>
                    </a:lnTo>
                    <a:lnTo>
                      <a:pt x="68" y="125"/>
                    </a:lnTo>
                    <a:lnTo>
                      <a:pt x="55" y="125"/>
                    </a:lnTo>
                    <a:lnTo>
                      <a:pt x="46" y="125"/>
                    </a:lnTo>
                    <a:lnTo>
                      <a:pt x="32" y="125"/>
                    </a:lnTo>
                    <a:lnTo>
                      <a:pt x="14" y="125"/>
                    </a:lnTo>
                    <a:lnTo>
                      <a:pt x="9" y="125"/>
                    </a:lnTo>
                    <a:lnTo>
                      <a:pt x="0" y="125"/>
                    </a:lnTo>
                    <a:lnTo>
                      <a:pt x="9" y="125"/>
                    </a:lnTo>
                    <a:lnTo>
                      <a:pt x="23" y="125"/>
                    </a:lnTo>
                    <a:lnTo>
                      <a:pt x="32" y="125"/>
                    </a:lnTo>
                    <a:lnTo>
                      <a:pt x="46" y="122"/>
                    </a:lnTo>
                    <a:lnTo>
                      <a:pt x="59" y="120"/>
                    </a:lnTo>
                    <a:lnTo>
                      <a:pt x="78" y="120"/>
                    </a:lnTo>
                    <a:lnTo>
                      <a:pt x="96" y="117"/>
                    </a:lnTo>
                    <a:lnTo>
                      <a:pt x="114" y="117"/>
                    </a:lnTo>
                    <a:lnTo>
                      <a:pt x="123" y="117"/>
                    </a:lnTo>
                    <a:lnTo>
                      <a:pt x="137" y="114"/>
                    </a:lnTo>
                    <a:lnTo>
                      <a:pt x="151" y="111"/>
                    </a:lnTo>
                    <a:lnTo>
                      <a:pt x="164" y="111"/>
                    </a:lnTo>
                    <a:lnTo>
                      <a:pt x="174" y="108"/>
                    </a:lnTo>
                    <a:lnTo>
                      <a:pt x="183" y="108"/>
                    </a:lnTo>
                    <a:lnTo>
                      <a:pt x="187" y="108"/>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8" name="Freeform 222"/>
              <p:cNvSpPr>
                <a:spLocks/>
              </p:cNvSpPr>
              <p:nvPr>
                <p:custDataLst>
                  <p:tags r:id="rId53"/>
                </p:custDataLst>
              </p:nvPr>
            </p:nvSpPr>
            <p:spPr bwMode="gray">
              <a:xfrm>
                <a:off x="1265" y="1784"/>
                <a:ext cx="1077" cy="162"/>
              </a:xfrm>
              <a:custGeom>
                <a:avLst/>
                <a:gdLst>
                  <a:gd name="T0" fmla="*/ 9 w 1051"/>
                  <a:gd name="T1" fmla="*/ 29 h 177"/>
                  <a:gd name="T2" fmla="*/ 48 w 1051"/>
                  <a:gd name="T3" fmla="*/ 26 h 177"/>
                  <a:gd name="T4" fmla="*/ 92 w 1051"/>
                  <a:gd name="T5" fmla="*/ 23 h 177"/>
                  <a:gd name="T6" fmla="*/ 121 w 1051"/>
                  <a:gd name="T7" fmla="*/ 19 h 177"/>
                  <a:gd name="T8" fmla="*/ 147 w 1051"/>
                  <a:gd name="T9" fmla="*/ 16 h 177"/>
                  <a:gd name="T10" fmla="*/ 176 w 1051"/>
                  <a:gd name="T11" fmla="*/ 14 h 177"/>
                  <a:gd name="T12" fmla="*/ 214 w 1051"/>
                  <a:gd name="T13" fmla="*/ 12 h 177"/>
                  <a:gd name="T14" fmla="*/ 239 w 1051"/>
                  <a:gd name="T15" fmla="*/ 9 h 177"/>
                  <a:gd name="T16" fmla="*/ 281 w 1051"/>
                  <a:gd name="T17" fmla="*/ 5 h 177"/>
                  <a:gd name="T18" fmla="*/ 324 w 1051"/>
                  <a:gd name="T19" fmla="*/ 3 h 177"/>
                  <a:gd name="T20" fmla="*/ 356 w 1051"/>
                  <a:gd name="T21" fmla="*/ 0 h 177"/>
                  <a:gd name="T22" fmla="*/ 692 w 1051"/>
                  <a:gd name="T23" fmla="*/ 48 h 177"/>
                  <a:gd name="T24" fmla="*/ 704 w 1051"/>
                  <a:gd name="T25" fmla="*/ 46 h 177"/>
                  <a:gd name="T26" fmla="*/ 747 w 1051"/>
                  <a:gd name="T27" fmla="*/ 41 h 177"/>
                  <a:gd name="T28" fmla="*/ 773 w 1051"/>
                  <a:gd name="T29" fmla="*/ 38 h 177"/>
                  <a:gd name="T30" fmla="*/ 809 w 1051"/>
                  <a:gd name="T31" fmla="*/ 35 h 177"/>
                  <a:gd name="T32" fmla="*/ 838 w 1051"/>
                  <a:gd name="T33" fmla="*/ 32 h 177"/>
                  <a:gd name="T34" fmla="*/ 882 w 1051"/>
                  <a:gd name="T35" fmla="*/ 27 h 177"/>
                  <a:gd name="T36" fmla="*/ 915 w 1051"/>
                  <a:gd name="T37" fmla="*/ 24 h 177"/>
                  <a:gd name="T38" fmla="*/ 949 w 1051"/>
                  <a:gd name="T39" fmla="*/ 21 h 177"/>
                  <a:gd name="T40" fmla="*/ 974 w 1051"/>
                  <a:gd name="T41" fmla="*/ 16 h 177"/>
                  <a:gd name="T42" fmla="*/ 1012 w 1051"/>
                  <a:gd name="T43" fmla="*/ 14 h 177"/>
                  <a:gd name="T44" fmla="*/ 1042 w 1051"/>
                  <a:gd name="T45" fmla="*/ 12 h 177"/>
                  <a:gd name="T46" fmla="*/ 1067 w 1051"/>
                  <a:gd name="T47" fmla="*/ 10 h 177"/>
                  <a:gd name="T48" fmla="*/ 1096 w 1051"/>
                  <a:gd name="T49" fmla="*/ 9 h 177"/>
                  <a:gd name="T50" fmla="*/ 1116 w 1051"/>
                  <a:gd name="T51" fmla="*/ 12 h 177"/>
                  <a:gd name="T52" fmla="*/ 1158 w 1051"/>
                  <a:gd name="T53" fmla="*/ 17 h 177"/>
                  <a:gd name="T54" fmla="*/ 1206 w 1051"/>
                  <a:gd name="T55" fmla="*/ 25 h 177"/>
                  <a:gd name="T56" fmla="*/ 1232 w 1051"/>
                  <a:gd name="T57" fmla="*/ 29 h 177"/>
                  <a:gd name="T58" fmla="*/ 1261 w 1051"/>
                  <a:gd name="T59" fmla="*/ 35 h 177"/>
                  <a:gd name="T60" fmla="*/ 1318 w 1051"/>
                  <a:gd name="T61" fmla="*/ 42 h 177"/>
                  <a:gd name="T62" fmla="*/ 1365 w 1051"/>
                  <a:gd name="T63" fmla="*/ 49 h 177"/>
                  <a:gd name="T64" fmla="*/ 1391 w 1051"/>
                  <a:gd name="T65" fmla="*/ 54 h 177"/>
                  <a:gd name="T66" fmla="*/ 1409 w 1051"/>
                  <a:gd name="T67" fmla="*/ 55 h 177"/>
                  <a:gd name="T68" fmla="*/ 1062 w 1051"/>
                  <a:gd name="T69" fmla="*/ 23 h 177"/>
                  <a:gd name="T70" fmla="*/ 337 w 1051"/>
                  <a:gd name="T71" fmla="*/ 14 h 177"/>
                  <a:gd name="T72" fmla="*/ 0 w 1051"/>
                  <a:gd name="T73" fmla="*/ 32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1"/>
                  <a:gd name="T112" fmla="*/ 0 h 177"/>
                  <a:gd name="T113" fmla="*/ 1051 w 1051"/>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1" h="177">
                    <a:moveTo>
                      <a:pt x="0" y="91"/>
                    </a:moveTo>
                    <a:lnTo>
                      <a:pt x="9" y="85"/>
                    </a:lnTo>
                    <a:lnTo>
                      <a:pt x="23" y="80"/>
                    </a:lnTo>
                    <a:lnTo>
                      <a:pt x="36" y="74"/>
                    </a:lnTo>
                    <a:lnTo>
                      <a:pt x="55" y="68"/>
                    </a:lnTo>
                    <a:lnTo>
                      <a:pt x="68" y="63"/>
                    </a:lnTo>
                    <a:lnTo>
                      <a:pt x="73" y="60"/>
                    </a:lnTo>
                    <a:lnTo>
                      <a:pt x="91" y="54"/>
                    </a:lnTo>
                    <a:lnTo>
                      <a:pt x="96" y="51"/>
                    </a:lnTo>
                    <a:lnTo>
                      <a:pt x="110" y="48"/>
                    </a:lnTo>
                    <a:lnTo>
                      <a:pt x="123" y="46"/>
                    </a:lnTo>
                    <a:lnTo>
                      <a:pt x="132" y="40"/>
                    </a:lnTo>
                    <a:lnTo>
                      <a:pt x="146" y="37"/>
                    </a:lnTo>
                    <a:lnTo>
                      <a:pt x="160" y="34"/>
                    </a:lnTo>
                    <a:lnTo>
                      <a:pt x="169" y="28"/>
                    </a:lnTo>
                    <a:lnTo>
                      <a:pt x="178" y="26"/>
                    </a:lnTo>
                    <a:lnTo>
                      <a:pt x="192" y="23"/>
                    </a:lnTo>
                    <a:lnTo>
                      <a:pt x="210" y="14"/>
                    </a:lnTo>
                    <a:lnTo>
                      <a:pt x="228" y="8"/>
                    </a:lnTo>
                    <a:lnTo>
                      <a:pt x="242" y="3"/>
                    </a:lnTo>
                    <a:lnTo>
                      <a:pt x="256" y="3"/>
                    </a:lnTo>
                    <a:lnTo>
                      <a:pt x="265" y="0"/>
                    </a:lnTo>
                    <a:lnTo>
                      <a:pt x="516" y="139"/>
                    </a:lnTo>
                    <a:lnTo>
                      <a:pt x="516" y="137"/>
                    </a:lnTo>
                    <a:lnTo>
                      <a:pt x="525" y="134"/>
                    </a:lnTo>
                    <a:lnTo>
                      <a:pt x="539" y="125"/>
                    </a:lnTo>
                    <a:lnTo>
                      <a:pt x="557" y="120"/>
                    </a:lnTo>
                    <a:lnTo>
                      <a:pt x="567" y="114"/>
                    </a:lnTo>
                    <a:lnTo>
                      <a:pt x="576" y="111"/>
                    </a:lnTo>
                    <a:lnTo>
                      <a:pt x="585" y="105"/>
                    </a:lnTo>
                    <a:lnTo>
                      <a:pt x="603" y="100"/>
                    </a:lnTo>
                    <a:lnTo>
                      <a:pt x="612" y="94"/>
                    </a:lnTo>
                    <a:lnTo>
                      <a:pt x="626" y="91"/>
                    </a:lnTo>
                    <a:lnTo>
                      <a:pt x="640" y="85"/>
                    </a:lnTo>
                    <a:lnTo>
                      <a:pt x="658" y="80"/>
                    </a:lnTo>
                    <a:lnTo>
                      <a:pt x="663" y="71"/>
                    </a:lnTo>
                    <a:lnTo>
                      <a:pt x="681" y="68"/>
                    </a:lnTo>
                    <a:lnTo>
                      <a:pt x="695" y="63"/>
                    </a:lnTo>
                    <a:lnTo>
                      <a:pt x="708" y="60"/>
                    </a:lnTo>
                    <a:lnTo>
                      <a:pt x="717" y="51"/>
                    </a:lnTo>
                    <a:lnTo>
                      <a:pt x="727" y="48"/>
                    </a:lnTo>
                    <a:lnTo>
                      <a:pt x="745" y="46"/>
                    </a:lnTo>
                    <a:lnTo>
                      <a:pt x="754" y="40"/>
                    </a:lnTo>
                    <a:lnTo>
                      <a:pt x="763" y="37"/>
                    </a:lnTo>
                    <a:lnTo>
                      <a:pt x="777" y="34"/>
                    </a:lnTo>
                    <a:lnTo>
                      <a:pt x="781" y="28"/>
                    </a:lnTo>
                    <a:lnTo>
                      <a:pt x="795" y="28"/>
                    </a:lnTo>
                    <a:lnTo>
                      <a:pt x="804" y="26"/>
                    </a:lnTo>
                    <a:lnTo>
                      <a:pt x="818" y="26"/>
                    </a:lnTo>
                    <a:lnTo>
                      <a:pt x="818" y="28"/>
                    </a:lnTo>
                    <a:lnTo>
                      <a:pt x="832" y="34"/>
                    </a:lnTo>
                    <a:lnTo>
                      <a:pt x="845" y="40"/>
                    </a:lnTo>
                    <a:lnTo>
                      <a:pt x="864" y="51"/>
                    </a:lnTo>
                    <a:lnTo>
                      <a:pt x="877" y="60"/>
                    </a:lnTo>
                    <a:lnTo>
                      <a:pt x="900" y="71"/>
                    </a:lnTo>
                    <a:lnTo>
                      <a:pt x="909" y="80"/>
                    </a:lnTo>
                    <a:lnTo>
                      <a:pt x="919" y="85"/>
                    </a:lnTo>
                    <a:lnTo>
                      <a:pt x="932" y="91"/>
                    </a:lnTo>
                    <a:lnTo>
                      <a:pt x="941" y="100"/>
                    </a:lnTo>
                    <a:lnTo>
                      <a:pt x="964" y="111"/>
                    </a:lnTo>
                    <a:lnTo>
                      <a:pt x="983" y="122"/>
                    </a:lnTo>
                    <a:lnTo>
                      <a:pt x="1001" y="134"/>
                    </a:lnTo>
                    <a:lnTo>
                      <a:pt x="1019" y="142"/>
                    </a:lnTo>
                    <a:lnTo>
                      <a:pt x="1028" y="151"/>
                    </a:lnTo>
                    <a:lnTo>
                      <a:pt x="1037" y="157"/>
                    </a:lnTo>
                    <a:lnTo>
                      <a:pt x="1051" y="162"/>
                    </a:lnTo>
                    <a:lnTo>
                      <a:pt x="992" y="171"/>
                    </a:lnTo>
                    <a:lnTo>
                      <a:pt x="791" y="63"/>
                    </a:lnTo>
                    <a:lnTo>
                      <a:pt x="489" y="177"/>
                    </a:lnTo>
                    <a:lnTo>
                      <a:pt x="251" y="40"/>
                    </a:lnTo>
                    <a:lnTo>
                      <a:pt x="0" y="9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69" name="Freeform 223"/>
              <p:cNvSpPr>
                <a:spLocks/>
              </p:cNvSpPr>
              <p:nvPr>
                <p:custDataLst>
                  <p:tags r:id="rId54"/>
                </p:custDataLst>
              </p:nvPr>
            </p:nvSpPr>
            <p:spPr bwMode="gray">
              <a:xfrm>
                <a:off x="3448" y="1776"/>
                <a:ext cx="890" cy="193"/>
              </a:xfrm>
              <a:custGeom>
                <a:avLst/>
                <a:gdLst>
                  <a:gd name="T0" fmla="*/ 13 w 868"/>
                  <a:gd name="T1" fmla="*/ 45 h 211"/>
                  <a:gd name="T2" fmla="*/ 53 w 868"/>
                  <a:gd name="T3" fmla="*/ 38 h 211"/>
                  <a:gd name="T4" fmla="*/ 88 w 868"/>
                  <a:gd name="T5" fmla="*/ 32 h 211"/>
                  <a:gd name="T6" fmla="*/ 123 w 868"/>
                  <a:gd name="T7" fmla="*/ 26 h 211"/>
                  <a:gd name="T8" fmla="*/ 147 w 868"/>
                  <a:gd name="T9" fmla="*/ 20 h 211"/>
                  <a:gd name="T10" fmla="*/ 177 w 868"/>
                  <a:gd name="T11" fmla="*/ 15 h 211"/>
                  <a:gd name="T12" fmla="*/ 215 w 868"/>
                  <a:gd name="T13" fmla="*/ 11 h 211"/>
                  <a:gd name="T14" fmla="*/ 242 w 868"/>
                  <a:gd name="T15" fmla="*/ 11 h 211"/>
                  <a:gd name="T16" fmla="*/ 271 w 868"/>
                  <a:gd name="T17" fmla="*/ 13 h 211"/>
                  <a:gd name="T18" fmla="*/ 315 w 868"/>
                  <a:gd name="T19" fmla="*/ 20 h 211"/>
                  <a:gd name="T20" fmla="*/ 358 w 868"/>
                  <a:gd name="T21" fmla="*/ 27 h 211"/>
                  <a:gd name="T22" fmla="*/ 413 w 868"/>
                  <a:gd name="T23" fmla="*/ 35 h 211"/>
                  <a:gd name="T24" fmla="*/ 462 w 868"/>
                  <a:gd name="T25" fmla="*/ 43 h 211"/>
                  <a:gd name="T26" fmla="*/ 492 w 868"/>
                  <a:gd name="T27" fmla="*/ 49 h 211"/>
                  <a:gd name="T28" fmla="*/ 524 w 868"/>
                  <a:gd name="T29" fmla="*/ 50 h 211"/>
                  <a:gd name="T30" fmla="*/ 530 w 868"/>
                  <a:gd name="T31" fmla="*/ 49 h 211"/>
                  <a:gd name="T32" fmla="*/ 549 w 868"/>
                  <a:gd name="T33" fmla="*/ 43 h 211"/>
                  <a:gd name="T34" fmla="*/ 585 w 868"/>
                  <a:gd name="T35" fmla="*/ 35 h 211"/>
                  <a:gd name="T36" fmla="*/ 616 w 868"/>
                  <a:gd name="T37" fmla="*/ 29 h 211"/>
                  <a:gd name="T38" fmla="*/ 636 w 868"/>
                  <a:gd name="T39" fmla="*/ 25 h 211"/>
                  <a:gd name="T40" fmla="*/ 660 w 868"/>
                  <a:gd name="T41" fmla="*/ 21 h 211"/>
                  <a:gd name="T42" fmla="*/ 673 w 868"/>
                  <a:gd name="T43" fmla="*/ 16 h 211"/>
                  <a:gd name="T44" fmla="*/ 709 w 868"/>
                  <a:gd name="T45" fmla="*/ 11 h 211"/>
                  <a:gd name="T46" fmla="*/ 740 w 868"/>
                  <a:gd name="T47" fmla="*/ 5 h 211"/>
                  <a:gd name="T48" fmla="*/ 764 w 868"/>
                  <a:gd name="T49" fmla="*/ 0 h 211"/>
                  <a:gd name="T50" fmla="*/ 783 w 868"/>
                  <a:gd name="T51" fmla="*/ 3 h 211"/>
                  <a:gd name="T52" fmla="*/ 808 w 868"/>
                  <a:gd name="T53" fmla="*/ 5 h 211"/>
                  <a:gd name="T54" fmla="*/ 839 w 868"/>
                  <a:gd name="T55" fmla="*/ 5 h 211"/>
                  <a:gd name="T56" fmla="*/ 862 w 868"/>
                  <a:gd name="T57" fmla="*/ 9 h 211"/>
                  <a:gd name="T58" fmla="*/ 901 w 868"/>
                  <a:gd name="T59" fmla="*/ 13 h 211"/>
                  <a:gd name="T60" fmla="*/ 930 w 868"/>
                  <a:gd name="T61" fmla="*/ 17 h 211"/>
                  <a:gd name="T62" fmla="*/ 963 w 868"/>
                  <a:gd name="T63" fmla="*/ 21 h 211"/>
                  <a:gd name="T64" fmla="*/ 1005 w 868"/>
                  <a:gd name="T65" fmla="*/ 26 h 211"/>
                  <a:gd name="T66" fmla="*/ 1035 w 868"/>
                  <a:gd name="T67" fmla="*/ 29 h 211"/>
                  <a:gd name="T68" fmla="*/ 1067 w 868"/>
                  <a:gd name="T69" fmla="*/ 34 h 211"/>
                  <a:gd name="T70" fmla="*/ 1098 w 868"/>
                  <a:gd name="T71" fmla="*/ 38 h 211"/>
                  <a:gd name="T72" fmla="*/ 1135 w 868"/>
                  <a:gd name="T73" fmla="*/ 42 h 211"/>
                  <a:gd name="T74" fmla="*/ 1165 w 868"/>
                  <a:gd name="T75" fmla="*/ 46 h 211"/>
                  <a:gd name="T76" fmla="*/ 1019 w 868"/>
                  <a:gd name="T77" fmla="*/ 49 h 211"/>
                  <a:gd name="T78" fmla="*/ 783 w 868"/>
                  <a:gd name="T79" fmla="*/ 19 h 211"/>
                  <a:gd name="T80" fmla="*/ 764 w 868"/>
                  <a:gd name="T81" fmla="*/ 21 h 211"/>
                  <a:gd name="T82" fmla="*/ 752 w 868"/>
                  <a:gd name="T83" fmla="*/ 25 h 211"/>
                  <a:gd name="T84" fmla="*/ 733 w 868"/>
                  <a:gd name="T85" fmla="*/ 29 h 211"/>
                  <a:gd name="T86" fmla="*/ 709 w 868"/>
                  <a:gd name="T87" fmla="*/ 35 h 211"/>
                  <a:gd name="T88" fmla="*/ 678 w 868"/>
                  <a:gd name="T89" fmla="*/ 39 h 211"/>
                  <a:gd name="T90" fmla="*/ 654 w 868"/>
                  <a:gd name="T91" fmla="*/ 45 h 211"/>
                  <a:gd name="T92" fmla="*/ 629 w 868"/>
                  <a:gd name="T93" fmla="*/ 50 h 211"/>
                  <a:gd name="T94" fmla="*/ 598 w 868"/>
                  <a:gd name="T95" fmla="*/ 55 h 211"/>
                  <a:gd name="T96" fmla="*/ 567 w 868"/>
                  <a:gd name="T97" fmla="*/ 59 h 211"/>
                  <a:gd name="T98" fmla="*/ 542 w 868"/>
                  <a:gd name="T99" fmla="*/ 64 h 211"/>
                  <a:gd name="T100" fmla="*/ 518 w 868"/>
                  <a:gd name="T101" fmla="*/ 71 h 211"/>
                  <a:gd name="T102" fmla="*/ 492 w 868"/>
                  <a:gd name="T103" fmla="*/ 72 h 211"/>
                  <a:gd name="T104" fmla="*/ 480 w 868"/>
                  <a:gd name="T105" fmla="*/ 67 h 211"/>
                  <a:gd name="T106" fmla="*/ 450 w 868"/>
                  <a:gd name="T107" fmla="*/ 61 h 211"/>
                  <a:gd name="T108" fmla="*/ 413 w 868"/>
                  <a:gd name="T109" fmla="*/ 54 h 211"/>
                  <a:gd name="T110" fmla="*/ 358 w 868"/>
                  <a:gd name="T111" fmla="*/ 46 h 211"/>
                  <a:gd name="T112" fmla="*/ 339 w 868"/>
                  <a:gd name="T113" fmla="*/ 41 h 211"/>
                  <a:gd name="T114" fmla="*/ 315 w 868"/>
                  <a:gd name="T115" fmla="*/ 38 h 211"/>
                  <a:gd name="T116" fmla="*/ 271 w 868"/>
                  <a:gd name="T117" fmla="*/ 31 h 211"/>
                  <a:gd name="T118" fmla="*/ 247 w 868"/>
                  <a:gd name="T119" fmla="*/ 26 h 211"/>
                  <a:gd name="T120" fmla="*/ 0 w 868"/>
                  <a:gd name="T121" fmla="*/ 48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8"/>
                  <a:gd name="T184" fmla="*/ 0 h 211"/>
                  <a:gd name="T185" fmla="*/ 868 w 868"/>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8" h="211">
                    <a:moveTo>
                      <a:pt x="0" y="140"/>
                    </a:moveTo>
                    <a:lnTo>
                      <a:pt x="13" y="131"/>
                    </a:lnTo>
                    <a:lnTo>
                      <a:pt x="27" y="123"/>
                    </a:lnTo>
                    <a:lnTo>
                      <a:pt x="41" y="111"/>
                    </a:lnTo>
                    <a:lnTo>
                      <a:pt x="54" y="103"/>
                    </a:lnTo>
                    <a:lnTo>
                      <a:pt x="64" y="92"/>
                    </a:lnTo>
                    <a:lnTo>
                      <a:pt x="77" y="83"/>
                    </a:lnTo>
                    <a:lnTo>
                      <a:pt x="91" y="74"/>
                    </a:lnTo>
                    <a:lnTo>
                      <a:pt x="105" y="66"/>
                    </a:lnTo>
                    <a:lnTo>
                      <a:pt x="109" y="57"/>
                    </a:lnTo>
                    <a:lnTo>
                      <a:pt x="123" y="49"/>
                    </a:lnTo>
                    <a:lnTo>
                      <a:pt x="132" y="43"/>
                    </a:lnTo>
                    <a:lnTo>
                      <a:pt x="146" y="37"/>
                    </a:lnTo>
                    <a:lnTo>
                      <a:pt x="160" y="29"/>
                    </a:lnTo>
                    <a:lnTo>
                      <a:pt x="173" y="26"/>
                    </a:lnTo>
                    <a:lnTo>
                      <a:pt x="178" y="29"/>
                    </a:lnTo>
                    <a:lnTo>
                      <a:pt x="187" y="35"/>
                    </a:lnTo>
                    <a:lnTo>
                      <a:pt x="201" y="37"/>
                    </a:lnTo>
                    <a:lnTo>
                      <a:pt x="214" y="49"/>
                    </a:lnTo>
                    <a:lnTo>
                      <a:pt x="233" y="57"/>
                    </a:lnTo>
                    <a:lnTo>
                      <a:pt x="251" y="69"/>
                    </a:lnTo>
                    <a:lnTo>
                      <a:pt x="265" y="80"/>
                    </a:lnTo>
                    <a:lnTo>
                      <a:pt x="288" y="94"/>
                    </a:lnTo>
                    <a:lnTo>
                      <a:pt x="306" y="103"/>
                    </a:lnTo>
                    <a:lnTo>
                      <a:pt x="324" y="114"/>
                    </a:lnTo>
                    <a:lnTo>
                      <a:pt x="342" y="126"/>
                    </a:lnTo>
                    <a:lnTo>
                      <a:pt x="356" y="134"/>
                    </a:lnTo>
                    <a:lnTo>
                      <a:pt x="365" y="143"/>
                    </a:lnTo>
                    <a:lnTo>
                      <a:pt x="379" y="146"/>
                    </a:lnTo>
                    <a:lnTo>
                      <a:pt x="388" y="148"/>
                    </a:lnTo>
                    <a:lnTo>
                      <a:pt x="393" y="148"/>
                    </a:lnTo>
                    <a:lnTo>
                      <a:pt x="393" y="143"/>
                    </a:lnTo>
                    <a:lnTo>
                      <a:pt x="402" y="134"/>
                    </a:lnTo>
                    <a:lnTo>
                      <a:pt x="406" y="126"/>
                    </a:lnTo>
                    <a:lnTo>
                      <a:pt x="420" y="114"/>
                    </a:lnTo>
                    <a:lnTo>
                      <a:pt x="434" y="103"/>
                    </a:lnTo>
                    <a:lnTo>
                      <a:pt x="447" y="92"/>
                    </a:lnTo>
                    <a:lnTo>
                      <a:pt x="457" y="86"/>
                    </a:lnTo>
                    <a:lnTo>
                      <a:pt x="466" y="80"/>
                    </a:lnTo>
                    <a:lnTo>
                      <a:pt x="470" y="72"/>
                    </a:lnTo>
                    <a:lnTo>
                      <a:pt x="479" y="69"/>
                    </a:lnTo>
                    <a:lnTo>
                      <a:pt x="489" y="60"/>
                    </a:lnTo>
                    <a:lnTo>
                      <a:pt x="493" y="55"/>
                    </a:lnTo>
                    <a:lnTo>
                      <a:pt x="498" y="46"/>
                    </a:lnTo>
                    <a:lnTo>
                      <a:pt x="507" y="40"/>
                    </a:lnTo>
                    <a:lnTo>
                      <a:pt x="525" y="29"/>
                    </a:lnTo>
                    <a:lnTo>
                      <a:pt x="539" y="20"/>
                    </a:lnTo>
                    <a:lnTo>
                      <a:pt x="548" y="12"/>
                    </a:lnTo>
                    <a:lnTo>
                      <a:pt x="562" y="3"/>
                    </a:lnTo>
                    <a:lnTo>
                      <a:pt x="566" y="0"/>
                    </a:lnTo>
                    <a:lnTo>
                      <a:pt x="580" y="0"/>
                    </a:lnTo>
                    <a:lnTo>
                      <a:pt x="580" y="3"/>
                    </a:lnTo>
                    <a:lnTo>
                      <a:pt x="594" y="6"/>
                    </a:lnTo>
                    <a:lnTo>
                      <a:pt x="598" y="9"/>
                    </a:lnTo>
                    <a:lnTo>
                      <a:pt x="612" y="12"/>
                    </a:lnTo>
                    <a:lnTo>
                      <a:pt x="621" y="17"/>
                    </a:lnTo>
                    <a:lnTo>
                      <a:pt x="630" y="23"/>
                    </a:lnTo>
                    <a:lnTo>
                      <a:pt x="639" y="26"/>
                    </a:lnTo>
                    <a:lnTo>
                      <a:pt x="653" y="32"/>
                    </a:lnTo>
                    <a:lnTo>
                      <a:pt x="667" y="37"/>
                    </a:lnTo>
                    <a:lnTo>
                      <a:pt x="676" y="43"/>
                    </a:lnTo>
                    <a:lnTo>
                      <a:pt x="690" y="49"/>
                    </a:lnTo>
                    <a:lnTo>
                      <a:pt x="703" y="57"/>
                    </a:lnTo>
                    <a:lnTo>
                      <a:pt x="713" y="60"/>
                    </a:lnTo>
                    <a:lnTo>
                      <a:pt x="731" y="69"/>
                    </a:lnTo>
                    <a:lnTo>
                      <a:pt x="745" y="74"/>
                    </a:lnTo>
                    <a:lnTo>
                      <a:pt x="754" y="80"/>
                    </a:lnTo>
                    <a:lnTo>
                      <a:pt x="767" y="86"/>
                    </a:lnTo>
                    <a:lnTo>
                      <a:pt x="781" y="92"/>
                    </a:lnTo>
                    <a:lnTo>
                      <a:pt x="790" y="97"/>
                    </a:lnTo>
                    <a:lnTo>
                      <a:pt x="799" y="103"/>
                    </a:lnTo>
                    <a:lnTo>
                      <a:pt x="813" y="109"/>
                    </a:lnTo>
                    <a:lnTo>
                      <a:pt x="822" y="114"/>
                    </a:lnTo>
                    <a:lnTo>
                      <a:pt x="841" y="123"/>
                    </a:lnTo>
                    <a:lnTo>
                      <a:pt x="854" y="131"/>
                    </a:lnTo>
                    <a:lnTo>
                      <a:pt x="863" y="134"/>
                    </a:lnTo>
                    <a:lnTo>
                      <a:pt x="868" y="134"/>
                    </a:lnTo>
                    <a:lnTo>
                      <a:pt x="754" y="143"/>
                    </a:lnTo>
                    <a:lnTo>
                      <a:pt x="585" y="52"/>
                    </a:lnTo>
                    <a:lnTo>
                      <a:pt x="580" y="55"/>
                    </a:lnTo>
                    <a:lnTo>
                      <a:pt x="575" y="57"/>
                    </a:lnTo>
                    <a:lnTo>
                      <a:pt x="566" y="60"/>
                    </a:lnTo>
                    <a:lnTo>
                      <a:pt x="562" y="69"/>
                    </a:lnTo>
                    <a:lnTo>
                      <a:pt x="557" y="72"/>
                    </a:lnTo>
                    <a:lnTo>
                      <a:pt x="548" y="80"/>
                    </a:lnTo>
                    <a:lnTo>
                      <a:pt x="543" y="86"/>
                    </a:lnTo>
                    <a:lnTo>
                      <a:pt x="530" y="92"/>
                    </a:lnTo>
                    <a:lnTo>
                      <a:pt x="525" y="100"/>
                    </a:lnTo>
                    <a:lnTo>
                      <a:pt x="511" y="109"/>
                    </a:lnTo>
                    <a:lnTo>
                      <a:pt x="502" y="114"/>
                    </a:lnTo>
                    <a:lnTo>
                      <a:pt x="489" y="123"/>
                    </a:lnTo>
                    <a:lnTo>
                      <a:pt x="484" y="131"/>
                    </a:lnTo>
                    <a:lnTo>
                      <a:pt x="475" y="137"/>
                    </a:lnTo>
                    <a:lnTo>
                      <a:pt x="466" y="146"/>
                    </a:lnTo>
                    <a:lnTo>
                      <a:pt x="452" y="154"/>
                    </a:lnTo>
                    <a:lnTo>
                      <a:pt x="443" y="160"/>
                    </a:lnTo>
                    <a:lnTo>
                      <a:pt x="434" y="168"/>
                    </a:lnTo>
                    <a:lnTo>
                      <a:pt x="420" y="174"/>
                    </a:lnTo>
                    <a:lnTo>
                      <a:pt x="415" y="183"/>
                    </a:lnTo>
                    <a:lnTo>
                      <a:pt x="402" y="186"/>
                    </a:lnTo>
                    <a:lnTo>
                      <a:pt x="402" y="194"/>
                    </a:lnTo>
                    <a:lnTo>
                      <a:pt x="384" y="205"/>
                    </a:lnTo>
                    <a:lnTo>
                      <a:pt x="374" y="208"/>
                    </a:lnTo>
                    <a:lnTo>
                      <a:pt x="365" y="211"/>
                    </a:lnTo>
                    <a:lnTo>
                      <a:pt x="365" y="205"/>
                    </a:lnTo>
                    <a:lnTo>
                      <a:pt x="356" y="197"/>
                    </a:lnTo>
                    <a:lnTo>
                      <a:pt x="347" y="191"/>
                    </a:lnTo>
                    <a:lnTo>
                      <a:pt x="333" y="180"/>
                    </a:lnTo>
                    <a:lnTo>
                      <a:pt x="320" y="168"/>
                    </a:lnTo>
                    <a:lnTo>
                      <a:pt x="306" y="157"/>
                    </a:lnTo>
                    <a:lnTo>
                      <a:pt x="288" y="143"/>
                    </a:lnTo>
                    <a:lnTo>
                      <a:pt x="265" y="134"/>
                    </a:lnTo>
                    <a:lnTo>
                      <a:pt x="256" y="126"/>
                    </a:lnTo>
                    <a:lnTo>
                      <a:pt x="251" y="120"/>
                    </a:lnTo>
                    <a:lnTo>
                      <a:pt x="237" y="114"/>
                    </a:lnTo>
                    <a:lnTo>
                      <a:pt x="233" y="109"/>
                    </a:lnTo>
                    <a:lnTo>
                      <a:pt x="214" y="97"/>
                    </a:lnTo>
                    <a:lnTo>
                      <a:pt x="201" y="89"/>
                    </a:lnTo>
                    <a:lnTo>
                      <a:pt x="187" y="80"/>
                    </a:lnTo>
                    <a:lnTo>
                      <a:pt x="182" y="74"/>
                    </a:lnTo>
                    <a:lnTo>
                      <a:pt x="173" y="69"/>
                    </a:lnTo>
                    <a:lnTo>
                      <a:pt x="0" y="1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sp>
            <p:nvSpPr>
              <p:cNvPr id="170" name="Freeform 224"/>
              <p:cNvSpPr>
                <a:spLocks/>
              </p:cNvSpPr>
              <p:nvPr>
                <p:custDataLst>
                  <p:tags r:id="rId55"/>
                </p:custDataLst>
              </p:nvPr>
            </p:nvSpPr>
            <p:spPr bwMode="gray">
              <a:xfrm>
                <a:off x="2468" y="1772"/>
                <a:ext cx="980" cy="129"/>
              </a:xfrm>
              <a:custGeom>
                <a:avLst/>
                <a:gdLst>
                  <a:gd name="T0" fmla="*/ 49 w 956"/>
                  <a:gd name="T1" fmla="*/ 31 h 142"/>
                  <a:gd name="T2" fmla="*/ 93 w 956"/>
                  <a:gd name="T3" fmla="*/ 25 h 142"/>
                  <a:gd name="T4" fmla="*/ 137 w 956"/>
                  <a:gd name="T5" fmla="*/ 22 h 142"/>
                  <a:gd name="T6" fmla="*/ 178 w 956"/>
                  <a:gd name="T7" fmla="*/ 18 h 142"/>
                  <a:gd name="T8" fmla="*/ 228 w 956"/>
                  <a:gd name="T9" fmla="*/ 14 h 142"/>
                  <a:gd name="T10" fmla="*/ 284 w 956"/>
                  <a:gd name="T11" fmla="*/ 12 h 142"/>
                  <a:gd name="T12" fmla="*/ 333 w 956"/>
                  <a:gd name="T13" fmla="*/ 9 h 142"/>
                  <a:gd name="T14" fmla="*/ 387 w 956"/>
                  <a:gd name="T15" fmla="*/ 6 h 142"/>
                  <a:gd name="T16" fmla="*/ 449 w 956"/>
                  <a:gd name="T17" fmla="*/ 5 h 142"/>
                  <a:gd name="T18" fmla="*/ 504 w 956"/>
                  <a:gd name="T19" fmla="*/ 5 h 142"/>
                  <a:gd name="T20" fmla="*/ 568 w 956"/>
                  <a:gd name="T21" fmla="*/ 5 h 142"/>
                  <a:gd name="T22" fmla="*/ 623 w 956"/>
                  <a:gd name="T23" fmla="*/ 3 h 142"/>
                  <a:gd name="T24" fmla="*/ 673 w 956"/>
                  <a:gd name="T25" fmla="*/ 3 h 142"/>
                  <a:gd name="T26" fmla="*/ 732 w 956"/>
                  <a:gd name="T27" fmla="*/ 0 h 142"/>
                  <a:gd name="T28" fmla="*/ 787 w 956"/>
                  <a:gd name="T29" fmla="*/ 0 h 142"/>
                  <a:gd name="T30" fmla="*/ 839 w 956"/>
                  <a:gd name="T31" fmla="*/ 3 h 142"/>
                  <a:gd name="T32" fmla="*/ 882 w 956"/>
                  <a:gd name="T33" fmla="*/ 3 h 142"/>
                  <a:gd name="T34" fmla="*/ 931 w 956"/>
                  <a:gd name="T35" fmla="*/ 5 h 142"/>
                  <a:gd name="T36" fmla="*/ 989 w 956"/>
                  <a:gd name="T37" fmla="*/ 5 h 142"/>
                  <a:gd name="T38" fmla="*/ 1039 w 956"/>
                  <a:gd name="T39" fmla="*/ 6 h 142"/>
                  <a:gd name="T40" fmla="*/ 1089 w 956"/>
                  <a:gd name="T41" fmla="*/ 10 h 142"/>
                  <a:gd name="T42" fmla="*/ 1139 w 956"/>
                  <a:gd name="T43" fmla="*/ 13 h 142"/>
                  <a:gd name="T44" fmla="*/ 1194 w 956"/>
                  <a:gd name="T45" fmla="*/ 19 h 142"/>
                  <a:gd name="T46" fmla="*/ 1249 w 956"/>
                  <a:gd name="T47" fmla="*/ 25 h 142"/>
                  <a:gd name="T48" fmla="*/ 1280 w 956"/>
                  <a:gd name="T49" fmla="*/ 30 h 142"/>
                  <a:gd name="T50" fmla="*/ 1280 w 956"/>
                  <a:gd name="T51" fmla="*/ 31 h 142"/>
                  <a:gd name="T52" fmla="*/ 1231 w 956"/>
                  <a:gd name="T53" fmla="*/ 27 h 142"/>
                  <a:gd name="T54" fmla="*/ 1183 w 956"/>
                  <a:gd name="T55" fmla="*/ 23 h 142"/>
                  <a:gd name="T56" fmla="*/ 1128 w 956"/>
                  <a:gd name="T57" fmla="*/ 20 h 142"/>
                  <a:gd name="T58" fmla="*/ 1064 w 956"/>
                  <a:gd name="T59" fmla="*/ 16 h 142"/>
                  <a:gd name="T60" fmla="*/ 989 w 956"/>
                  <a:gd name="T61" fmla="*/ 14 h 142"/>
                  <a:gd name="T62" fmla="*/ 911 w 956"/>
                  <a:gd name="T63" fmla="*/ 10 h 142"/>
                  <a:gd name="T64" fmla="*/ 856 w 956"/>
                  <a:gd name="T65" fmla="*/ 9 h 142"/>
                  <a:gd name="T66" fmla="*/ 814 w 956"/>
                  <a:gd name="T67" fmla="*/ 8 h 142"/>
                  <a:gd name="T68" fmla="*/ 769 w 956"/>
                  <a:gd name="T69" fmla="*/ 8 h 142"/>
                  <a:gd name="T70" fmla="*/ 728 w 956"/>
                  <a:gd name="T71" fmla="*/ 8 h 142"/>
                  <a:gd name="T72" fmla="*/ 684 w 956"/>
                  <a:gd name="T73" fmla="*/ 8 h 142"/>
                  <a:gd name="T74" fmla="*/ 634 w 956"/>
                  <a:gd name="T75" fmla="*/ 8 h 142"/>
                  <a:gd name="T76" fmla="*/ 585 w 956"/>
                  <a:gd name="T77" fmla="*/ 9 h 142"/>
                  <a:gd name="T78" fmla="*/ 535 w 956"/>
                  <a:gd name="T79" fmla="*/ 10 h 142"/>
                  <a:gd name="T80" fmla="*/ 492 w 956"/>
                  <a:gd name="T81" fmla="*/ 12 h 142"/>
                  <a:gd name="T82" fmla="*/ 444 w 956"/>
                  <a:gd name="T83" fmla="*/ 14 h 142"/>
                  <a:gd name="T84" fmla="*/ 401 w 956"/>
                  <a:gd name="T85" fmla="*/ 16 h 142"/>
                  <a:gd name="T86" fmla="*/ 359 w 956"/>
                  <a:gd name="T87" fmla="*/ 18 h 142"/>
                  <a:gd name="T88" fmla="*/ 309 w 956"/>
                  <a:gd name="T89" fmla="*/ 21 h 142"/>
                  <a:gd name="T90" fmla="*/ 253 w 956"/>
                  <a:gd name="T91" fmla="*/ 25 h 142"/>
                  <a:gd name="T92" fmla="*/ 186 w 956"/>
                  <a:gd name="T93" fmla="*/ 31 h 142"/>
                  <a:gd name="T94" fmla="*/ 116 w 956"/>
                  <a:gd name="T95" fmla="*/ 37 h 142"/>
                  <a:gd name="T96" fmla="*/ 58 w 956"/>
                  <a:gd name="T97" fmla="*/ 41 h 142"/>
                  <a:gd name="T98" fmla="*/ 0 w 956"/>
                  <a:gd name="T99" fmla="*/ 45 h 142"/>
                  <a:gd name="T100" fmla="*/ 5 w 956"/>
                  <a:gd name="T101" fmla="*/ 40 h 142"/>
                  <a:gd name="T102" fmla="*/ 5 w 956"/>
                  <a:gd name="T103" fmla="*/ 37 h 1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6"/>
                  <a:gd name="T157" fmla="*/ 0 h 142"/>
                  <a:gd name="T158" fmla="*/ 956 w 956"/>
                  <a:gd name="T159" fmla="*/ 142 h 1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6" h="142">
                    <a:moveTo>
                      <a:pt x="5" y="119"/>
                    </a:moveTo>
                    <a:lnTo>
                      <a:pt x="19" y="108"/>
                    </a:lnTo>
                    <a:lnTo>
                      <a:pt x="37" y="97"/>
                    </a:lnTo>
                    <a:lnTo>
                      <a:pt x="46" y="91"/>
                    </a:lnTo>
                    <a:lnTo>
                      <a:pt x="55" y="85"/>
                    </a:lnTo>
                    <a:lnTo>
                      <a:pt x="69" y="79"/>
                    </a:lnTo>
                    <a:lnTo>
                      <a:pt x="78" y="77"/>
                    </a:lnTo>
                    <a:lnTo>
                      <a:pt x="87" y="74"/>
                    </a:lnTo>
                    <a:lnTo>
                      <a:pt x="101" y="68"/>
                    </a:lnTo>
                    <a:lnTo>
                      <a:pt x="110" y="62"/>
                    </a:lnTo>
                    <a:lnTo>
                      <a:pt x="119" y="60"/>
                    </a:lnTo>
                    <a:lnTo>
                      <a:pt x="133" y="57"/>
                    </a:lnTo>
                    <a:lnTo>
                      <a:pt x="147" y="51"/>
                    </a:lnTo>
                    <a:lnTo>
                      <a:pt x="156" y="51"/>
                    </a:lnTo>
                    <a:lnTo>
                      <a:pt x="170" y="45"/>
                    </a:lnTo>
                    <a:lnTo>
                      <a:pt x="183" y="42"/>
                    </a:lnTo>
                    <a:lnTo>
                      <a:pt x="192" y="40"/>
                    </a:lnTo>
                    <a:lnTo>
                      <a:pt x="211" y="37"/>
                    </a:lnTo>
                    <a:lnTo>
                      <a:pt x="224" y="31"/>
                    </a:lnTo>
                    <a:lnTo>
                      <a:pt x="234" y="31"/>
                    </a:lnTo>
                    <a:lnTo>
                      <a:pt x="247" y="28"/>
                    </a:lnTo>
                    <a:lnTo>
                      <a:pt x="261" y="25"/>
                    </a:lnTo>
                    <a:lnTo>
                      <a:pt x="279" y="22"/>
                    </a:lnTo>
                    <a:lnTo>
                      <a:pt x="288" y="20"/>
                    </a:lnTo>
                    <a:lnTo>
                      <a:pt x="307" y="20"/>
                    </a:lnTo>
                    <a:lnTo>
                      <a:pt x="320" y="17"/>
                    </a:lnTo>
                    <a:lnTo>
                      <a:pt x="334" y="17"/>
                    </a:lnTo>
                    <a:lnTo>
                      <a:pt x="343" y="14"/>
                    </a:lnTo>
                    <a:lnTo>
                      <a:pt x="361" y="11"/>
                    </a:lnTo>
                    <a:lnTo>
                      <a:pt x="375" y="8"/>
                    </a:lnTo>
                    <a:lnTo>
                      <a:pt x="393" y="8"/>
                    </a:lnTo>
                    <a:lnTo>
                      <a:pt x="403" y="8"/>
                    </a:lnTo>
                    <a:lnTo>
                      <a:pt x="421" y="5"/>
                    </a:lnTo>
                    <a:lnTo>
                      <a:pt x="430" y="5"/>
                    </a:lnTo>
                    <a:lnTo>
                      <a:pt x="448" y="5"/>
                    </a:lnTo>
                    <a:lnTo>
                      <a:pt x="462" y="3"/>
                    </a:lnTo>
                    <a:lnTo>
                      <a:pt x="476" y="3"/>
                    </a:lnTo>
                    <a:lnTo>
                      <a:pt x="489" y="3"/>
                    </a:lnTo>
                    <a:lnTo>
                      <a:pt x="499" y="3"/>
                    </a:lnTo>
                    <a:lnTo>
                      <a:pt x="517" y="0"/>
                    </a:lnTo>
                    <a:lnTo>
                      <a:pt x="531" y="0"/>
                    </a:lnTo>
                    <a:lnTo>
                      <a:pt x="544" y="0"/>
                    </a:lnTo>
                    <a:lnTo>
                      <a:pt x="553" y="0"/>
                    </a:lnTo>
                    <a:lnTo>
                      <a:pt x="567" y="0"/>
                    </a:lnTo>
                    <a:lnTo>
                      <a:pt x="585" y="0"/>
                    </a:lnTo>
                    <a:lnTo>
                      <a:pt x="595" y="0"/>
                    </a:lnTo>
                    <a:lnTo>
                      <a:pt x="608" y="3"/>
                    </a:lnTo>
                    <a:lnTo>
                      <a:pt x="622" y="3"/>
                    </a:lnTo>
                    <a:lnTo>
                      <a:pt x="631" y="3"/>
                    </a:lnTo>
                    <a:lnTo>
                      <a:pt x="645" y="3"/>
                    </a:lnTo>
                    <a:lnTo>
                      <a:pt x="654" y="3"/>
                    </a:lnTo>
                    <a:lnTo>
                      <a:pt x="668" y="3"/>
                    </a:lnTo>
                    <a:lnTo>
                      <a:pt x="677" y="3"/>
                    </a:lnTo>
                    <a:lnTo>
                      <a:pt x="691" y="5"/>
                    </a:lnTo>
                    <a:lnTo>
                      <a:pt x="700" y="5"/>
                    </a:lnTo>
                    <a:lnTo>
                      <a:pt x="718" y="8"/>
                    </a:lnTo>
                    <a:lnTo>
                      <a:pt x="736" y="8"/>
                    </a:lnTo>
                    <a:lnTo>
                      <a:pt x="750" y="14"/>
                    </a:lnTo>
                    <a:lnTo>
                      <a:pt x="764" y="17"/>
                    </a:lnTo>
                    <a:lnTo>
                      <a:pt x="773" y="20"/>
                    </a:lnTo>
                    <a:lnTo>
                      <a:pt x="791" y="22"/>
                    </a:lnTo>
                    <a:lnTo>
                      <a:pt x="800" y="25"/>
                    </a:lnTo>
                    <a:lnTo>
                      <a:pt x="809" y="31"/>
                    </a:lnTo>
                    <a:lnTo>
                      <a:pt x="823" y="31"/>
                    </a:lnTo>
                    <a:lnTo>
                      <a:pt x="837" y="37"/>
                    </a:lnTo>
                    <a:lnTo>
                      <a:pt x="846" y="40"/>
                    </a:lnTo>
                    <a:lnTo>
                      <a:pt x="855" y="42"/>
                    </a:lnTo>
                    <a:lnTo>
                      <a:pt x="873" y="51"/>
                    </a:lnTo>
                    <a:lnTo>
                      <a:pt x="887" y="60"/>
                    </a:lnTo>
                    <a:lnTo>
                      <a:pt x="905" y="65"/>
                    </a:lnTo>
                    <a:lnTo>
                      <a:pt x="919" y="74"/>
                    </a:lnTo>
                    <a:lnTo>
                      <a:pt x="928" y="77"/>
                    </a:lnTo>
                    <a:lnTo>
                      <a:pt x="937" y="85"/>
                    </a:lnTo>
                    <a:lnTo>
                      <a:pt x="946" y="88"/>
                    </a:lnTo>
                    <a:lnTo>
                      <a:pt x="951" y="94"/>
                    </a:lnTo>
                    <a:lnTo>
                      <a:pt x="956" y="97"/>
                    </a:lnTo>
                    <a:lnTo>
                      <a:pt x="956" y="99"/>
                    </a:lnTo>
                    <a:lnTo>
                      <a:pt x="951" y="97"/>
                    </a:lnTo>
                    <a:lnTo>
                      <a:pt x="942" y="94"/>
                    </a:lnTo>
                    <a:lnTo>
                      <a:pt x="928" y="88"/>
                    </a:lnTo>
                    <a:lnTo>
                      <a:pt x="914" y="85"/>
                    </a:lnTo>
                    <a:lnTo>
                      <a:pt x="901" y="79"/>
                    </a:lnTo>
                    <a:lnTo>
                      <a:pt x="887" y="77"/>
                    </a:lnTo>
                    <a:lnTo>
                      <a:pt x="878" y="74"/>
                    </a:lnTo>
                    <a:lnTo>
                      <a:pt x="864" y="68"/>
                    </a:lnTo>
                    <a:lnTo>
                      <a:pt x="846" y="65"/>
                    </a:lnTo>
                    <a:lnTo>
                      <a:pt x="837" y="62"/>
                    </a:lnTo>
                    <a:lnTo>
                      <a:pt x="823" y="60"/>
                    </a:lnTo>
                    <a:lnTo>
                      <a:pt x="809" y="57"/>
                    </a:lnTo>
                    <a:lnTo>
                      <a:pt x="791" y="51"/>
                    </a:lnTo>
                    <a:lnTo>
                      <a:pt x="773" y="51"/>
                    </a:lnTo>
                    <a:lnTo>
                      <a:pt x="755" y="45"/>
                    </a:lnTo>
                    <a:lnTo>
                      <a:pt x="736" y="42"/>
                    </a:lnTo>
                    <a:lnTo>
                      <a:pt x="718" y="40"/>
                    </a:lnTo>
                    <a:lnTo>
                      <a:pt x="700" y="37"/>
                    </a:lnTo>
                    <a:lnTo>
                      <a:pt x="677" y="31"/>
                    </a:lnTo>
                    <a:lnTo>
                      <a:pt x="659" y="31"/>
                    </a:lnTo>
                    <a:lnTo>
                      <a:pt x="649" y="31"/>
                    </a:lnTo>
                    <a:lnTo>
                      <a:pt x="636" y="28"/>
                    </a:lnTo>
                    <a:lnTo>
                      <a:pt x="627" y="28"/>
                    </a:lnTo>
                    <a:lnTo>
                      <a:pt x="617" y="28"/>
                    </a:lnTo>
                    <a:lnTo>
                      <a:pt x="604" y="25"/>
                    </a:lnTo>
                    <a:lnTo>
                      <a:pt x="595" y="25"/>
                    </a:lnTo>
                    <a:lnTo>
                      <a:pt x="585" y="25"/>
                    </a:lnTo>
                    <a:lnTo>
                      <a:pt x="572" y="25"/>
                    </a:lnTo>
                    <a:lnTo>
                      <a:pt x="563" y="25"/>
                    </a:lnTo>
                    <a:lnTo>
                      <a:pt x="553" y="25"/>
                    </a:lnTo>
                    <a:lnTo>
                      <a:pt x="540" y="25"/>
                    </a:lnTo>
                    <a:lnTo>
                      <a:pt x="531" y="25"/>
                    </a:lnTo>
                    <a:lnTo>
                      <a:pt x="517" y="25"/>
                    </a:lnTo>
                    <a:lnTo>
                      <a:pt x="508" y="25"/>
                    </a:lnTo>
                    <a:lnTo>
                      <a:pt x="499" y="25"/>
                    </a:lnTo>
                    <a:lnTo>
                      <a:pt x="485" y="25"/>
                    </a:lnTo>
                    <a:lnTo>
                      <a:pt x="471" y="25"/>
                    </a:lnTo>
                    <a:lnTo>
                      <a:pt x="462" y="25"/>
                    </a:lnTo>
                    <a:lnTo>
                      <a:pt x="448" y="25"/>
                    </a:lnTo>
                    <a:lnTo>
                      <a:pt x="435" y="28"/>
                    </a:lnTo>
                    <a:lnTo>
                      <a:pt x="421" y="28"/>
                    </a:lnTo>
                    <a:lnTo>
                      <a:pt x="412" y="31"/>
                    </a:lnTo>
                    <a:lnTo>
                      <a:pt x="398" y="31"/>
                    </a:lnTo>
                    <a:lnTo>
                      <a:pt x="389" y="31"/>
                    </a:lnTo>
                    <a:lnTo>
                      <a:pt x="375" y="34"/>
                    </a:lnTo>
                    <a:lnTo>
                      <a:pt x="366" y="37"/>
                    </a:lnTo>
                    <a:lnTo>
                      <a:pt x="352" y="37"/>
                    </a:lnTo>
                    <a:lnTo>
                      <a:pt x="343" y="40"/>
                    </a:lnTo>
                    <a:lnTo>
                      <a:pt x="330" y="42"/>
                    </a:lnTo>
                    <a:lnTo>
                      <a:pt x="320" y="42"/>
                    </a:lnTo>
                    <a:lnTo>
                      <a:pt x="311" y="48"/>
                    </a:lnTo>
                    <a:lnTo>
                      <a:pt x="298" y="51"/>
                    </a:lnTo>
                    <a:lnTo>
                      <a:pt x="288" y="51"/>
                    </a:lnTo>
                    <a:lnTo>
                      <a:pt x="275" y="54"/>
                    </a:lnTo>
                    <a:lnTo>
                      <a:pt x="266" y="57"/>
                    </a:lnTo>
                    <a:lnTo>
                      <a:pt x="252" y="60"/>
                    </a:lnTo>
                    <a:lnTo>
                      <a:pt x="243" y="62"/>
                    </a:lnTo>
                    <a:lnTo>
                      <a:pt x="229" y="65"/>
                    </a:lnTo>
                    <a:lnTo>
                      <a:pt x="224" y="68"/>
                    </a:lnTo>
                    <a:lnTo>
                      <a:pt x="211" y="74"/>
                    </a:lnTo>
                    <a:lnTo>
                      <a:pt x="188" y="79"/>
                    </a:lnTo>
                    <a:lnTo>
                      <a:pt x="174" y="85"/>
                    </a:lnTo>
                    <a:lnTo>
                      <a:pt x="156" y="91"/>
                    </a:lnTo>
                    <a:lnTo>
                      <a:pt x="138" y="99"/>
                    </a:lnTo>
                    <a:lnTo>
                      <a:pt x="119" y="105"/>
                    </a:lnTo>
                    <a:lnTo>
                      <a:pt x="101" y="108"/>
                    </a:lnTo>
                    <a:lnTo>
                      <a:pt x="87" y="116"/>
                    </a:lnTo>
                    <a:lnTo>
                      <a:pt x="69" y="119"/>
                    </a:lnTo>
                    <a:lnTo>
                      <a:pt x="55" y="128"/>
                    </a:lnTo>
                    <a:lnTo>
                      <a:pt x="46" y="131"/>
                    </a:lnTo>
                    <a:lnTo>
                      <a:pt x="32" y="136"/>
                    </a:lnTo>
                    <a:lnTo>
                      <a:pt x="23" y="142"/>
                    </a:lnTo>
                    <a:lnTo>
                      <a:pt x="0" y="142"/>
                    </a:lnTo>
                    <a:lnTo>
                      <a:pt x="0" y="136"/>
                    </a:lnTo>
                    <a:lnTo>
                      <a:pt x="0" y="128"/>
                    </a:lnTo>
                    <a:lnTo>
                      <a:pt x="5" y="125"/>
                    </a:lnTo>
                    <a:lnTo>
                      <a:pt x="5" y="11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defTabSz="683577"/>
                <a:endParaRPr lang="en-GB" sz="900">
                  <a:solidFill>
                    <a:srgbClr val="000000"/>
                  </a:solidFill>
                  <a:latin typeface="Arial"/>
                </a:endParaRPr>
              </a:p>
            </p:txBody>
          </p:sp>
        </p:grpSp>
        <p:sp>
          <p:nvSpPr>
            <p:cNvPr id="171" name="Rectangle 56"/>
            <p:cNvSpPr>
              <a:spLocks noChangeArrowheads="1"/>
            </p:cNvSpPr>
            <p:nvPr/>
          </p:nvSpPr>
          <p:spPr bwMode="gray">
            <a:xfrm>
              <a:off x="3466694" y="4440020"/>
              <a:ext cx="662147" cy="382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General</a:t>
              </a:r>
            </a:p>
            <a:p>
              <a:pPr algn="ctr" defTabSz="671132">
                <a:spcBef>
                  <a:spcPct val="0"/>
                </a:spcBef>
                <a:buClr>
                  <a:srgbClr val="036803"/>
                </a:buClr>
                <a:buNone/>
              </a:pPr>
              <a:r>
                <a:rPr lang="en-GB" altLang="ja-JP" sz="900" dirty="0">
                  <a:solidFill>
                    <a:srgbClr val="000000"/>
                  </a:solidFill>
                  <a:latin typeface="Arial" pitchFamily="34" charset="0"/>
                </a:rPr>
                <a:t>Hospital</a:t>
              </a:r>
            </a:p>
          </p:txBody>
        </p:sp>
        <p:sp>
          <p:nvSpPr>
            <p:cNvPr id="172" name="Rectangle 234"/>
            <p:cNvSpPr>
              <a:spLocks noChangeArrowheads="1"/>
            </p:cNvSpPr>
            <p:nvPr/>
          </p:nvSpPr>
          <p:spPr bwMode="gray">
            <a:xfrm>
              <a:off x="373993" y="2416350"/>
              <a:ext cx="649341" cy="13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Patient</a:t>
              </a:r>
            </a:p>
          </p:txBody>
        </p:sp>
        <p:sp>
          <p:nvSpPr>
            <p:cNvPr id="173" name="Rectangle 234"/>
            <p:cNvSpPr>
              <a:spLocks noChangeArrowheads="1"/>
            </p:cNvSpPr>
            <p:nvPr/>
          </p:nvSpPr>
          <p:spPr bwMode="gray">
            <a:xfrm>
              <a:off x="2047299" y="3113850"/>
              <a:ext cx="845296" cy="158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Midwives</a:t>
              </a:r>
            </a:p>
          </p:txBody>
        </p:sp>
        <p:sp>
          <p:nvSpPr>
            <p:cNvPr id="174" name="Rectangle 234"/>
            <p:cNvSpPr>
              <a:spLocks noChangeArrowheads="1"/>
            </p:cNvSpPr>
            <p:nvPr/>
          </p:nvSpPr>
          <p:spPr bwMode="gray">
            <a:xfrm>
              <a:off x="392580" y="4832324"/>
              <a:ext cx="649341" cy="135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Patient</a:t>
              </a:r>
            </a:p>
          </p:txBody>
        </p:sp>
        <p:sp>
          <p:nvSpPr>
            <p:cNvPr id="175" name="Line 191"/>
            <p:cNvSpPr>
              <a:spLocks noChangeShapeType="1"/>
            </p:cNvSpPr>
            <p:nvPr/>
          </p:nvSpPr>
          <p:spPr bwMode="gray">
            <a:xfrm flipV="1">
              <a:off x="4128841" y="3768824"/>
              <a:ext cx="181868" cy="106330"/>
            </a:xfrm>
            <a:prstGeom prst="line">
              <a:avLst/>
            </a:prstGeom>
            <a:noFill/>
            <a:ln w="12700">
              <a:solidFill>
                <a:srgbClr val="FF5050"/>
              </a:solidFill>
              <a:prstDash val="dash"/>
              <a:round/>
              <a:headEnd/>
              <a:tailEnd type="triangle" w="med" len="med"/>
            </a:ln>
            <a:extLst>
              <a:ext uri="{909E8E84-426E-40DD-AFC4-6F175D3DCCD1}">
                <a14:hiddenFill xmlns:a14="http://schemas.microsoft.com/office/drawing/2010/main">
                  <a:noFill/>
                </a14:hiddenFill>
              </a:ext>
            </a:extLst>
          </p:spPr>
          <p:txBody>
            <a:bodyPr lIns="69779" tIns="34894" rIns="69779" bIns="34894"/>
            <a:lstStyle/>
            <a:p>
              <a:pPr defTabSz="683577"/>
              <a:endParaRPr lang="en-GB" sz="900">
                <a:solidFill>
                  <a:srgbClr val="000000"/>
                </a:solidFill>
                <a:latin typeface="Arial"/>
              </a:endParaRPr>
            </a:p>
          </p:txBody>
        </p:sp>
        <p:sp>
          <p:nvSpPr>
            <p:cNvPr id="176" name="Line 192"/>
            <p:cNvSpPr>
              <a:spLocks noChangeShapeType="1"/>
            </p:cNvSpPr>
            <p:nvPr/>
          </p:nvSpPr>
          <p:spPr bwMode="gray">
            <a:xfrm flipH="1" flipV="1">
              <a:off x="3254031" y="3773293"/>
              <a:ext cx="202358" cy="122984"/>
            </a:xfrm>
            <a:prstGeom prst="line">
              <a:avLst/>
            </a:prstGeom>
            <a:noFill/>
            <a:ln w="12700">
              <a:solidFill>
                <a:srgbClr val="FF5050"/>
              </a:solidFill>
              <a:prstDash val="dash"/>
              <a:round/>
              <a:headEnd/>
              <a:tailEnd type="triangle" w="med" len="med"/>
            </a:ln>
            <a:extLst>
              <a:ext uri="{909E8E84-426E-40DD-AFC4-6F175D3DCCD1}">
                <a14:hiddenFill xmlns:a14="http://schemas.microsoft.com/office/drawing/2010/main">
                  <a:noFill/>
                </a14:hiddenFill>
              </a:ext>
            </a:extLst>
          </p:spPr>
          <p:txBody>
            <a:bodyPr lIns="69779" tIns="34894" rIns="69779" bIns="34894"/>
            <a:lstStyle/>
            <a:p>
              <a:pPr defTabSz="683577"/>
              <a:endParaRPr lang="en-GB" sz="900">
                <a:solidFill>
                  <a:srgbClr val="000000"/>
                </a:solidFill>
                <a:latin typeface="Arial"/>
              </a:endParaRPr>
            </a:p>
          </p:txBody>
        </p:sp>
        <p:sp>
          <p:nvSpPr>
            <p:cNvPr id="177" name="Line 193"/>
            <p:cNvSpPr>
              <a:spLocks noChangeShapeType="1"/>
            </p:cNvSpPr>
            <p:nvPr/>
          </p:nvSpPr>
          <p:spPr bwMode="gray">
            <a:xfrm>
              <a:off x="4126195" y="4414007"/>
              <a:ext cx="277924" cy="220347"/>
            </a:xfrm>
            <a:prstGeom prst="line">
              <a:avLst/>
            </a:prstGeom>
            <a:noFill/>
            <a:ln w="12700">
              <a:solidFill>
                <a:srgbClr val="FF5050"/>
              </a:solidFill>
              <a:prstDash val="dash"/>
              <a:round/>
              <a:headEnd/>
              <a:tailEnd type="triangle" w="med" len="med"/>
            </a:ln>
            <a:extLst>
              <a:ext uri="{909E8E84-426E-40DD-AFC4-6F175D3DCCD1}">
                <a14:hiddenFill xmlns:a14="http://schemas.microsoft.com/office/drawing/2010/main">
                  <a:noFill/>
                </a14:hiddenFill>
              </a:ext>
            </a:extLst>
          </p:spPr>
          <p:txBody>
            <a:bodyPr lIns="69779" tIns="34894" rIns="69779" bIns="34894"/>
            <a:lstStyle/>
            <a:p>
              <a:pPr defTabSz="683577"/>
              <a:endParaRPr lang="en-GB" sz="900">
                <a:solidFill>
                  <a:srgbClr val="000000"/>
                </a:solidFill>
                <a:latin typeface="Arial"/>
              </a:endParaRPr>
            </a:p>
          </p:txBody>
        </p:sp>
        <p:sp>
          <p:nvSpPr>
            <p:cNvPr id="179" name="Line 196"/>
            <p:cNvSpPr>
              <a:spLocks noChangeShapeType="1"/>
            </p:cNvSpPr>
            <p:nvPr/>
          </p:nvSpPr>
          <p:spPr bwMode="gray">
            <a:xfrm flipH="1" flipV="1">
              <a:off x="1377786" y="2682231"/>
              <a:ext cx="266339" cy="270241"/>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181" name="Rectangle 204"/>
            <p:cNvSpPr>
              <a:spLocks noChangeArrowheads="1"/>
            </p:cNvSpPr>
            <p:nvPr/>
          </p:nvSpPr>
          <p:spPr bwMode="gray">
            <a:xfrm>
              <a:off x="2875794" y="3774185"/>
              <a:ext cx="253559" cy="14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671132">
                <a:spcBef>
                  <a:spcPct val="0"/>
                </a:spcBef>
                <a:buClr>
                  <a:srgbClr val="036803"/>
                </a:buClr>
                <a:buNone/>
              </a:pPr>
              <a:r>
                <a:rPr lang="en-GB" altLang="en-US" sz="900" dirty="0">
                  <a:solidFill>
                    <a:srgbClr val="000000"/>
                  </a:solidFill>
                  <a:latin typeface="Arial" pitchFamily="34" charset="0"/>
                </a:rPr>
                <a:t>PHC</a:t>
              </a:r>
            </a:p>
          </p:txBody>
        </p:sp>
        <p:sp>
          <p:nvSpPr>
            <p:cNvPr id="182" name="Rectangle 205"/>
            <p:cNvSpPr>
              <a:spLocks noChangeArrowheads="1"/>
            </p:cNvSpPr>
            <p:nvPr/>
          </p:nvSpPr>
          <p:spPr bwMode="gray">
            <a:xfrm>
              <a:off x="4456153" y="3748616"/>
              <a:ext cx="253559" cy="14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671132">
                <a:spcBef>
                  <a:spcPct val="0"/>
                </a:spcBef>
                <a:buClr>
                  <a:srgbClr val="036803"/>
                </a:buClr>
                <a:buNone/>
              </a:pPr>
              <a:r>
                <a:rPr lang="en-GB" altLang="en-US" sz="900">
                  <a:solidFill>
                    <a:srgbClr val="000000"/>
                  </a:solidFill>
                  <a:latin typeface="Arial" pitchFamily="34" charset="0"/>
                </a:rPr>
                <a:t>PHC</a:t>
              </a:r>
            </a:p>
          </p:txBody>
        </p:sp>
        <p:sp>
          <p:nvSpPr>
            <p:cNvPr id="183" name="Rectangle 206"/>
            <p:cNvSpPr>
              <a:spLocks noChangeArrowheads="1"/>
            </p:cNvSpPr>
            <p:nvPr/>
          </p:nvSpPr>
          <p:spPr bwMode="gray">
            <a:xfrm>
              <a:off x="4470056" y="4518882"/>
              <a:ext cx="253559" cy="14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671132">
                <a:spcBef>
                  <a:spcPct val="0"/>
                </a:spcBef>
                <a:buClr>
                  <a:srgbClr val="036803"/>
                </a:buClr>
                <a:buNone/>
              </a:pPr>
              <a:r>
                <a:rPr lang="en-GB" altLang="en-US" sz="900" dirty="0">
                  <a:solidFill>
                    <a:srgbClr val="000000"/>
                  </a:solidFill>
                  <a:latin typeface="Arial" pitchFamily="34" charset="0"/>
                </a:rPr>
                <a:t>PHC</a:t>
              </a:r>
            </a:p>
          </p:txBody>
        </p:sp>
        <p:sp>
          <p:nvSpPr>
            <p:cNvPr id="184" name="Rectangle 207"/>
            <p:cNvSpPr>
              <a:spLocks noChangeArrowheads="1"/>
            </p:cNvSpPr>
            <p:nvPr/>
          </p:nvSpPr>
          <p:spPr bwMode="gray">
            <a:xfrm>
              <a:off x="2856134" y="5217667"/>
              <a:ext cx="253559" cy="14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671132">
                <a:spcBef>
                  <a:spcPct val="0"/>
                </a:spcBef>
                <a:buClr>
                  <a:srgbClr val="036803"/>
                </a:buClr>
                <a:buNone/>
              </a:pPr>
              <a:r>
                <a:rPr lang="en-GB" altLang="en-US" sz="900">
                  <a:solidFill>
                    <a:srgbClr val="000000"/>
                  </a:solidFill>
                  <a:latin typeface="Arial" pitchFamily="34" charset="0"/>
                </a:rPr>
                <a:t>PHC</a:t>
              </a:r>
            </a:p>
          </p:txBody>
        </p:sp>
        <p:sp>
          <p:nvSpPr>
            <p:cNvPr id="185" name="Line 208"/>
            <p:cNvSpPr>
              <a:spLocks noChangeShapeType="1"/>
            </p:cNvSpPr>
            <p:nvPr/>
          </p:nvSpPr>
          <p:spPr bwMode="gray">
            <a:xfrm rot="10800000" flipH="1" flipV="1">
              <a:off x="3316870" y="3737413"/>
              <a:ext cx="202358" cy="122984"/>
            </a:xfrm>
            <a:prstGeom prst="line">
              <a:avLst/>
            </a:prstGeom>
            <a:noFill/>
            <a:ln w="12700">
              <a:solidFill>
                <a:srgbClr val="FF5050"/>
              </a:solidFill>
              <a:prstDash val="dash"/>
              <a:round/>
              <a:headEnd/>
              <a:tailEnd type="triangle" w="med" len="med"/>
            </a:ln>
            <a:extLst>
              <a:ext uri="{909E8E84-426E-40DD-AFC4-6F175D3DCCD1}">
                <a14:hiddenFill xmlns:a14="http://schemas.microsoft.com/office/drawing/2010/main">
                  <a:noFill/>
                </a14:hiddenFill>
              </a:ext>
            </a:extLst>
          </p:spPr>
          <p:txBody>
            <a:bodyPr lIns="69779" tIns="34894" rIns="69779" bIns="34894"/>
            <a:lstStyle/>
            <a:p>
              <a:pPr defTabSz="683577"/>
              <a:endParaRPr lang="en-GB" sz="900">
                <a:solidFill>
                  <a:srgbClr val="000000"/>
                </a:solidFill>
                <a:latin typeface="Arial"/>
              </a:endParaRPr>
            </a:p>
          </p:txBody>
        </p:sp>
        <p:sp>
          <p:nvSpPr>
            <p:cNvPr id="186" name="Line 209"/>
            <p:cNvSpPr>
              <a:spLocks noChangeShapeType="1"/>
            </p:cNvSpPr>
            <p:nvPr/>
          </p:nvSpPr>
          <p:spPr bwMode="gray">
            <a:xfrm rot="10800000" flipV="1">
              <a:off x="4044230" y="3724632"/>
              <a:ext cx="201080" cy="124265"/>
            </a:xfrm>
            <a:prstGeom prst="line">
              <a:avLst/>
            </a:prstGeom>
            <a:noFill/>
            <a:ln w="12700">
              <a:solidFill>
                <a:srgbClr val="FF5050"/>
              </a:solidFill>
              <a:prstDash val="dash"/>
              <a:round/>
              <a:headEnd/>
              <a:tailEnd type="triangle" w="med" len="med"/>
            </a:ln>
            <a:extLst>
              <a:ext uri="{909E8E84-426E-40DD-AFC4-6F175D3DCCD1}">
                <a14:hiddenFill xmlns:a14="http://schemas.microsoft.com/office/drawing/2010/main">
                  <a:noFill/>
                </a14:hiddenFill>
              </a:ext>
            </a:extLst>
          </p:spPr>
          <p:txBody>
            <a:bodyPr lIns="69779" tIns="34894" rIns="69779" bIns="34894"/>
            <a:lstStyle/>
            <a:p>
              <a:pPr defTabSz="683577"/>
              <a:endParaRPr lang="en-GB" sz="900">
                <a:solidFill>
                  <a:srgbClr val="000000"/>
                </a:solidFill>
                <a:latin typeface="Arial"/>
              </a:endParaRPr>
            </a:p>
          </p:txBody>
        </p:sp>
        <p:sp>
          <p:nvSpPr>
            <p:cNvPr id="187" name="Rectangle 210"/>
            <p:cNvSpPr>
              <a:spLocks noChangeArrowheads="1"/>
            </p:cNvSpPr>
            <p:nvPr/>
          </p:nvSpPr>
          <p:spPr bwMode="gray">
            <a:xfrm>
              <a:off x="3439823" y="3479923"/>
              <a:ext cx="713378" cy="140007"/>
            </a:xfrm>
            <a:prstGeom prst="rect">
              <a:avLst/>
            </a:prstGeom>
            <a:noFill/>
            <a:ln>
              <a:noFill/>
            </a:ln>
            <a:extLst/>
          </p:spPr>
          <p:txBody>
            <a:bodyPr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en-US" sz="900">
                  <a:solidFill>
                    <a:srgbClr val="000000"/>
                  </a:solidFill>
                  <a:latin typeface="Arial" pitchFamily="34" charset="0"/>
                </a:rPr>
                <a:t>referral</a:t>
              </a:r>
            </a:p>
          </p:txBody>
        </p:sp>
        <p:sp>
          <p:nvSpPr>
            <p:cNvPr id="188" name="Line 212"/>
            <p:cNvSpPr>
              <a:spLocks noChangeShapeType="1"/>
            </p:cNvSpPr>
            <p:nvPr/>
          </p:nvSpPr>
          <p:spPr bwMode="gray">
            <a:xfrm rot="10800000">
              <a:off x="4139638" y="4326251"/>
              <a:ext cx="277924" cy="220347"/>
            </a:xfrm>
            <a:prstGeom prst="line">
              <a:avLst/>
            </a:prstGeom>
            <a:noFill/>
            <a:ln w="12700">
              <a:solidFill>
                <a:srgbClr val="FF5050"/>
              </a:solidFill>
              <a:prstDash val="dash"/>
              <a:round/>
              <a:headEnd/>
              <a:tailEnd type="triangle" w="med" len="med"/>
            </a:ln>
            <a:extLst>
              <a:ext uri="{909E8E84-426E-40DD-AFC4-6F175D3DCCD1}">
                <a14:hiddenFill xmlns:a14="http://schemas.microsoft.com/office/drawing/2010/main">
                  <a:noFill/>
                </a14:hiddenFill>
              </a:ext>
            </a:extLst>
          </p:spPr>
          <p:txBody>
            <a:bodyPr lIns="69779" tIns="34894" rIns="69779" bIns="34894"/>
            <a:lstStyle/>
            <a:p>
              <a:pPr defTabSz="683577"/>
              <a:endParaRPr lang="en-GB" sz="900">
                <a:solidFill>
                  <a:srgbClr val="000000"/>
                </a:solidFill>
                <a:latin typeface="Arial"/>
              </a:endParaRPr>
            </a:p>
          </p:txBody>
        </p:sp>
        <p:sp>
          <p:nvSpPr>
            <p:cNvPr id="189" name="Line 214"/>
            <p:cNvSpPr>
              <a:spLocks noChangeShapeType="1"/>
            </p:cNvSpPr>
            <p:nvPr/>
          </p:nvSpPr>
          <p:spPr bwMode="gray">
            <a:xfrm rot="10800000" flipH="1">
              <a:off x="3127208" y="4330732"/>
              <a:ext cx="277924" cy="220347"/>
            </a:xfrm>
            <a:prstGeom prst="line">
              <a:avLst/>
            </a:prstGeom>
            <a:noFill/>
            <a:ln w="12700">
              <a:solidFill>
                <a:srgbClr val="FF5050"/>
              </a:solidFill>
              <a:prstDash val="dash"/>
              <a:round/>
              <a:headEnd/>
              <a:tailEnd type="triangle" w="med" len="med"/>
            </a:ln>
            <a:extLst>
              <a:ext uri="{909E8E84-426E-40DD-AFC4-6F175D3DCCD1}">
                <a14:hiddenFill xmlns:a14="http://schemas.microsoft.com/office/drawing/2010/main">
                  <a:noFill/>
                </a14:hiddenFill>
              </a:ext>
            </a:extLst>
          </p:spPr>
          <p:txBody>
            <a:bodyPr lIns="69779" tIns="34894" rIns="69779" bIns="34894"/>
            <a:lstStyle/>
            <a:p>
              <a:pPr defTabSz="683577"/>
              <a:endParaRPr lang="en-GB" sz="900">
                <a:solidFill>
                  <a:srgbClr val="000000"/>
                </a:solidFill>
                <a:latin typeface="Arial"/>
              </a:endParaRPr>
            </a:p>
          </p:txBody>
        </p:sp>
        <p:sp>
          <p:nvSpPr>
            <p:cNvPr id="190" name="Line 216"/>
            <p:cNvSpPr>
              <a:spLocks noChangeShapeType="1"/>
            </p:cNvSpPr>
            <p:nvPr/>
          </p:nvSpPr>
          <p:spPr bwMode="gray">
            <a:xfrm rot="10800000" flipV="1">
              <a:off x="3138754" y="4400556"/>
              <a:ext cx="276642" cy="220347"/>
            </a:xfrm>
            <a:prstGeom prst="line">
              <a:avLst/>
            </a:prstGeom>
            <a:noFill/>
            <a:ln w="12700">
              <a:solidFill>
                <a:srgbClr val="FF5050"/>
              </a:solidFill>
              <a:prstDash val="dash"/>
              <a:round/>
              <a:headEnd/>
              <a:tailEnd type="triangle" w="med" len="med"/>
            </a:ln>
            <a:extLst>
              <a:ext uri="{909E8E84-426E-40DD-AFC4-6F175D3DCCD1}">
                <a14:hiddenFill xmlns:a14="http://schemas.microsoft.com/office/drawing/2010/main">
                  <a:noFill/>
                </a14:hiddenFill>
              </a:ext>
            </a:extLst>
          </p:spPr>
          <p:txBody>
            <a:bodyPr lIns="69779" tIns="34894" rIns="69779" bIns="34894"/>
            <a:lstStyle/>
            <a:p>
              <a:pPr defTabSz="683577"/>
              <a:endParaRPr lang="en-GB" sz="900">
                <a:solidFill>
                  <a:srgbClr val="000000"/>
                </a:solidFill>
                <a:latin typeface="Arial"/>
              </a:endParaRPr>
            </a:p>
          </p:txBody>
        </p:sp>
        <p:sp>
          <p:nvSpPr>
            <p:cNvPr id="191" name="Rectangle 217"/>
            <p:cNvSpPr>
              <a:spLocks noChangeArrowheads="1"/>
            </p:cNvSpPr>
            <p:nvPr/>
          </p:nvSpPr>
          <p:spPr bwMode="gray">
            <a:xfrm>
              <a:off x="4275005" y="1853481"/>
              <a:ext cx="380340" cy="140007"/>
            </a:xfrm>
            <a:prstGeom prst="rect">
              <a:avLst/>
            </a:prstGeom>
            <a:solidFill>
              <a:schemeClr val="bg1"/>
            </a:solidFill>
            <a:ln w="76200">
              <a:solidFill>
                <a:schemeClr val="bg1"/>
              </a:solidFill>
              <a:miter lim="800000"/>
              <a:headEnd/>
              <a:tailEnd/>
            </a:ln>
          </p:spPr>
          <p:txBody>
            <a:bodyPr wrap="non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en-US" sz="900" dirty="0">
                  <a:solidFill>
                    <a:srgbClr val="000000"/>
                  </a:solidFill>
                  <a:latin typeface="Arial" pitchFamily="34" charset="0"/>
                </a:rPr>
                <a:t> WDCs</a:t>
              </a:r>
            </a:p>
          </p:txBody>
        </p:sp>
        <p:sp>
          <p:nvSpPr>
            <p:cNvPr id="195" name="Line 221"/>
            <p:cNvSpPr>
              <a:spLocks noChangeShapeType="1"/>
            </p:cNvSpPr>
            <p:nvPr>
              <p:custDataLst>
                <p:tags r:id="rId2"/>
              </p:custDataLst>
            </p:nvPr>
          </p:nvSpPr>
          <p:spPr bwMode="gray">
            <a:xfrm flipH="1" flipV="1">
              <a:off x="1440546" y="5242281"/>
              <a:ext cx="266339" cy="270803"/>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197" name="Rectangle 234"/>
            <p:cNvSpPr>
              <a:spLocks noChangeArrowheads="1"/>
            </p:cNvSpPr>
            <p:nvPr/>
          </p:nvSpPr>
          <p:spPr bwMode="gray">
            <a:xfrm>
              <a:off x="1783813" y="5176517"/>
              <a:ext cx="845296" cy="157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Mid\wives</a:t>
              </a:r>
            </a:p>
          </p:txBody>
        </p:sp>
        <p:sp>
          <p:nvSpPr>
            <p:cNvPr id="198" name="Rectangle 234"/>
            <p:cNvSpPr>
              <a:spLocks noChangeArrowheads="1"/>
            </p:cNvSpPr>
            <p:nvPr/>
          </p:nvSpPr>
          <p:spPr bwMode="gray">
            <a:xfrm>
              <a:off x="6562413" y="2322762"/>
              <a:ext cx="650622" cy="13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Patient</a:t>
              </a:r>
            </a:p>
          </p:txBody>
        </p:sp>
        <p:sp>
          <p:nvSpPr>
            <p:cNvPr id="199" name="Rectangle 234"/>
            <p:cNvSpPr>
              <a:spLocks noChangeArrowheads="1"/>
            </p:cNvSpPr>
            <p:nvPr/>
          </p:nvSpPr>
          <p:spPr bwMode="gray">
            <a:xfrm>
              <a:off x="6562415" y="4829263"/>
              <a:ext cx="649341" cy="135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Patient</a:t>
              </a:r>
            </a:p>
          </p:txBody>
        </p:sp>
        <p:sp>
          <p:nvSpPr>
            <p:cNvPr id="200" name="Rectangle 234"/>
            <p:cNvSpPr>
              <a:spLocks noChangeArrowheads="1"/>
            </p:cNvSpPr>
            <p:nvPr/>
          </p:nvSpPr>
          <p:spPr bwMode="gray">
            <a:xfrm>
              <a:off x="4522554" y="2940932"/>
              <a:ext cx="846578" cy="157573"/>
            </a:xfrm>
            <a:prstGeom prst="rect">
              <a:avLst/>
            </a:prstGeom>
            <a:noFill/>
            <a:ln>
              <a:noFill/>
            </a:ln>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Midwives</a:t>
              </a:r>
            </a:p>
          </p:txBody>
        </p:sp>
        <p:sp>
          <p:nvSpPr>
            <p:cNvPr id="203" name="Line 243"/>
            <p:cNvSpPr>
              <a:spLocks noChangeShapeType="1"/>
            </p:cNvSpPr>
            <p:nvPr>
              <p:custDataLst>
                <p:tags r:id="rId3"/>
              </p:custDataLst>
            </p:nvPr>
          </p:nvSpPr>
          <p:spPr bwMode="gray">
            <a:xfrm flipV="1">
              <a:off x="5814509" y="2817451"/>
              <a:ext cx="266761" cy="270803"/>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07" name="Line 253"/>
            <p:cNvSpPr>
              <a:spLocks noChangeShapeType="1"/>
            </p:cNvSpPr>
            <p:nvPr>
              <p:custDataLst>
                <p:tags r:id="rId4"/>
              </p:custDataLst>
            </p:nvPr>
          </p:nvSpPr>
          <p:spPr bwMode="gray">
            <a:xfrm flipV="1">
              <a:off x="5780564" y="5250805"/>
              <a:ext cx="266761" cy="270241"/>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09" name="Rectangle 234"/>
            <p:cNvSpPr>
              <a:spLocks noChangeArrowheads="1"/>
            </p:cNvSpPr>
            <p:nvPr/>
          </p:nvSpPr>
          <p:spPr bwMode="gray">
            <a:xfrm>
              <a:off x="4488462" y="5372324"/>
              <a:ext cx="845296" cy="158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Midwives</a:t>
              </a:r>
            </a:p>
          </p:txBody>
        </p:sp>
        <p:pic>
          <p:nvPicPr>
            <p:cNvPr id="210" name="Picture 184"/>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1160050" y="2305332"/>
              <a:ext cx="153691" cy="435569"/>
            </a:xfrm>
            <a:prstGeom prst="rect">
              <a:avLst/>
            </a:prstGeom>
            <a:solidFill>
              <a:srgbClr val="FFFF00"/>
            </a:solidFill>
            <a:ln>
              <a:noFill/>
            </a:ln>
            <a:extLst/>
          </p:spPr>
        </p:pic>
        <p:pic>
          <p:nvPicPr>
            <p:cNvPr id="211" name="Picture 187"/>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2425439" y="2669475"/>
              <a:ext cx="153691" cy="435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 name="Picture 190"/>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1195920" y="4789031"/>
              <a:ext cx="153691" cy="435569"/>
            </a:xfrm>
            <a:prstGeom prst="rect">
              <a:avLst/>
            </a:prstGeom>
            <a:solidFill>
              <a:srgbClr val="FFFF00"/>
            </a:solidFill>
            <a:ln>
              <a:noFill/>
            </a:ln>
            <a:extLst/>
          </p:spPr>
        </p:pic>
        <p:sp>
          <p:nvSpPr>
            <p:cNvPr id="213" name="Rectangle 234"/>
            <p:cNvSpPr>
              <a:spLocks noChangeArrowheads="1"/>
            </p:cNvSpPr>
            <p:nvPr/>
          </p:nvSpPr>
          <p:spPr bwMode="gray">
            <a:xfrm>
              <a:off x="932937" y="2800082"/>
              <a:ext cx="559690" cy="109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CHIPS</a:t>
              </a:r>
            </a:p>
          </p:txBody>
        </p:sp>
        <p:pic>
          <p:nvPicPr>
            <p:cNvPr id="214" name="Picture 200"/>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595630" y="1970421"/>
              <a:ext cx="154089" cy="43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 name="Rectangle 234"/>
            <p:cNvSpPr>
              <a:spLocks noChangeArrowheads="1"/>
            </p:cNvSpPr>
            <p:nvPr/>
          </p:nvSpPr>
          <p:spPr bwMode="gray">
            <a:xfrm>
              <a:off x="1498827" y="3561538"/>
              <a:ext cx="559687" cy="109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CHWs</a:t>
              </a:r>
            </a:p>
          </p:txBody>
        </p:sp>
        <p:pic>
          <p:nvPicPr>
            <p:cNvPr id="216" name="Picture 203"/>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1699220" y="3243050"/>
              <a:ext cx="154088" cy="436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7" name="Picture 225"/>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2005322" y="4661312"/>
              <a:ext cx="153691" cy="435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8" name="Rectangle 234"/>
            <p:cNvSpPr>
              <a:spLocks noChangeArrowheads="1"/>
            </p:cNvSpPr>
            <p:nvPr/>
          </p:nvSpPr>
          <p:spPr bwMode="gray">
            <a:xfrm>
              <a:off x="978891" y="5290283"/>
              <a:ext cx="559687" cy="472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CHIPS</a:t>
              </a:r>
            </a:p>
          </p:txBody>
        </p:sp>
        <p:pic>
          <p:nvPicPr>
            <p:cNvPr id="219" name="Picture 228"/>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672504" y="4373951"/>
              <a:ext cx="154088" cy="435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0" name="Rectangle 234"/>
            <p:cNvSpPr>
              <a:spLocks noChangeArrowheads="1"/>
            </p:cNvSpPr>
            <p:nvPr/>
          </p:nvSpPr>
          <p:spPr bwMode="gray">
            <a:xfrm>
              <a:off x="2045651" y="5762794"/>
              <a:ext cx="559690" cy="109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CHWs</a:t>
              </a:r>
            </a:p>
          </p:txBody>
        </p:sp>
        <p:pic>
          <p:nvPicPr>
            <p:cNvPr id="221" name="Picture 231"/>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2351734" y="5245722"/>
              <a:ext cx="154089" cy="435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2" name="Picture 234"/>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6733393" y="1820778"/>
              <a:ext cx="153691" cy="435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3" name="Picture 240"/>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6154907" y="4853250"/>
              <a:ext cx="154972" cy="436850"/>
            </a:xfrm>
            <a:prstGeom prst="rect">
              <a:avLst/>
            </a:prstGeom>
            <a:solidFill>
              <a:srgbClr val="FFFF00"/>
            </a:solidFill>
            <a:ln>
              <a:noFill/>
            </a:ln>
            <a:extLst/>
          </p:spPr>
        </p:pic>
        <p:pic>
          <p:nvPicPr>
            <p:cNvPr id="224" name="Picture 237"/>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4888397" y="2521355"/>
              <a:ext cx="153691" cy="435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7" name="Rectangle 234"/>
            <p:cNvSpPr>
              <a:spLocks noChangeArrowheads="1"/>
            </p:cNvSpPr>
            <p:nvPr/>
          </p:nvSpPr>
          <p:spPr bwMode="gray">
            <a:xfrm>
              <a:off x="5423673" y="3339574"/>
              <a:ext cx="559687" cy="109604"/>
            </a:xfrm>
            <a:prstGeom prst="rect">
              <a:avLst/>
            </a:prstGeom>
            <a:noFill/>
            <a:ln>
              <a:noFill/>
            </a:ln>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CHWs</a:t>
              </a:r>
            </a:p>
          </p:txBody>
        </p:sp>
        <p:pic>
          <p:nvPicPr>
            <p:cNvPr id="228" name="Picture 250"/>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5605512" y="2893373"/>
              <a:ext cx="154088" cy="436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9" name="Picture 257"/>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4938893" y="4926363"/>
              <a:ext cx="154971" cy="435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0" name="Rectangle 234"/>
            <p:cNvSpPr>
              <a:spLocks noChangeArrowheads="1"/>
            </p:cNvSpPr>
            <p:nvPr/>
          </p:nvSpPr>
          <p:spPr bwMode="gray">
            <a:xfrm>
              <a:off x="6007802" y="5300004"/>
              <a:ext cx="558409" cy="109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CHIPS</a:t>
              </a:r>
            </a:p>
          </p:txBody>
        </p:sp>
        <p:pic>
          <p:nvPicPr>
            <p:cNvPr id="231" name="Picture 260"/>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6825947" y="4362415"/>
              <a:ext cx="153735" cy="435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2" name="Rectangle 234"/>
            <p:cNvSpPr>
              <a:spLocks noChangeArrowheads="1"/>
            </p:cNvSpPr>
            <p:nvPr/>
          </p:nvSpPr>
          <p:spPr bwMode="gray">
            <a:xfrm>
              <a:off x="5399270" y="5935491"/>
              <a:ext cx="559690" cy="109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a:solidFill>
                    <a:srgbClr val="000000"/>
                  </a:solidFill>
                  <a:latin typeface="Arial" pitchFamily="34" charset="0"/>
                </a:rPr>
                <a:t>CHWs</a:t>
              </a:r>
            </a:p>
          </p:txBody>
        </p:sp>
        <p:pic>
          <p:nvPicPr>
            <p:cNvPr id="233" name="Picture 263"/>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5581303" y="5490134"/>
              <a:ext cx="154089" cy="435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4" name="Group 233"/>
            <p:cNvGrpSpPr/>
            <p:nvPr/>
          </p:nvGrpSpPr>
          <p:grpSpPr bwMode="gray">
            <a:xfrm>
              <a:off x="3466694" y="3763067"/>
              <a:ext cx="662147" cy="627351"/>
              <a:chOff x="5332997" y="3252803"/>
              <a:chExt cx="662320" cy="627351"/>
            </a:xfrm>
          </p:grpSpPr>
          <p:grpSp>
            <p:nvGrpSpPr>
              <p:cNvPr id="235" name="Group 47"/>
              <p:cNvGrpSpPr>
                <a:grpSpLocks/>
              </p:cNvGrpSpPr>
              <p:nvPr>
                <p:custDataLst>
                  <p:tags r:id="rId13"/>
                </p:custDataLst>
              </p:nvPr>
            </p:nvGrpSpPr>
            <p:grpSpPr bwMode="gray">
              <a:xfrm>
                <a:off x="5332997" y="3252803"/>
                <a:ext cx="662320" cy="627351"/>
                <a:chOff x="2736" y="1877"/>
                <a:chExt cx="666" cy="670"/>
              </a:xfrm>
            </p:grpSpPr>
            <p:sp>
              <p:nvSpPr>
                <p:cNvPr id="239" name="AutoShape 48"/>
                <p:cNvSpPr>
                  <a:spLocks noChangeArrowheads="1"/>
                </p:cNvSpPr>
                <p:nvPr>
                  <p:custDataLst>
                    <p:tags r:id="rId15"/>
                  </p:custDataLst>
                </p:nvPr>
              </p:nvSpPr>
              <p:spPr bwMode="gray">
                <a:xfrm>
                  <a:off x="2736" y="1877"/>
                  <a:ext cx="666" cy="191"/>
                </a:xfrm>
                <a:prstGeom prst="triangle">
                  <a:avLst>
                    <a:gd name="adj" fmla="val 50000"/>
                  </a:avLst>
                </a:prstGeom>
                <a:solidFill>
                  <a:srgbClr val="00B0F0"/>
                </a:solidFill>
                <a:ln w="9525">
                  <a:noFill/>
                  <a:miter lim="800000"/>
                  <a:headEnd/>
                  <a:tailEnd/>
                </a:ln>
              </p:spPr>
              <p:txBody>
                <a:bodyPr wrap="none"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683577">
                    <a:spcBef>
                      <a:spcPct val="0"/>
                    </a:spcBef>
                    <a:buNone/>
                  </a:pPr>
                  <a:endParaRPr lang="en-US" altLang="en-US" sz="900">
                    <a:solidFill>
                      <a:srgbClr val="000000"/>
                    </a:solidFill>
                    <a:latin typeface="Arial" pitchFamily="34" charset="0"/>
                  </a:endParaRPr>
                </a:p>
              </p:txBody>
            </p:sp>
            <p:sp>
              <p:nvSpPr>
                <p:cNvPr id="240" name="Rectangle 49"/>
                <p:cNvSpPr>
                  <a:spLocks noChangeArrowheads="1"/>
                </p:cNvSpPr>
                <p:nvPr>
                  <p:custDataLst>
                    <p:tags r:id="rId16"/>
                  </p:custDataLst>
                </p:nvPr>
              </p:nvSpPr>
              <p:spPr bwMode="gray">
                <a:xfrm>
                  <a:off x="2811" y="2068"/>
                  <a:ext cx="515" cy="479"/>
                </a:xfrm>
                <a:prstGeom prst="rect">
                  <a:avLst/>
                </a:prstGeom>
                <a:solidFill>
                  <a:srgbClr val="00B0F0"/>
                </a:solidFill>
                <a:ln w="9525">
                  <a:noFill/>
                  <a:miter lim="800000"/>
                  <a:headEnd/>
                  <a:tailEnd/>
                </a:ln>
              </p:spPr>
              <p:txBody>
                <a:bodyPr wrap="none"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683577">
                    <a:spcBef>
                      <a:spcPct val="0"/>
                    </a:spcBef>
                    <a:buNone/>
                  </a:pPr>
                  <a:endParaRPr lang="en-US" altLang="en-US" sz="900">
                    <a:solidFill>
                      <a:srgbClr val="000000"/>
                    </a:solidFill>
                    <a:latin typeface="Arial" pitchFamily="34" charset="0"/>
                  </a:endParaRPr>
                </a:p>
              </p:txBody>
            </p:sp>
          </p:grpSp>
          <p:grpSp>
            <p:nvGrpSpPr>
              <p:cNvPr id="236" name="Group 235"/>
              <p:cNvGrpSpPr/>
              <p:nvPr/>
            </p:nvGrpSpPr>
            <p:grpSpPr bwMode="gray">
              <a:xfrm>
                <a:off x="5478190" y="3468162"/>
                <a:ext cx="371933" cy="349257"/>
                <a:chOff x="5478190" y="3468162"/>
                <a:chExt cx="371933" cy="349257"/>
              </a:xfrm>
            </p:grpSpPr>
            <p:sp>
              <p:nvSpPr>
                <p:cNvPr id="237" name="Rectangle 51"/>
                <p:cNvSpPr>
                  <a:spLocks noChangeArrowheads="1"/>
                </p:cNvSpPr>
                <p:nvPr>
                  <p:custDataLst>
                    <p:tags r:id="rId14"/>
                  </p:custDataLst>
                </p:nvPr>
              </p:nvSpPr>
              <p:spPr bwMode="gray">
                <a:xfrm>
                  <a:off x="5478190" y="3468162"/>
                  <a:ext cx="371933" cy="349257"/>
                </a:xfrm>
                <a:prstGeom prst="rect">
                  <a:avLst/>
                </a:prstGeom>
                <a:solidFill>
                  <a:schemeClr val="bg1">
                    <a:lumMod val="95000"/>
                  </a:schemeClr>
                </a:solidFill>
                <a:ln w="28575">
                  <a:noFill/>
                  <a:miter lim="800000"/>
                  <a:headEnd/>
                  <a:tailEnd/>
                </a:ln>
              </p:spPr>
              <p:txBody>
                <a:bodyPr wrap="none"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683577">
                    <a:spcBef>
                      <a:spcPct val="0"/>
                    </a:spcBef>
                    <a:buNone/>
                  </a:pPr>
                  <a:endParaRPr lang="en-US" altLang="en-US" sz="900">
                    <a:solidFill>
                      <a:srgbClr val="000000"/>
                    </a:solidFill>
                    <a:latin typeface="Arial" pitchFamily="34" charset="0"/>
                  </a:endParaRPr>
                </a:p>
              </p:txBody>
            </p:sp>
            <p:sp>
              <p:nvSpPr>
                <p:cNvPr id="238" name="Plus 237"/>
                <p:cNvSpPr/>
                <p:nvPr/>
              </p:nvSpPr>
              <p:spPr bwMode="gray">
                <a:xfrm>
                  <a:off x="5491870" y="3470505"/>
                  <a:ext cx="344574" cy="344572"/>
                </a:xfrm>
                <a:prstGeom prst="mathPlus">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577"/>
                  <a:endParaRPr lang="en-GB" sz="1300">
                    <a:solidFill>
                      <a:srgbClr val="FFFFFF"/>
                    </a:solidFill>
                  </a:endParaRPr>
                </a:p>
              </p:txBody>
            </p:sp>
          </p:grpSp>
        </p:grpSp>
        <p:sp>
          <p:nvSpPr>
            <p:cNvPr id="241" name="Rectangle 234"/>
            <p:cNvSpPr>
              <a:spLocks noChangeArrowheads="1"/>
            </p:cNvSpPr>
            <p:nvPr/>
          </p:nvSpPr>
          <p:spPr bwMode="gray">
            <a:xfrm>
              <a:off x="6008786" y="2933955"/>
              <a:ext cx="559690" cy="109352"/>
            </a:xfrm>
            <a:prstGeom prst="rect">
              <a:avLst/>
            </a:prstGeom>
            <a:noFill/>
            <a:ln>
              <a:noFill/>
            </a:ln>
            <a:extLst/>
          </p:spPr>
          <p:txBody>
            <a:bodyPr lIns="0" tIns="0" rIns="0" bIns="0"/>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ja-JP" sz="900" dirty="0">
                  <a:solidFill>
                    <a:srgbClr val="000000"/>
                  </a:solidFill>
                  <a:latin typeface="Arial" pitchFamily="34" charset="0"/>
                </a:rPr>
                <a:t>CHIPS</a:t>
              </a:r>
            </a:p>
          </p:txBody>
        </p:sp>
        <p:pic>
          <p:nvPicPr>
            <p:cNvPr id="242" name="Picture 247"/>
            <p:cNvPicPr>
              <a:picLocks noChangeAspect="1" noChangeArrowheads="1"/>
            </p:cNvPicPr>
            <p:nvPr/>
          </p:nvPicPr>
          <p:blipFill>
            <a:blip r:embed="rId182">
              <a:extLst>
                <a:ext uri="{28A0092B-C50C-407E-A947-70E740481C1C}">
                  <a14:useLocalDpi xmlns:a14="http://schemas.microsoft.com/office/drawing/2010/main" val="0"/>
                </a:ext>
              </a:extLst>
            </a:blip>
            <a:srcRect l="35135" t="20874" r="36487" b="11143"/>
            <a:stretch>
              <a:fillRect/>
            </a:stretch>
          </p:blipFill>
          <p:spPr bwMode="gray">
            <a:xfrm>
              <a:off x="6155898" y="2416350"/>
              <a:ext cx="154089" cy="435418"/>
            </a:xfrm>
            <a:prstGeom prst="rect">
              <a:avLst/>
            </a:prstGeom>
            <a:solidFill>
              <a:srgbClr val="FFFF00"/>
            </a:solidFill>
            <a:ln w="9525">
              <a:solidFill>
                <a:srgbClr val="FFFF00"/>
              </a:solidFill>
              <a:miter lim="800000"/>
              <a:headEnd/>
              <a:tailEnd/>
            </a:ln>
            <a:extLst/>
          </p:spPr>
        </p:pic>
        <p:sp>
          <p:nvSpPr>
            <p:cNvPr id="243" name="Line 244"/>
            <p:cNvSpPr>
              <a:spLocks noChangeShapeType="1"/>
            </p:cNvSpPr>
            <p:nvPr>
              <p:custDataLst>
                <p:tags r:id="rId5"/>
              </p:custDataLst>
            </p:nvPr>
          </p:nvSpPr>
          <p:spPr bwMode="gray">
            <a:xfrm flipV="1">
              <a:off x="6331508" y="2278279"/>
              <a:ext cx="336984" cy="349646"/>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44" name="Line 253"/>
            <p:cNvSpPr>
              <a:spLocks noChangeShapeType="1"/>
            </p:cNvSpPr>
            <p:nvPr>
              <p:custDataLst>
                <p:tags r:id="rId6"/>
              </p:custDataLst>
            </p:nvPr>
          </p:nvSpPr>
          <p:spPr bwMode="gray">
            <a:xfrm flipV="1">
              <a:off x="6388371" y="4676118"/>
              <a:ext cx="266761" cy="270241"/>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45" name="Line 196"/>
            <p:cNvSpPr>
              <a:spLocks noChangeShapeType="1"/>
            </p:cNvSpPr>
            <p:nvPr/>
          </p:nvSpPr>
          <p:spPr bwMode="gray">
            <a:xfrm flipH="1" flipV="1">
              <a:off x="785346" y="2151871"/>
              <a:ext cx="266339" cy="270241"/>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46" name="Line 196"/>
            <p:cNvSpPr>
              <a:spLocks noChangeShapeType="1"/>
            </p:cNvSpPr>
            <p:nvPr/>
          </p:nvSpPr>
          <p:spPr bwMode="gray">
            <a:xfrm flipH="1">
              <a:off x="1961002" y="2887279"/>
              <a:ext cx="294564" cy="254181"/>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47" name="Line 243"/>
            <p:cNvSpPr>
              <a:spLocks noChangeShapeType="1"/>
            </p:cNvSpPr>
            <p:nvPr>
              <p:custDataLst>
                <p:tags r:id="rId7"/>
              </p:custDataLst>
            </p:nvPr>
          </p:nvSpPr>
          <p:spPr bwMode="gray">
            <a:xfrm>
              <a:off x="5192911" y="2816451"/>
              <a:ext cx="277027" cy="238609"/>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48" name="Line 243"/>
            <p:cNvSpPr>
              <a:spLocks noChangeShapeType="1"/>
            </p:cNvSpPr>
            <p:nvPr>
              <p:custDataLst>
                <p:tags r:id="rId8"/>
              </p:custDataLst>
            </p:nvPr>
          </p:nvSpPr>
          <p:spPr bwMode="gray">
            <a:xfrm>
              <a:off x="5237979" y="5495103"/>
              <a:ext cx="277027" cy="238609"/>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49" name="Line 196"/>
            <p:cNvSpPr>
              <a:spLocks noChangeShapeType="1"/>
            </p:cNvSpPr>
            <p:nvPr/>
          </p:nvSpPr>
          <p:spPr bwMode="gray">
            <a:xfrm flipH="1" flipV="1">
              <a:off x="886760" y="4597982"/>
              <a:ext cx="266339" cy="270241"/>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50" name="Line 196"/>
            <p:cNvSpPr>
              <a:spLocks noChangeShapeType="1"/>
            </p:cNvSpPr>
            <p:nvPr/>
          </p:nvSpPr>
          <p:spPr bwMode="gray">
            <a:xfrm flipH="1">
              <a:off x="1895944" y="5194771"/>
              <a:ext cx="294564" cy="254181"/>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3" name="Rectangle 2"/>
            <p:cNvSpPr/>
            <p:nvPr/>
          </p:nvSpPr>
          <p:spPr bwMode="auto">
            <a:xfrm>
              <a:off x="4171850" y="1779340"/>
              <a:ext cx="2998215" cy="2238040"/>
            </a:xfrm>
            <a:prstGeom prst="rect">
              <a:avLst/>
            </a:prstGeom>
            <a:noFill/>
            <a:ln w="3175" cap="flat" cmpd="sng" algn="ctr">
              <a:solidFill>
                <a:schemeClr val="hlink"/>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313" tIns="35008" rIns="67313" bIns="35008" numCol="1" rtlCol="0" anchor="ctr" anchorCtr="0" compatLnSpc="1">
              <a:prstTxWarp prst="textNoShape">
                <a:avLst/>
              </a:prstTxWarp>
            </a:bodyPr>
            <a:lstStyle/>
            <a:p>
              <a:pPr defTabSz="683577"/>
              <a:endParaRPr lang="en-US" sz="1100" i="1">
                <a:solidFill>
                  <a:srgbClr val="000000"/>
                </a:solidFill>
                <a:latin typeface="Arial"/>
              </a:endParaRPr>
            </a:p>
          </p:txBody>
        </p:sp>
        <p:sp>
          <p:nvSpPr>
            <p:cNvPr id="254" name="Rectangle 253"/>
            <p:cNvSpPr/>
            <p:nvPr/>
          </p:nvSpPr>
          <p:spPr bwMode="auto">
            <a:xfrm>
              <a:off x="4164081" y="4272889"/>
              <a:ext cx="2998215" cy="2238040"/>
            </a:xfrm>
            <a:prstGeom prst="rect">
              <a:avLst/>
            </a:prstGeom>
            <a:noFill/>
            <a:ln w="3175" cap="flat" cmpd="sng" algn="ctr">
              <a:solidFill>
                <a:schemeClr val="hlink"/>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313" tIns="35008" rIns="67313" bIns="35008" numCol="1" rtlCol="0" anchor="ctr" anchorCtr="0" compatLnSpc="1">
              <a:prstTxWarp prst="textNoShape">
                <a:avLst/>
              </a:prstTxWarp>
            </a:bodyPr>
            <a:lstStyle/>
            <a:p>
              <a:pPr defTabSz="683577"/>
              <a:endParaRPr lang="en-US" sz="1100" i="1">
                <a:solidFill>
                  <a:srgbClr val="000000"/>
                </a:solidFill>
                <a:latin typeface="Arial"/>
              </a:endParaRPr>
            </a:p>
          </p:txBody>
        </p:sp>
        <p:sp>
          <p:nvSpPr>
            <p:cNvPr id="255" name="Rectangle 254"/>
            <p:cNvSpPr/>
            <p:nvPr/>
          </p:nvSpPr>
          <p:spPr bwMode="auto">
            <a:xfrm>
              <a:off x="410659" y="1768406"/>
              <a:ext cx="2998215" cy="2238040"/>
            </a:xfrm>
            <a:prstGeom prst="rect">
              <a:avLst/>
            </a:prstGeom>
            <a:noFill/>
            <a:ln w="3175" cap="flat" cmpd="sng" algn="ctr">
              <a:solidFill>
                <a:schemeClr val="hlink"/>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313" tIns="35008" rIns="67313" bIns="35008" numCol="1" rtlCol="0" anchor="ctr" anchorCtr="0" compatLnSpc="1">
              <a:prstTxWarp prst="textNoShape">
                <a:avLst/>
              </a:prstTxWarp>
            </a:bodyPr>
            <a:lstStyle/>
            <a:p>
              <a:pPr defTabSz="683577"/>
              <a:endParaRPr lang="en-US" sz="1100" i="1">
                <a:solidFill>
                  <a:srgbClr val="000000"/>
                </a:solidFill>
                <a:latin typeface="Arial"/>
              </a:endParaRPr>
            </a:p>
          </p:txBody>
        </p:sp>
        <p:sp>
          <p:nvSpPr>
            <p:cNvPr id="256" name="Rectangle 255"/>
            <p:cNvSpPr/>
            <p:nvPr/>
          </p:nvSpPr>
          <p:spPr bwMode="auto">
            <a:xfrm>
              <a:off x="402344" y="4286855"/>
              <a:ext cx="2998215" cy="2238040"/>
            </a:xfrm>
            <a:prstGeom prst="rect">
              <a:avLst/>
            </a:prstGeom>
            <a:noFill/>
            <a:ln w="3175" cap="flat" cmpd="sng" algn="ctr">
              <a:solidFill>
                <a:schemeClr val="hlink"/>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7313" tIns="35008" rIns="67313" bIns="35008" numCol="1" rtlCol="0" anchor="ctr" anchorCtr="0" compatLnSpc="1">
              <a:prstTxWarp prst="textNoShape">
                <a:avLst/>
              </a:prstTxWarp>
            </a:bodyPr>
            <a:lstStyle/>
            <a:p>
              <a:pPr defTabSz="683577"/>
              <a:endParaRPr lang="en-US" sz="1100" i="1">
                <a:solidFill>
                  <a:srgbClr val="000000"/>
                </a:solidFill>
                <a:latin typeface="Arial"/>
              </a:endParaRPr>
            </a:p>
          </p:txBody>
        </p:sp>
        <p:sp>
          <p:nvSpPr>
            <p:cNvPr id="257" name="Rectangle 217"/>
            <p:cNvSpPr>
              <a:spLocks noChangeArrowheads="1"/>
            </p:cNvSpPr>
            <p:nvPr/>
          </p:nvSpPr>
          <p:spPr bwMode="gray">
            <a:xfrm>
              <a:off x="2907027" y="1843749"/>
              <a:ext cx="380340" cy="140007"/>
            </a:xfrm>
            <a:prstGeom prst="rect">
              <a:avLst/>
            </a:prstGeom>
            <a:solidFill>
              <a:schemeClr val="bg1"/>
            </a:solidFill>
            <a:ln w="76200">
              <a:solidFill>
                <a:schemeClr val="bg1"/>
              </a:solidFill>
              <a:miter lim="800000"/>
              <a:headEnd/>
              <a:tailEnd/>
            </a:ln>
          </p:spPr>
          <p:txBody>
            <a:bodyPr wrap="non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en-US" sz="900" dirty="0">
                  <a:solidFill>
                    <a:srgbClr val="000000"/>
                  </a:solidFill>
                  <a:latin typeface="Arial" pitchFamily="34" charset="0"/>
                </a:rPr>
                <a:t> WDCs</a:t>
              </a:r>
            </a:p>
          </p:txBody>
        </p:sp>
        <p:sp>
          <p:nvSpPr>
            <p:cNvPr id="258" name="Rectangle 217"/>
            <p:cNvSpPr>
              <a:spLocks noChangeArrowheads="1"/>
            </p:cNvSpPr>
            <p:nvPr/>
          </p:nvSpPr>
          <p:spPr bwMode="gray">
            <a:xfrm>
              <a:off x="2904749" y="6269448"/>
              <a:ext cx="380340" cy="140007"/>
            </a:xfrm>
            <a:prstGeom prst="rect">
              <a:avLst/>
            </a:prstGeom>
            <a:solidFill>
              <a:schemeClr val="bg1"/>
            </a:solidFill>
            <a:ln w="76200">
              <a:solidFill>
                <a:schemeClr val="bg1"/>
              </a:solidFill>
              <a:miter lim="800000"/>
              <a:headEnd/>
              <a:tailEnd/>
            </a:ln>
          </p:spPr>
          <p:txBody>
            <a:bodyPr wrap="non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en-US" sz="900" dirty="0">
                  <a:solidFill>
                    <a:srgbClr val="000000"/>
                  </a:solidFill>
                  <a:latin typeface="Arial" pitchFamily="34" charset="0"/>
                </a:rPr>
                <a:t> WDCs</a:t>
              </a:r>
            </a:p>
          </p:txBody>
        </p:sp>
        <p:sp>
          <p:nvSpPr>
            <p:cNvPr id="259" name="Rectangle 217"/>
            <p:cNvSpPr>
              <a:spLocks noChangeArrowheads="1"/>
            </p:cNvSpPr>
            <p:nvPr/>
          </p:nvSpPr>
          <p:spPr bwMode="gray">
            <a:xfrm>
              <a:off x="4305385" y="6269449"/>
              <a:ext cx="380340" cy="140007"/>
            </a:xfrm>
            <a:prstGeom prst="rect">
              <a:avLst/>
            </a:prstGeom>
            <a:solidFill>
              <a:schemeClr val="bg1"/>
            </a:solidFill>
            <a:ln w="76200">
              <a:solidFill>
                <a:schemeClr val="bg1"/>
              </a:solidFill>
              <a:miter lim="800000"/>
              <a:headEnd/>
              <a:tailEnd/>
            </a:ln>
          </p:spPr>
          <p:txBody>
            <a:bodyPr wrap="non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en-US" sz="900" dirty="0">
                  <a:solidFill>
                    <a:srgbClr val="000000"/>
                  </a:solidFill>
                  <a:latin typeface="Arial" pitchFamily="34" charset="0"/>
                </a:rPr>
                <a:t> WDCs</a:t>
              </a:r>
            </a:p>
          </p:txBody>
        </p:sp>
        <p:sp>
          <p:nvSpPr>
            <p:cNvPr id="251" name="Line 244"/>
            <p:cNvSpPr>
              <a:spLocks noChangeShapeType="1"/>
            </p:cNvSpPr>
            <p:nvPr>
              <p:custDataLst>
                <p:tags r:id="rId9"/>
              </p:custDataLst>
            </p:nvPr>
          </p:nvSpPr>
          <p:spPr bwMode="gray">
            <a:xfrm flipH="1">
              <a:off x="5780564" y="2893373"/>
              <a:ext cx="310111" cy="342039"/>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52" name="Line 244"/>
            <p:cNvSpPr>
              <a:spLocks noChangeShapeType="1"/>
            </p:cNvSpPr>
            <p:nvPr>
              <p:custDataLst>
                <p:tags r:id="rId10"/>
              </p:custDataLst>
            </p:nvPr>
          </p:nvSpPr>
          <p:spPr bwMode="gray">
            <a:xfrm flipH="1">
              <a:off x="5780564" y="5344302"/>
              <a:ext cx="310111" cy="342039"/>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53" name="Line 244"/>
            <p:cNvSpPr>
              <a:spLocks noChangeShapeType="1"/>
            </p:cNvSpPr>
            <p:nvPr>
              <p:custDataLst>
                <p:tags r:id="rId11"/>
              </p:custDataLst>
            </p:nvPr>
          </p:nvSpPr>
          <p:spPr bwMode="gray">
            <a:xfrm>
              <a:off x="1492729" y="2622021"/>
              <a:ext cx="258967" cy="253033"/>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sp>
          <p:nvSpPr>
            <p:cNvPr id="270" name="Line 244"/>
            <p:cNvSpPr>
              <a:spLocks noChangeShapeType="1"/>
            </p:cNvSpPr>
            <p:nvPr>
              <p:custDataLst>
                <p:tags r:id="rId12"/>
              </p:custDataLst>
            </p:nvPr>
          </p:nvSpPr>
          <p:spPr bwMode="gray">
            <a:xfrm>
              <a:off x="1515523" y="5194771"/>
              <a:ext cx="258967" cy="253033"/>
            </a:xfrm>
            <a:prstGeom prst="line">
              <a:avLst/>
            </a:prstGeom>
            <a:noFill/>
            <a:ln w="12700">
              <a:solidFill>
                <a:schemeClr val="accent6">
                  <a:lumMod val="75000"/>
                </a:schemeClr>
              </a:solidFill>
              <a:prstDash val="dash"/>
              <a:round/>
              <a:headEnd/>
              <a:tailEnd type="triangle" w="med" len="med"/>
            </a:ln>
            <a:extLst>
              <a:ext uri="{909E8E84-426E-40DD-AFC4-6F175D3DCCD1}">
                <a14:hiddenFill xmlns:a14="http://schemas.microsoft.com/office/drawing/2010/main">
                  <a:noFill/>
                </a14:hiddenFill>
              </a:ext>
            </a:extLst>
          </p:spPr>
          <p:txBody>
            <a:bodyPr lIns="68394" tIns="34200" rIns="68394" bIns="34200"/>
            <a:lstStyle/>
            <a:p>
              <a:pPr defTabSz="683577"/>
              <a:endParaRPr lang="en-GB" sz="900">
                <a:solidFill>
                  <a:srgbClr val="000000"/>
                </a:solidFill>
                <a:latin typeface="Arial"/>
              </a:endParaRPr>
            </a:p>
          </p:txBody>
        </p:sp>
      </p:grpSp>
      <p:sp>
        <p:nvSpPr>
          <p:cNvPr id="260" name="Rectangle 2"/>
          <p:cNvSpPr txBox="1">
            <a:spLocks noChangeArrowheads="1"/>
          </p:cNvSpPr>
          <p:nvPr>
            <p:custDataLst>
              <p:tags r:id="rId1"/>
            </p:custDataLst>
          </p:nvPr>
        </p:nvSpPr>
        <p:spPr bwMode="gray">
          <a:xfrm>
            <a:off x="1102296" y="72878"/>
            <a:ext cx="10007303"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669832" rtl="0" fontAlgn="base">
              <a:spcBef>
                <a:spcPct val="0"/>
              </a:spcBef>
              <a:spcAft>
                <a:spcPct val="0"/>
              </a:spcAft>
              <a:defRPr sz="1397" b="1" kern="1200">
                <a:solidFill>
                  <a:schemeClr val="tx2"/>
                </a:solidFill>
                <a:latin typeface="+mj-lt"/>
                <a:ea typeface="+mj-ea"/>
                <a:cs typeface="+mj-cs"/>
              </a:defRPr>
            </a:lvl1pPr>
            <a:lvl2pPr algn="l" defTabSz="669832" rtl="0" fontAlgn="base">
              <a:spcBef>
                <a:spcPct val="0"/>
              </a:spcBef>
              <a:spcAft>
                <a:spcPct val="0"/>
              </a:spcAft>
              <a:defRPr sz="1397" b="1">
                <a:solidFill>
                  <a:schemeClr val="tx2"/>
                </a:solidFill>
                <a:latin typeface="Arial" panose="020B0604020202020204" pitchFamily="34" charset="0"/>
              </a:defRPr>
            </a:lvl2pPr>
            <a:lvl3pPr algn="l" defTabSz="669832" rtl="0" fontAlgn="base">
              <a:spcBef>
                <a:spcPct val="0"/>
              </a:spcBef>
              <a:spcAft>
                <a:spcPct val="0"/>
              </a:spcAft>
              <a:defRPr sz="1397" b="1">
                <a:solidFill>
                  <a:schemeClr val="tx2"/>
                </a:solidFill>
                <a:latin typeface="Arial" panose="020B0604020202020204" pitchFamily="34" charset="0"/>
              </a:defRPr>
            </a:lvl3pPr>
            <a:lvl4pPr algn="l" defTabSz="669832" rtl="0" fontAlgn="base">
              <a:spcBef>
                <a:spcPct val="0"/>
              </a:spcBef>
              <a:spcAft>
                <a:spcPct val="0"/>
              </a:spcAft>
              <a:defRPr sz="1397" b="1">
                <a:solidFill>
                  <a:schemeClr val="tx2"/>
                </a:solidFill>
                <a:latin typeface="Arial" panose="020B0604020202020204" pitchFamily="34" charset="0"/>
              </a:defRPr>
            </a:lvl4pPr>
            <a:lvl5pPr algn="l" defTabSz="669832" rtl="0" fontAlgn="base">
              <a:spcBef>
                <a:spcPct val="0"/>
              </a:spcBef>
              <a:spcAft>
                <a:spcPct val="0"/>
              </a:spcAft>
              <a:defRPr sz="1397" b="1">
                <a:solidFill>
                  <a:schemeClr val="tx2"/>
                </a:solidFill>
                <a:latin typeface="Arial" panose="020B0604020202020204" pitchFamily="34" charset="0"/>
              </a:defRPr>
            </a:lvl5pPr>
            <a:lvl6pPr marL="342042" algn="l" defTabSz="669832" rtl="0" fontAlgn="base">
              <a:spcBef>
                <a:spcPct val="0"/>
              </a:spcBef>
              <a:spcAft>
                <a:spcPct val="0"/>
              </a:spcAft>
              <a:defRPr sz="1397" b="1">
                <a:solidFill>
                  <a:schemeClr val="tx2"/>
                </a:solidFill>
                <a:latin typeface="Arial" panose="020B0604020202020204" pitchFamily="34" charset="0"/>
              </a:defRPr>
            </a:lvl6pPr>
            <a:lvl7pPr marL="684086" algn="l" defTabSz="669832" rtl="0" fontAlgn="base">
              <a:spcBef>
                <a:spcPct val="0"/>
              </a:spcBef>
              <a:spcAft>
                <a:spcPct val="0"/>
              </a:spcAft>
              <a:defRPr sz="1397" b="1">
                <a:solidFill>
                  <a:schemeClr val="tx2"/>
                </a:solidFill>
                <a:latin typeface="Arial" panose="020B0604020202020204" pitchFamily="34" charset="0"/>
              </a:defRPr>
            </a:lvl7pPr>
            <a:lvl8pPr marL="1026120" algn="l" defTabSz="669832" rtl="0" fontAlgn="base">
              <a:spcBef>
                <a:spcPct val="0"/>
              </a:spcBef>
              <a:spcAft>
                <a:spcPct val="0"/>
              </a:spcAft>
              <a:defRPr sz="1397" b="1">
                <a:solidFill>
                  <a:schemeClr val="tx2"/>
                </a:solidFill>
                <a:latin typeface="Arial" panose="020B0604020202020204" pitchFamily="34" charset="0"/>
              </a:defRPr>
            </a:lvl8pPr>
            <a:lvl9pPr marL="1368168" algn="l" defTabSz="669832" rtl="0" fontAlgn="base">
              <a:spcBef>
                <a:spcPct val="0"/>
              </a:spcBef>
              <a:spcAft>
                <a:spcPct val="0"/>
              </a:spcAft>
              <a:defRPr sz="1397" b="1">
                <a:solidFill>
                  <a:schemeClr val="tx2"/>
                </a:solidFill>
                <a:latin typeface="Arial" panose="020B0604020202020204" pitchFamily="34" charset="0"/>
              </a:defRPr>
            </a:lvl9pPr>
          </a:lstStyle>
          <a:p>
            <a:pPr algn="just" defTabSz="669347"/>
            <a:r>
              <a:rPr lang="en-GB" sz="2400" baseline="30000" dirty="0">
                <a:solidFill>
                  <a:schemeClr val="tx1"/>
                </a:solidFill>
                <a:latin typeface="Arial" panose="020B0604020202020204" pitchFamily="34" charset="0"/>
                <a:cs typeface="Arial" panose="020B0604020202020204" pitchFamily="34" charset="0"/>
              </a:rPr>
              <a:t>7</a:t>
            </a:r>
            <a:r>
              <a:rPr lang="en-US" sz="1700" dirty="0">
                <a:solidFill>
                  <a:srgbClr val="015F32"/>
                </a:solidFill>
                <a:latin typeface="Arial"/>
              </a:rPr>
              <a:t>The NPHCDA is driving a Community Health Influencers, Promoters and Services (CHIPS) Programme and linking it to the revitalization of 10,000 PHCs. The Plan is to have over 100,000 CHIPS Agent across the country, to strengthen the “1 functional PHC per ward strategy” of the federal government</a:t>
            </a:r>
          </a:p>
        </p:txBody>
      </p:sp>
      <p:sp>
        <p:nvSpPr>
          <p:cNvPr id="271" name="Rectangle 217"/>
          <p:cNvSpPr>
            <a:spLocks noChangeArrowheads="1"/>
          </p:cNvSpPr>
          <p:nvPr/>
        </p:nvSpPr>
        <p:spPr bwMode="gray">
          <a:xfrm>
            <a:off x="5278312" y="2009943"/>
            <a:ext cx="377319" cy="153888"/>
          </a:xfrm>
          <a:prstGeom prst="rect">
            <a:avLst/>
          </a:prstGeom>
          <a:solidFill>
            <a:schemeClr val="bg1"/>
          </a:solidFill>
          <a:ln w="76200">
            <a:solidFill>
              <a:schemeClr val="bg1"/>
            </a:solidFill>
            <a:miter lim="800000"/>
            <a:headEnd/>
            <a:tailEnd/>
          </a:ln>
        </p:spPr>
        <p:txBody>
          <a:bodyPr wrap="squar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en-US" sz="1000" dirty="0">
                <a:solidFill>
                  <a:srgbClr val="000000"/>
                </a:solidFill>
                <a:latin typeface="Arial" pitchFamily="34" charset="0"/>
              </a:rPr>
              <a:t> Client</a:t>
            </a:r>
          </a:p>
        </p:txBody>
      </p:sp>
      <p:sp>
        <p:nvSpPr>
          <p:cNvPr id="272" name="Rectangle 217"/>
          <p:cNvSpPr>
            <a:spLocks noChangeArrowheads="1"/>
          </p:cNvSpPr>
          <p:nvPr/>
        </p:nvSpPr>
        <p:spPr bwMode="gray">
          <a:xfrm>
            <a:off x="11244772" y="1927627"/>
            <a:ext cx="377319" cy="153888"/>
          </a:xfrm>
          <a:prstGeom prst="rect">
            <a:avLst/>
          </a:prstGeom>
          <a:solidFill>
            <a:schemeClr val="bg1"/>
          </a:solidFill>
          <a:ln w="76200">
            <a:solidFill>
              <a:schemeClr val="bg1"/>
            </a:solidFill>
            <a:miter lim="800000"/>
            <a:headEnd/>
            <a:tailEnd/>
          </a:ln>
        </p:spPr>
        <p:txBody>
          <a:bodyPr wrap="squar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en-US" sz="1000" dirty="0">
                <a:solidFill>
                  <a:srgbClr val="000000"/>
                </a:solidFill>
                <a:latin typeface="Arial" pitchFamily="34" charset="0"/>
              </a:rPr>
              <a:t> Client</a:t>
            </a:r>
          </a:p>
        </p:txBody>
      </p:sp>
      <p:sp>
        <p:nvSpPr>
          <p:cNvPr id="273" name="Rectangle 217"/>
          <p:cNvSpPr>
            <a:spLocks noChangeArrowheads="1"/>
          </p:cNvSpPr>
          <p:nvPr/>
        </p:nvSpPr>
        <p:spPr bwMode="gray">
          <a:xfrm>
            <a:off x="5348219" y="4428752"/>
            <a:ext cx="377319" cy="153888"/>
          </a:xfrm>
          <a:prstGeom prst="rect">
            <a:avLst/>
          </a:prstGeom>
          <a:solidFill>
            <a:schemeClr val="bg1"/>
          </a:solidFill>
          <a:ln w="76200">
            <a:solidFill>
              <a:schemeClr val="bg1"/>
            </a:solidFill>
            <a:miter lim="800000"/>
            <a:headEnd/>
            <a:tailEnd/>
          </a:ln>
        </p:spPr>
        <p:txBody>
          <a:bodyPr wrap="squar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en-US" sz="1000" dirty="0">
                <a:solidFill>
                  <a:srgbClr val="000000"/>
                </a:solidFill>
                <a:latin typeface="Arial" pitchFamily="34" charset="0"/>
              </a:rPr>
              <a:t> Client</a:t>
            </a:r>
          </a:p>
        </p:txBody>
      </p:sp>
      <p:sp>
        <p:nvSpPr>
          <p:cNvPr id="274" name="Rectangle 217"/>
          <p:cNvSpPr>
            <a:spLocks noChangeArrowheads="1"/>
          </p:cNvSpPr>
          <p:nvPr/>
        </p:nvSpPr>
        <p:spPr bwMode="gray">
          <a:xfrm>
            <a:off x="11235783" y="4408400"/>
            <a:ext cx="377319" cy="153888"/>
          </a:xfrm>
          <a:prstGeom prst="rect">
            <a:avLst/>
          </a:prstGeom>
          <a:solidFill>
            <a:schemeClr val="bg1"/>
          </a:solidFill>
          <a:ln w="76200">
            <a:solidFill>
              <a:schemeClr val="bg1"/>
            </a:solidFill>
            <a:miter lim="800000"/>
            <a:headEnd/>
            <a:tailEnd/>
          </a:ln>
        </p:spPr>
        <p:txBody>
          <a:bodyPr wrap="square" lIns="0" tIns="0" rIns="0" bIns="0">
            <a:spAutoFit/>
          </a:bodyPr>
          <a:lstStyle>
            <a:lvl1pPr defTabSz="895350">
              <a:spcBef>
                <a:spcPct val="20000"/>
              </a:spcBef>
              <a:buFont typeface="Arial" pitchFamily="34" charset="0"/>
              <a:buChar char="•"/>
              <a:defRPr sz="3200">
                <a:solidFill>
                  <a:schemeClr val="tx1"/>
                </a:solidFill>
                <a:latin typeface="Calibri" pitchFamily="34" charset="0"/>
              </a:defRPr>
            </a:lvl1pPr>
            <a:lvl2pPr marL="742950" indent="-285750" defTabSz="895350">
              <a:spcBef>
                <a:spcPct val="20000"/>
              </a:spcBef>
              <a:buFont typeface="Arial" pitchFamily="34" charset="0"/>
              <a:buChar char="–"/>
              <a:defRPr sz="2800">
                <a:solidFill>
                  <a:schemeClr val="tx1"/>
                </a:solidFill>
                <a:latin typeface="Calibri" pitchFamily="34" charset="0"/>
              </a:defRPr>
            </a:lvl2pPr>
            <a:lvl3pPr marL="1143000" indent="-228600" defTabSz="895350">
              <a:spcBef>
                <a:spcPct val="20000"/>
              </a:spcBef>
              <a:buFont typeface="Arial" pitchFamily="34" charset="0"/>
              <a:buChar char="•"/>
              <a:defRPr sz="2400">
                <a:solidFill>
                  <a:schemeClr val="tx1"/>
                </a:solidFill>
                <a:latin typeface="Calibri" pitchFamily="34" charset="0"/>
              </a:defRPr>
            </a:lvl3pPr>
            <a:lvl4pPr marL="1600200" indent="-228600" defTabSz="895350">
              <a:spcBef>
                <a:spcPct val="20000"/>
              </a:spcBef>
              <a:buFont typeface="Arial" pitchFamily="34" charset="0"/>
              <a:buChar char="–"/>
              <a:defRPr sz="2000">
                <a:solidFill>
                  <a:schemeClr val="tx1"/>
                </a:solidFill>
                <a:latin typeface="Calibri" pitchFamily="34" charset="0"/>
              </a:defRPr>
            </a:lvl4pPr>
            <a:lvl5pPr marL="2057400" indent="-228600" defTabSz="895350">
              <a:spcBef>
                <a:spcPct val="20000"/>
              </a:spcBef>
              <a:buFont typeface="Arial" pitchFamily="34" charset="0"/>
              <a:buChar char="»"/>
              <a:defRPr sz="2000">
                <a:solidFill>
                  <a:schemeClr val="tx1"/>
                </a:solidFill>
                <a:latin typeface="Calibri" pitchFamily="34" charset="0"/>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defTabSz="671132">
              <a:spcBef>
                <a:spcPct val="0"/>
              </a:spcBef>
              <a:buClr>
                <a:srgbClr val="036803"/>
              </a:buClr>
              <a:buNone/>
            </a:pPr>
            <a:r>
              <a:rPr lang="en-GB" altLang="en-US" sz="1000" dirty="0">
                <a:solidFill>
                  <a:srgbClr val="000000"/>
                </a:solidFill>
                <a:latin typeface="Arial" pitchFamily="34" charset="0"/>
              </a:rPr>
              <a:t> Client</a:t>
            </a:r>
          </a:p>
        </p:txBody>
      </p:sp>
      <p:sp>
        <p:nvSpPr>
          <p:cNvPr id="2" name="Slide Number Placeholder 1"/>
          <p:cNvSpPr>
            <a:spLocks noGrp="1"/>
          </p:cNvSpPr>
          <p:nvPr>
            <p:ph type="sldNum" sz="quarter" idx="12"/>
          </p:nvPr>
        </p:nvSpPr>
        <p:spPr/>
        <p:txBody>
          <a:bodyPr/>
          <a:lstStyle/>
          <a:p>
            <a:pPr algn="r"/>
            <a:fld id="{8F051D79-BC9E-4855-82D6-1CEFBF9CA1AD}" type="slidenum">
              <a:rPr lang="en-GB" smtClean="0">
                <a:solidFill>
                  <a:prstClr val="white"/>
                </a:solidFill>
              </a:rPr>
              <a:pPr algn="r"/>
              <a:t>32</a:t>
            </a:fld>
            <a:endParaRPr lang="en-GB" dirty="0">
              <a:solidFill>
                <a:prstClr val="white"/>
              </a:solidFill>
            </a:endParaRPr>
          </a:p>
        </p:txBody>
      </p:sp>
      <p:sp>
        <p:nvSpPr>
          <p:cNvPr id="6" name="TextBox 5">
            <a:extLst>
              <a:ext uri="{FF2B5EF4-FFF2-40B4-BE49-F238E27FC236}">
                <a16:creationId xmlns:a16="http://schemas.microsoft.com/office/drawing/2014/main" id="{E9BFED1F-3D0B-4419-A32C-DC42F21B2CB7}"/>
              </a:ext>
            </a:extLst>
          </p:cNvPr>
          <p:cNvSpPr txBox="1"/>
          <p:nvPr/>
        </p:nvSpPr>
        <p:spPr>
          <a:xfrm>
            <a:off x="219558" y="5429594"/>
            <a:ext cx="4933935" cy="1019637"/>
          </a:xfrm>
          <a:prstGeom prst="rect">
            <a:avLst/>
          </a:prstGeom>
          <a:solidFill>
            <a:schemeClr val="accent1">
              <a:lumMod val="20000"/>
              <a:lumOff val="80000"/>
            </a:schemeClr>
          </a:solidFill>
        </p:spPr>
        <p:txBody>
          <a:bodyPr wrap="square" lIns="91401" tIns="45702" rIns="91401" bIns="45702" rtlCol="0">
            <a:spAutoFit/>
          </a:bodyPr>
          <a:lstStyle/>
          <a:p>
            <a:pPr marL="285629" indent="-285629">
              <a:buFont typeface="Arial" panose="020B0604020202020204" pitchFamily="34" charset="0"/>
              <a:buChar char="•"/>
            </a:pPr>
            <a:r>
              <a:rPr lang="en-GB" sz="1500" dirty="0">
                <a:solidFill>
                  <a:prstClr val="black"/>
                </a:solidFill>
                <a:latin typeface="Arial" panose="020B0604020202020204" pitchFamily="34" charset="0"/>
                <a:cs typeface="Arial" panose="020B0604020202020204" pitchFamily="34" charset="0"/>
              </a:rPr>
              <a:t>Minimum of 10 CHIPS Agents will be engaged per Ward/Catchment Area, preferably females</a:t>
            </a:r>
          </a:p>
          <a:p>
            <a:pPr marL="285629" indent="-285629">
              <a:buFont typeface="Arial" panose="020B0604020202020204" pitchFamily="34" charset="0"/>
              <a:buChar char="•"/>
            </a:pPr>
            <a:r>
              <a:rPr lang="en-GB" sz="1500" dirty="0">
                <a:solidFill>
                  <a:prstClr val="black"/>
                </a:solidFill>
                <a:latin typeface="Arial" panose="020B0604020202020204" pitchFamily="34" charset="0"/>
                <a:cs typeface="Arial" panose="020B0604020202020204" pitchFamily="34" charset="0"/>
              </a:rPr>
              <a:t>Two (2) persons will also be engaged to serve as Community Engagement Focal Persons (CEFPs)</a:t>
            </a:r>
            <a:endParaRPr lang="x-none" sz="1500" dirty="0">
              <a:solidFill>
                <a:prstClr val="black"/>
              </a:solidFill>
            </a:endParaRPr>
          </a:p>
        </p:txBody>
      </p:sp>
      <p:sp>
        <p:nvSpPr>
          <p:cNvPr id="275" name="Star: 16 Points 274">
            <a:extLst>
              <a:ext uri="{FF2B5EF4-FFF2-40B4-BE49-F238E27FC236}">
                <a16:creationId xmlns:a16="http://schemas.microsoft.com/office/drawing/2014/main" id="{47B840CD-E968-4388-AA32-DDFFB5BC12BF}"/>
              </a:ext>
            </a:extLst>
          </p:cNvPr>
          <p:cNvSpPr/>
          <p:nvPr/>
        </p:nvSpPr>
        <p:spPr>
          <a:xfrm>
            <a:off x="7086469" y="4448829"/>
            <a:ext cx="5105551" cy="2373207"/>
          </a:xfrm>
          <a:prstGeom prst="star16">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algn="ctr"/>
            <a:endParaRPr lang="x-none">
              <a:solidFill>
                <a:prstClr val="white"/>
              </a:solidFill>
            </a:endParaRPr>
          </a:p>
        </p:txBody>
      </p:sp>
      <p:sp>
        <p:nvSpPr>
          <p:cNvPr id="276" name="TextBox 275">
            <a:extLst>
              <a:ext uri="{FF2B5EF4-FFF2-40B4-BE49-F238E27FC236}">
                <a16:creationId xmlns:a16="http://schemas.microsoft.com/office/drawing/2014/main" id="{8FD10C9A-7F0D-4881-BD79-513793A25955}"/>
              </a:ext>
            </a:extLst>
          </p:cNvPr>
          <p:cNvSpPr txBox="1"/>
          <p:nvPr/>
        </p:nvSpPr>
        <p:spPr>
          <a:xfrm>
            <a:off x="8014473" y="4865931"/>
            <a:ext cx="3539051" cy="2169788"/>
          </a:xfrm>
          <a:prstGeom prst="rect">
            <a:avLst/>
          </a:prstGeom>
          <a:noFill/>
        </p:spPr>
        <p:txBody>
          <a:bodyPr wrap="square" lIns="91401" tIns="45702" rIns="91401" bIns="45702" rtlCol="0">
            <a:spAutoFit/>
          </a:bodyPr>
          <a:lstStyle/>
          <a:p>
            <a:r>
              <a:rPr lang="en-GB" sz="1500" b="1" dirty="0">
                <a:solidFill>
                  <a:prstClr val="black"/>
                </a:solidFill>
                <a:latin typeface="Arial" panose="020B0604020202020204" pitchFamily="34" charset="0"/>
                <a:cs typeface="Arial" panose="020B0604020202020204" pitchFamily="34" charset="0"/>
              </a:rPr>
              <a:t>States will be required to:</a:t>
            </a:r>
          </a:p>
          <a:p>
            <a:pPr marL="174551" indent="-174551">
              <a:buFont typeface="Arial" panose="020B0604020202020204" pitchFamily="34" charset="0"/>
              <a:buChar char="•"/>
            </a:pPr>
            <a:r>
              <a:rPr lang="en-GB" sz="1500" dirty="0">
                <a:solidFill>
                  <a:prstClr val="black"/>
                </a:solidFill>
                <a:latin typeface="Arial" panose="020B0604020202020204" pitchFamily="34" charset="0"/>
                <a:cs typeface="Arial" panose="020B0604020202020204" pitchFamily="34" charset="0"/>
              </a:rPr>
              <a:t>Work with traditional leaders to identify and train CHIPS agents</a:t>
            </a:r>
          </a:p>
          <a:p>
            <a:pPr marL="174551" indent="-174551">
              <a:buFont typeface="Arial" panose="020B0604020202020204" pitchFamily="34" charset="0"/>
              <a:buChar char="•"/>
            </a:pPr>
            <a:r>
              <a:rPr lang="en-GB" sz="1500" dirty="0">
                <a:solidFill>
                  <a:prstClr val="black"/>
                </a:solidFill>
                <a:latin typeface="Arial" panose="020B0604020202020204" pitchFamily="34" charset="0"/>
                <a:cs typeface="Arial" panose="020B0604020202020204" pitchFamily="34" charset="0"/>
              </a:rPr>
              <a:t>Provide commodities and kits for agents</a:t>
            </a:r>
          </a:p>
          <a:p>
            <a:pPr marL="174551" indent="-174551">
              <a:buFont typeface="Arial" panose="020B0604020202020204" pitchFamily="34" charset="0"/>
              <a:buChar char="•"/>
            </a:pPr>
            <a:r>
              <a:rPr lang="en-GB" sz="1500" dirty="0">
                <a:solidFill>
                  <a:prstClr val="black"/>
                </a:solidFill>
                <a:latin typeface="Arial" panose="020B0604020202020204" pitchFamily="34" charset="0"/>
                <a:cs typeface="Arial" panose="020B0604020202020204" pitchFamily="34" charset="0"/>
              </a:rPr>
              <a:t>Provide monthly stipends to the agents</a:t>
            </a:r>
          </a:p>
          <a:p>
            <a:pPr marL="174551" indent="-174551">
              <a:buFont typeface="Arial" panose="020B0604020202020204" pitchFamily="34" charset="0"/>
              <a:buChar char="•"/>
            </a:pPr>
            <a:r>
              <a:rPr lang="en-GB" sz="1500" dirty="0">
                <a:solidFill>
                  <a:prstClr val="black"/>
                </a:solidFill>
                <a:latin typeface="Arial" panose="020B0604020202020204" pitchFamily="34" charset="0"/>
                <a:cs typeface="Arial" panose="020B0604020202020204" pitchFamily="34" charset="0"/>
              </a:rPr>
              <a:t>Link agents to income-generation schemes</a:t>
            </a:r>
            <a:endParaRPr lang="x-none" sz="15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801815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01748F-57EA-4EB1-AE73-2E35EC49F9F0}"/>
              </a:ext>
            </a:extLst>
          </p:cNvPr>
          <p:cNvGraphicFramePr>
            <a:graphicFrameLocks noChangeAspect="1"/>
          </p:cNvGraphicFramePr>
          <p:nvPr>
            <p:custDataLst>
              <p:tags r:id="rId2"/>
            </p:custDataLs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96327"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1CC81F2-0420-4EC7-98B7-3259C5159910}"/>
              </a:ext>
            </a:extLst>
          </p:cNvPr>
          <p:cNvSpPr/>
          <p:nvPr>
            <p:custDataLst>
              <p:tags r:id="rId3"/>
            </p:custDataLst>
          </p:nvPr>
        </p:nvSpPr>
        <p:spPr>
          <a:xfrm>
            <a:off x="4" y="1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196">
              <a:lnSpc>
                <a:spcPct val="90000"/>
              </a:lnSpc>
              <a:spcBef>
                <a:spcPct val="0"/>
              </a:spcBef>
              <a:spcAft>
                <a:spcPct val="0"/>
              </a:spcAft>
            </a:pPr>
            <a:endParaRPr lang="en-US" sz="3200" dirty="0">
              <a:solidFill>
                <a:srgbClr val="FFFFFF"/>
              </a:solidFill>
              <a:latin typeface="Palatino Linotype" panose="02040502050505030304" pitchFamily="18" charset="0"/>
              <a:sym typeface="Palatino Linotype" panose="02040502050505030304" pitchFamily="18" charset="0"/>
            </a:endParaRPr>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508" y="855790"/>
            <a:ext cx="11351386" cy="5788755"/>
          </a:xfrm>
          <a:prstGeom prst="rect">
            <a:avLst/>
          </a:prstGeom>
        </p:spPr>
      </p:pic>
      <p:sp>
        <p:nvSpPr>
          <p:cNvPr id="9" name="Title 1">
            <a:extLst>
              <a:ext uri="{FF2B5EF4-FFF2-40B4-BE49-F238E27FC236}">
                <a16:creationId xmlns:a16="http://schemas.microsoft.com/office/drawing/2014/main" id="{8E9746A2-0825-44F5-B1E1-847650E56F21}"/>
              </a:ext>
            </a:extLst>
          </p:cNvPr>
          <p:cNvSpPr txBox="1">
            <a:spLocks/>
          </p:cNvSpPr>
          <p:nvPr/>
        </p:nvSpPr>
        <p:spPr>
          <a:xfrm>
            <a:off x="46895" y="70136"/>
            <a:ext cx="12086492" cy="75712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2" tIns="45718" rIns="91422" bIns="45718"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rgbClr val="204024"/>
                </a:solidFill>
                <a:cs typeface="Arial" panose="020B0604020202020204" pitchFamily="34" charset="0"/>
              </a:rPr>
              <a:t>The agency has developed a handbook and flipchart guide on the implementation of Community Engagement Strategy for Northern Traditional Leaders</a:t>
            </a:r>
          </a:p>
        </p:txBody>
      </p:sp>
    </p:spTree>
    <p:extLst>
      <p:ext uri="{BB962C8B-B14F-4D97-AF65-F5344CB8AC3E}">
        <p14:creationId xmlns:p14="http://schemas.microsoft.com/office/powerpoint/2010/main" val="11011881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2"/>
            </p:custDataLst>
          </p:nvPr>
        </p:nvGraphicFramePr>
        <p:xfrm>
          <a:off x="1592" y="1588"/>
          <a:ext cx="1588" cy="1588"/>
        </p:xfrm>
        <a:graphic>
          <a:graphicData uri="http://schemas.openxmlformats.org/presentationml/2006/ole">
            <mc:AlternateContent xmlns:mc="http://schemas.openxmlformats.org/markup-compatibility/2006">
              <mc:Choice xmlns:v="urn:schemas-microsoft-com:vml" Requires="v">
                <p:oleObj spid="_x0000_s624668" name="think-cell Slide" r:id="rId4" imgW="416" imgH="416" progId="TCLayout.ActiveDocument.1">
                  <p:embed/>
                </p:oleObj>
              </mc:Choice>
              <mc:Fallback>
                <p:oleObj name="think-cell Slide" r:id="rId4" imgW="416" imgH="416" progId="TCLayout.ActiveDocument.1">
                  <p:embed/>
                  <p:pic>
                    <p:nvPicPr>
                      <p:cNvPr id="5" name="Object 4" hidden="1">
                        <a:extLst>
                          <a:ext uri="{FF2B5EF4-FFF2-40B4-BE49-F238E27FC236}">
                            <a16:creationId xmlns:a16="http://schemas.microsoft.com/office/drawing/2014/main" id="{D3A62A60-D420-4F37-9136-6289E97C5533}"/>
                          </a:ext>
                        </a:extLst>
                      </p:cNvPr>
                      <p:cNvPicPr/>
                      <p:nvPr/>
                    </p:nvPicPr>
                    <p:blipFill>
                      <a:blip r:embed="rId5"/>
                      <a:stretch>
                        <a:fillRect/>
                      </a:stretch>
                    </p:blipFill>
                    <p:spPr>
                      <a:xfrm>
                        <a:off x="1592" y="1588"/>
                        <a:ext cx="1588" cy="1588"/>
                      </a:xfrm>
                      <a:prstGeom prst="rect">
                        <a:avLst/>
                      </a:prstGeom>
                    </p:spPr>
                  </p:pic>
                </p:oleObj>
              </mc:Fallback>
            </mc:AlternateContent>
          </a:graphicData>
        </a:graphic>
      </p:graphicFrame>
      <p:pic>
        <p:nvPicPr>
          <p:cNvPr id="619522" name="Picture 2" descr="Creative Agenda Slide Design with Table of Content and 4 Bullet Points">
            <a:extLst>
              <a:ext uri="{FF2B5EF4-FFF2-40B4-BE49-F238E27FC236}">
                <a16:creationId xmlns:a16="http://schemas.microsoft.com/office/drawing/2014/main" id="{7F9E5B74-43CE-41E0-87AC-28F3FA8197F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3331"/>
          <a:stretch/>
        </p:blipFill>
        <p:spPr bwMode="auto">
          <a:xfrm>
            <a:off x="813753" y="1062285"/>
            <a:ext cx="10437827" cy="509255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52E7759-E482-4D86-9D44-616B3D38C203}"/>
              </a:ext>
            </a:extLst>
          </p:cNvPr>
          <p:cNvSpPr/>
          <p:nvPr/>
        </p:nvSpPr>
        <p:spPr>
          <a:xfrm>
            <a:off x="5051506" y="1449388"/>
            <a:ext cx="5330283"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About the National Primary Health Care Development Agency (NPHCDA)</a:t>
            </a:r>
          </a:p>
        </p:txBody>
      </p:sp>
      <p:sp>
        <p:nvSpPr>
          <p:cNvPr id="9" name="Rectangle 8">
            <a:extLst>
              <a:ext uri="{FF2B5EF4-FFF2-40B4-BE49-F238E27FC236}">
                <a16:creationId xmlns:a16="http://schemas.microsoft.com/office/drawing/2014/main" id="{D25101E8-C702-40D2-9C84-C889D9E97D02}"/>
              </a:ext>
            </a:extLst>
          </p:cNvPr>
          <p:cNvSpPr/>
          <p:nvPr/>
        </p:nvSpPr>
        <p:spPr>
          <a:xfrm>
            <a:off x="5659245" y="2551074"/>
            <a:ext cx="4722547"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Universal Health Coverage</a:t>
            </a:r>
          </a:p>
        </p:txBody>
      </p:sp>
      <p:sp>
        <p:nvSpPr>
          <p:cNvPr id="10" name="Rectangle 9">
            <a:extLst>
              <a:ext uri="{FF2B5EF4-FFF2-40B4-BE49-F238E27FC236}">
                <a16:creationId xmlns:a16="http://schemas.microsoft.com/office/drawing/2014/main" id="{1E4E0AB2-2A60-4369-81FB-09241DC47918}"/>
              </a:ext>
            </a:extLst>
          </p:cNvPr>
          <p:cNvSpPr/>
          <p:nvPr/>
        </p:nvSpPr>
        <p:spPr>
          <a:xfrm>
            <a:off x="5659255" y="3706574"/>
            <a:ext cx="4722545"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NPHCDA’s Strategic Interventions </a:t>
            </a:r>
          </a:p>
        </p:txBody>
      </p:sp>
      <p:pic>
        <p:nvPicPr>
          <p:cNvPr id="11" name="Picture 10">
            <a:extLst>
              <a:ext uri="{FF2B5EF4-FFF2-40B4-BE49-F238E27FC236}">
                <a16:creationId xmlns:a16="http://schemas.microsoft.com/office/drawing/2014/main" id="{51D0F064-E484-4886-B327-01A0E919B1D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61542" y="2357209"/>
            <a:ext cx="2219097" cy="2259581"/>
          </a:xfrm>
          <a:prstGeom prst="ellipse">
            <a:avLst/>
          </a:prstGeom>
          <a:ln w="63500" cap="rnd">
            <a:solidFill>
              <a:schemeClr val="accent5">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a:extLst>
              <a:ext uri="{FF2B5EF4-FFF2-40B4-BE49-F238E27FC236}">
                <a16:creationId xmlns:a16="http://schemas.microsoft.com/office/drawing/2014/main" id="{128DA7BB-8154-4530-8E70-7B02B86110C1}"/>
              </a:ext>
            </a:extLst>
          </p:cNvPr>
          <p:cNvSpPr/>
          <p:nvPr/>
        </p:nvSpPr>
        <p:spPr>
          <a:xfrm>
            <a:off x="1029641" y="159772"/>
            <a:ext cx="10109897" cy="586500"/>
          </a:xfrm>
          <a:prstGeom prst="rect">
            <a:avLst/>
          </a:prstGeom>
        </p:spPr>
        <p:txBody>
          <a:bodyPr wrap="square" lIns="93146" tIns="46574" rIns="93146" bIns="46574">
            <a:spAutoFit/>
          </a:bodyPr>
          <a:lstStyle/>
          <a:p>
            <a:pPr algn="just" defTabSz="912072" fontAlgn="base">
              <a:spcBef>
                <a:spcPct val="0"/>
              </a:spcBef>
              <a:spcAft>
                <a:spcPct val="0"/>
              </a:spcAft>
              <a:tabLst>
                <a:tab pos="274916" algn="l"/>
              </a:tabLst>
            </a:pPr>
            <a:r>
              <a:rPr lang="en-US" sz="3200" b="1" dirty="0">
                <a:solidFill>
                  <a:srgbClr val="70AD47">
                    <a:lumMod val="50000"/>
                  </a:srgbClr>
                </a:solidFill>
                <a:latin typeface="Arial" panose="020B0604020202020204" pitchFamily="34" charset="0"/>
                <a:cs typeface="Arial" panose="020B0604020202020204" pitchFamily="34" charset="0"/>
              </a:rPr>
              <a:t>Outline</a:t>
            </a:r>
          </a:p>
        </p:txBody>
      </p:sp>
      <p:sp>
        <p:nvSpPr>
          <p:cNvPr id="13" name="Rectangle 12">
            <a:extLst>
              <a:ext uri="{FF2B5EF4-FFF2-40B4-BE49-F238E27FC236}">
                <a16:creationId xmlns:a16="http://schemas.microsoft.com/office/drawing/2014/main" id="{525402E0-D67E-4973-9A30-5B11D6FD973C}"/>
              </a:ext>
            </a:extLst>
          </p:cNvPr>
          <p:cNvSpPr/>
          <p:nvPr/>
        </p:nvSpPr>
        <p:spPr>
          <a:xfrm>
            <a:off x="5051506" y="4829316"/>
            <a:ext cx="5330283" cy="756000"/>
          </a:xfrm>
          <a:prstGeom prst="rect">
            <a:avLst/>
          </a:prstGeom>
          <a:gradFill flip="none" rotWithShape="1">
            <a:gsLst>
              <a:gs pos="0">
                <a:schemeClr val="bg1"/>
              </a:gs>
              <a:gs pos="100000">
                <a:srgbClr val="92D050"/>
              </a:gs>
            </a:gsLst>
            <a:lin ang="0" scaled="1"/>
            <a:tileRect/>
          </a:gradFill>
          <a:ln w="85725">
            <a:solidFill>
              <a:schemeClr val="accent5">
                <a:lumMod val="50000"/>
              </a:schemeClr>
            </a:solid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Prayers to the Executive Governors</a:t>
            </a:r>
          </a:p>
        </p:txBody>
      </p:sp>
      <p:sp>
        <p:nvSpPr>
          <p:cNvPr id="12"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34</a:t>
            </a:fld>
            <a:endParaRPr lang="en-US" sz="1400" b="1" dirty="0">
              <a:solidFill>
                <a:schemeClr val="bg1"/>
              </a:solidFill>
            </a:endParaRPr>
          </a:p>
        </p:txBody>
      </p:sp>
    </p:spTree>
    <p:extLst>
      <p:ext uri="{BB962C8B-B14F-4D97-AF65-F5344CB8AC3E}">
        <p14:creationId xmlns:p14="http://schemas.microsoft.com/office/powerpoint/2010/main" val="32113865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55E3D2-93F5-41DE-9BCD-FE09F36D49C5}"/>
              </a:ext>
            </a:extLst>
          </p:cNvPr>
          <p:cNvGraphicFramePr>
            <a:graphicFrameLocks noChangeAspect="1"/>
          </p:cNvGraphicFramePr>
          <p:nvPr>
            <p:custDataLst>
              <p:tags r:id="rId2"/>
            </p:custDataLst>
            <p:extLst>
              <p:ext uri="{D42A27DB-BD31-4B8C-83A1-F6EECF244321}">
                <p14:modId xmlns:p14="http://schemas.microsoft.com/office/powerpoint/2010/main" val="1891225362"/>
              </p:ext>
            </p:extLst>
          </p:nvPr>
        </p:nvGraphicFramePr>
        <p:xfrm>
          <a:off x="1592" y="1588"/>
          <a:ext cx="1588" cy="1588"/>
        </p:xfrm>
        <a:graphic>
          <a:graphicData uri="http://schemas.openxmlformats.org/presentationml/2006/ole">
            <mc:AlternateContent xmlns:mc="http://schemas.openxmlformats.org/markup-compatibility/2006">
              <mc:Choice xmlns:v="urn:schemas-microsoft-com:vml" Requires="v">
                <p:oleObj spid="_x0000_s625692"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92"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82BAB60-AF86-46DD-B1CB-0E98439BDF1C}"/>
              </a:ext>
            </a:extLst>
          </p:cNvPr>
          <p:cNvSpPr/>
          <p:nvPr/>
        </p:nvSpPr>
        <p:spPr>
          <a:xfrm>
            <a:off x="225472" y="1052186"/>
            <a:ext cx="11674259" cy="4979554"/>
          </a:xfrm>
          <a:prstGeom prst="rect">
            <a:avLst/>
          </a:prstGeom>
          <a:solidFill>
            <a:schemeClr val="accent5">
              <a:lumMod val="20000"/>
              <a:lumOff val="8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1" tIns="45702" rIns="91401" bIns="45702" rtlCol="0" anchor="ctr"/>
          <a:lstStyle/>
          <a:p>
            <a:pPr marL="802936" indent="-714073" algn="just">
              <a:spcBef>
                <a:spcPts val="1200"/>
              </a:spcBef>
              <a:spcAft>
                <a:spcPts val="1200"/>
              </a:spcAft>
              <a:buFont typeface="Wingdings" panose="05000000000000000000" pitchFamily="2" charset="2"/>
              <a:buChar char="v"/>
            </a:pPr>
            <a:r>
              <a:rPr lang="en-GB" sz="2400" dirty="0">
                <a:solidFill>
                  <a:schemeClr val="accent5">
                    <a:lumMod val="50000"/>
                  </a:schemeClr>
                </a:solidFill>
                <a:latin typeface="Arial" panose="020B0604020202020204" pitchFamily="34" charset="0"/>
                <a:cs typeface="Arial" panose="020B0604020202020204" pitchFamily="34" charset="0"/>
              </a:rPr>
              <a:t>Call for quarterly meetings with LGA Chairmen to review the progress in achieving PHC Indicators</a:t>
            </a:r>
          </a:p>
          <a:p>
            <a:pPr marL="802936" indent="-714073" algn="just">
              <a:spcBef>
                <a:spcPts val="1200"/>
              </a:spcBef>
              <a:spcAft>
                <a:spcPts val="1200"/>
              </a:spcAft>
              <a:buFont typeface="Wingdings" panose="05000000000000000000" pitchFamily="2" charset="2"/>
              <a:buChar char="v"/>
            </a:pPr>
            <a:r>
              <a:rPr lang="en-GB" sz="2400" dirty="0">
                <a:solidFill>
                  <a:schemeClr val="accent5">
                    <a:lumMod val="50000"/>
                  </a:schemeClr>
                </a:solidFill>
                <a:latin typeface="Arial" panose="020B0604020202020204" pitchFamily="34" charset="0"/>
                <a:cs typeface="Arial" panose="020B0604020202020204" pitchFamily="34" charset="0"/>
              </a:rPr>
              <a:t>Support the Establishment of State Emergency Maternal and Child Health Intervention (SEMCHIC) to coordinate and rapidly reduce maternal and child deaths</a:t>
            </a:r>
          </a:p>
          <a:p>
            <a:pPr marL="802936" indent="-714073" algn="just">
              <a:spcBef>
                <a:spcPts val="1200"/>
              </a:spcBef>
              <a:spcAft>
                <a:spcPts val="1200"/>
              </a:spcAft>
              <a:buFont typeface="Wingdings" panose="05000000000000000000" pitchFamily="2" charset="2"/>
              <a:buChar char="v"/>
            </a:pPr>
            <a:r>
              <a:rPr lang="en-GB" sz="2400" dirty="0">
                <a:solidFill>
                  <a:schemeClr val="accent5">
                    <a:lumMod val="50000"/>
                  </a:schemeClr>
                </a:solidFill>
                <a:latin typeface="Arial" panose="020B0604020202020204" pitchFamily="34" charset="0"/>
                <a:cs typeface="Arial" panose="020B0604020202020204" pitchFamily="34" charset="0"/>
              </a:rPr>
              <a:t>Conduct a PHC human resource audit to assess gaps and develop a roadmap to fill these gaps</a:t>
            </a:r>
          </a:p>
          <a:p>
            <a:pPr marL="802936" indent="-714073" algn="just">
              <a:spcBef>
                <a:spcPts val="1200"/>
              </a:spcBef>
              <a:spcAft>
                <a:spcPts val="1200"/>
              </a:spcAft>
              <a:buFont typeface="Wingdings" panose="05000000000000000000" pitchFamily="2" charset="2"/>
              <a:buChar char="v"/>
            </a:pPr>
            <a:r>
              <a:rPr lang="en-GB" sz="2400" dirty="0">
                <a:solidFill>
                  <a:schemeClr val="accent5">
                    <a:lumMod val="50000"/>
                  </a:schemeClr>
                </a:solidFill>
                <a:latin typeface="Arial" panose="020B0604020202020204" pitchFamily="34" charset="0"/>
                <a:cs typeface="Arial" panose="020B0604020202020204" pitchFamily="34" charset="0"/>
              </a:rPr>
              <a:t>Review the requirements for drawing down on the Basic Healthcare Provision Funds (BHCPF) and apply for inclusion in the roll-outs</a:t>
            </a:r>
          </a:p>
        </p:txBody>
      </p:sp>
      <p:sp>
        <p:nvSpPr>
          <p:cNvPr id="7" name="Rectangle 6">
            <a:extLst>
              <a:ext uri="{FF2B5EF4-FFF2-40B4-BE49-F238E27FC236}">
                <a16:creationId xmlns:a16="http://schemas.microsoft.com/office/drawing/2014/main" id="{175D826B-87B6-4CF7-91E7-1D72A4309930}"/>
              </a:ext>
            </a:extLst>
          </p:cNvPr>
          <p:cNvSpPr/>
          <p:nvPr/>
        </p:nvSpPr>
        <p:spPr>
          <a:xfrm>
            <a:off x="1029641" y="159772"/>
            <a:ext cx="10109897" cy="586500"/>
          </a:xfrm>
          <a:prstGeom prst="rect">
            <a:avLst/>
          </a:prstGeom>
        </p:spPr>
        <p:txBody>
          <a:bodyPr wrap="square" lIns="93146" tIns="46574" rIns="93146" bIns="46574">
            <a:spAutoFit/>
          </a:bodyPr>
          <a:lstStyle/>
          <a:p>
            <a:pPr algn="just" defTabSz="912072" fontAlgn="base">
              <a:spcBef>
                <a:spcPct val="0"/>
              </a:spcBef>
              <a:spcAft>
                <a:spcPct val="0"/>
              </a:spcAft>
              <a:tabLst>
                <a:tab pos="274916" algn="l"/>
              </a:tabLst>
            </a:pPr>
            <a:r>
              <a:rPr lang="en-US" sz="3200" b="1" dirty="0">
                <a:solidFill>
                  <a:srgbClr val="70AD47">
                    <a:lumMod val="50000"/>
                  </a:srgbClr>
                </a:solidFill>
                <a:latin typeface="Arial" panose="020B0604020202020204" pitchFamily="34" charset="0"/>
                <a:cs typeface="Arial" panose="020B0604020202020204" pitchFamily="34" charset="0"/>
              </a:rPr>
              <a:t>Prayers</a:t>
            </a:r>
          </a:p>
        </p:txBody>
      </p:sp>
      <p:sp>
        <p:nvSpPr>
          <p:cNvPr id="8" name="Slide Number Placeholder 3">
            <a:extLst>
              <a:ext uri="{FF2B5EF4-FFF2-40B4-BE49-F238E27FC236}">
                <a16:creationId xmlns:a16="http://schemas.microsoft.com/office/drawing/2014/main" id="{26065248-0690-42FD-867D-7199A5CC08FC}"/>
              </a:ext>
            </a:extLst>
          </p:cNvPr>
          <p:cNvSpPr>
            <a:spLocks noGrp="1"/>
          </p:cNvSpPr>
          <p:nvPr>
            <p:ph type="sldNum" sz="quarter" idx="12"/>
          </p:nvPr>
        </p:nvSpPr>
        <p:spPr>
          <a:xfrm>
            <a:off x="9337100" y="6492875"/>
            <a:ext cx="2743201" cy="365125"/>
          </a:xfrm>
        </p:spPr>
        <p:txBody>
          <a:bodyPr/>
          <a:lstStyle/>
          <a:p>
            <a:pPr defTabSz="912173"/>
            <a:fld id="{978E596B-AA80-4BB2-8707-B351070E738D}" type="slidenum">
              <a:rPr lang="en-US" sz="1400" b="1">
                <a:solidFill>
                  <a:schemeClr val="bg1"/>
                </a:solidFill>
              </a:rPr>
              <a:pPr defTabSz="912173"/>
              <a:t>35</a:t>
            </a:fld>
            <a:endParaRPr lang="en-US" sz="1400" b="1" dirty="0">
              <a:solidFill>
                <a:schemeClr val="bg1"/>
              </a:solidFill>
            </a:endParaRPr>
          </a:p>
        </p:txBody>
      </p:sp>
    </p:spTree>
    <p:extLst>
      <p:ext uri="{BB962C8B-B14F-4D97-AF65-F5344CB8AC3E}">
        <p14:creationId xmlns:p14="http://schemas.microsoft.com/office/powerpoint/2010/main" val="35379710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Image result for thank you">
            <a:extLst>
              <a:ext uri="{FF2B5EF4-FFF2-40B4-BE49-F238E27FC236}">
                <a16:creationId xmlns:a16="http://schemas.microsoft.com/office/drawing/2014/main" id="{2DD2BF2F-DE9E-46EF-9700-BE4B0C75A0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2" y="681042"/>
            <a:ext cx="9753599" cy="549592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p:txBody>
          <a:bodyPr/>
          <a:lstStyle/>
          <a:p>
            <a:fld id="{52836B5F-48D7-40A2-ACA3-00B9DC1B67EF}" type="slidenum">
              <a:rPr lang="en-US" smtClean="0">
                <a:solidFill>
                  <a:prstClr val="black">
                    <a:tint val="75000"/>
                  </a:prstClr>
                </a:solidFill>
              </a:rPr>
              <a:pPr/>
              <a:t>36</a:t>
            </a:fld>
            <a:endParaRPr lang="en-US">
              <a:solidFill>
                <a:prstClr val="black">
                  <a:tint val="75000"/>
                </a:prstClr>
              </a:solidFill>
            </a:endParaRPr>
          </a:p>
        </p:txBody>
      </p:sp>
    </p:spTree>
    <p:extLst>
      <p:ext uri="{BB962C8B-B14F-4D97-AF65-F5344CB8AC3E}">
        <p14:creationId xmlns:p14="http://schemas.microsoft.com/office/powerpoint/2010/main" val="3171307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AEEA68-CF75-4C09-8122-1A0D0B93AC7D}"/>
              </a:ext>
            </a:extLst>
          </p:cNvPr>
          <p:cNvGraphicFramePr>
            <a:graphicFrameLocks noChangeAspect="1"/>
          </p:cNvGraphicFramePr>
          <p:nvPr>
            <p:custDataLst>
              <p:tags r:id="rId2"/>
            </p:custDataLst>
            <p:extLst/>
          </p:nvPr>
        </p:nvGraphicFramePr>
        <p:xfrm>
          <a:off x="2121" y="1591"/>
          <a:ext cx="2117" cy="1588"/>
        </p:xfrm>
        <a:graphic>
          <a:graphicData uri="http://schemas.openxmlformats.org/presentationml/2006/ole">
            <mc:AlternateContent xmlns:mc="http://schemas.openxmlformats.org/markup-compatibility/2006">
              <mc:Choice xmlns:v="urn:schemas-microsoft-com:vml" Requires="v">
                <p:oleObj spid="_x0000_s591907" name="think-cell Slide" r:id="rId7" imgW="416" imgH="416" progId="TCLayout.ActiveDocument.1">
                  <p:embed/>
                </p:oleObj>
              </mc:Choice>
              <mc:Fallback>
                <p:oleObj name="think-cell Slide" r:id="rId7" imgW="416" imgH="416" progId="TCLayout.ActiveDocument.1">
                  <p:embed/>
                  <p:pic>
                    <p:nvPicPr>
                      <p:cNvPr id="6" name="Object 5" hidden="1">
                        <a:extLst>
                          <a:ext uri="{FF2B5EF4-FFF2-40B4-BE49-F238E27FC236}">
                            <a16:creationId xmlns:a16="http://schemas.microsoft.com/office/drawing/2014/main" id="{2CAEEA68-CF75-4C09-8122-1A0D0B93AC7D}"/>
                          </a:ext>
                        </a:extLst>
                      </p:cNvPr>
                      <p:cNvPicPr/>
                      <p:nvPr/>
                    </p:nvPicPr>
                    <p:blipFill>
                      <a:blip r:embed="rId8"/>
                      <a:stretch>
                        <a:fillRect/>
                      </a:stretch>
                    </p:blipFill>
                    <p:spPr>
                      <a:xfrm>
                        <a:off x="2121" y="1591"/>
                        <a:ext cx="2117"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7CEDC8-2451-4D78-ADA4-4D6573797D7B}"/>
              </a:ext>
            </a:extLst>
          </p:cNvPr>
          <p:cNvSpPr/>
          <p:nvPr>
            <p:custDataLst>
              <p:tags r:id="rId3"/>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1969">
              <a:lnSpc>
                <a:spcPct val="90000"/>
              </a:lnSpc>
              <a:spcBef>
                <a:spcPct val="0"/>
              </a:spcBef>
              <a:spcAft>
                <a:spcPct val="0"/>
              </a:spcAft>
            </a:pPr>
            <a:endParaRPr lang="en-US" sz="2900" b="1" i="1" dirty="0">
              <a:solidFill>
                <a:prstClr val="white"/>
              </a:solidFill>
              <a:latin typeface="Calibri Light" panose="020F0302020204030204" pitchFamily="34" charset="0"/>
              <a:sym typeface="Calibri Light" panose="020F0302020204030204" pitchFamily="34" charset="0"/>
            </a:endParaRPr>
          </a:p>
        </p:txBody>
      </p:sp>
      <p:sp>
        <p:nvSpPr>
          <p:cNvPr id="32" name="Rectangle 31">
            <a:extLst>
              <a:ext uri="{FF2B5EF4-FFF2-40B4-BE49-F238E27FC236}">
                <a16:creationId xmlns:a16="http://schemas.microsoft.com/office/drawing/2014/main" id="{1B89A764-D346-48B1-9416-CF01CD5409D8}"/>
              </a:ext>
            </a:extLst>
          </p:cNvPr>
          <p:cNvSpPr/>
          <p:nvPr/>
        </p:nvSpPr>
        <p:spPr>
          <a:xfrm>
            <a:off x="4093044" y="3852891"/>
            <a:ext cx="7546983" cy="900000"/>
          </a:xfrm>
          <a:prstGeom prst="rect">
            <a:avLst/>
          </a:prstGeom>
          <a:solidFill>
            <a:srgbClr val="3DB77A"/>
          </a:solidFill>
          <a:ln w="9525" cap="flat" cmpd="sng" algn="ctr">
            <a:noFill/>
            <a:prstDash val="solid"/>
          </a:ln>
          <a:effectLst/>
        </p:spPr>
        <p:txBody>
          <a:bodyPr lIns="91199" tIns="45607" rIns="91199" bIns="45607" rtlCol="0" anchor="ctr"/>
          <a:lstStyle/>
          <a:p>
            <a:pPr algn="ctr" defTabSz="930476" fontAlgn="base">
              <a:spcBef>
                <a:spcPct val="0"/>
              </a:spcBef>
              <a:spcAft>
                <a:spcPct val="0"/>
              </a:spcAft>
              <a:defRPr/>
            </a:pPr>
            <a:endParaRPr lang="en-GB" sz="1600" kern="0" dirty="0" err="1">
              <a:solidFill>
                <a:srgbClr val="1F1F1F"/>
              </a:solidFill>
              <a:latin typeface="Arial"/>
            </a:endParaRPr>
          </a:p>
        </p:txBody>
      </p:sp>
      <p:sp>
        <p:nvSpPr>
          <p:cNvPr id="34" name="Rectangle 33">
            <a:extLst>
              <a:ext uri="{FF2B5EF4-FFF2-40B4-BE49-F238E27FC236}">
                <a16:creationId xmlns:a16="http://schemas.microsoft.com/office/drawing/2014/main" id="{3C294F65-55CA-492E-8476-F2FFD315B26C}"/>
              </a:ext>
            </a:extLst>
          </p:cNvPr>
          <p:cNvSpPr/>
          <p:nvPr/>
        </p:nvSpPr>
        <p:spPr>
          <a:xfrm>
            <a:off x="4496437" y="2687098"/>
            <a:ext cx="7152792" cy="1062664"/>
          </a:xfrm>
          <a:prstGeom prst="rect">
            <a:avLst/>
          </a:prstGeom>
          <a:noFill/>
          <a:ln w="9525" cap="flat" cmpd="sng" algn="ctr">
            <a:noFill/>
            <a:prstDash val="solid"/>
          </a:ln>
          <a:effectLst/>
        </p:spPr>
        <p:txBody>
          <a:bodyPr lIns="91199" tIns="45607" rIns="91199" bIns="45607" rtlCol="0" anchor="ctr"/>
          <a:lstStyle/>
          <a:p>
            <a:pPr algn="ctr" defTabSz="930476" fontAlgn="base">
              <a:spcBef>
                <a:spcPct val="0"/>
              </a:spcBef>
              <a:spcAft>
                <a:spcPct val="0"/>
              </a:spcAft>
              <a:defRPr/>
            </a:pPr>
            <a:endParaRPr lang="en-GB" sz="1600" kern="0" dirty="0" err="1">
              <a:solidFill>
                <a:srgbClr val="1F1F1F"/>
              </a:solidFill>
              <a:latin typeface="Arial"/>
            </a:endParaRPr>
          </a:p>
        </p:txBody>
      </p:sp>
      <p:sp>
        <p:nvSpPr>
          <p:cNvPr id="35" name="Rectangle 34">
            <a:extLst>
              <a:ext uri="{FF2B5EF4-FFF2-40B4-BE49-F238E27FC236}">
                <a16:creationId xmlns:a16="http://schemas.microsoft.com/office/drawing/2014/main" id="{AC7D1905-077A-4FD6-B089-D355E546CF7E}"/>
              </a:ext>
            </a:extLst>
          </p:cNvPr>
          <p:cNvSpPr/>
          <p:nvPr/>
        </p:nvSpPr>
        <p:spPr>
          <a:xfrm>
            <a:off x="4093084" y="1516284"/>
            <a:ext cx="7546198" cy="900000"/>
          </a:xfrm>
          <a:prstGeom prst="rect">
            <a:avLst/>
          </a:prstGeom>
          <a:solidFill>
            <a:srgbClr val="3DB77A"/>
          </a:solidFill>
          <a:ln w="9525" cap="flat" cmpd="sng" algn="ctr">
            <a:noFill/>
            <a:prstDash val="solid"/>
          </a:ln>
          <a:effectLst/>
        </p:spPr>
        <p:txBody>
          <a:bodyPr lIns="91199" tIns="45607" rIns="91199" bIns="45607" rtlCol="0" anchor="ctr"/>
          <a:lstStyle/>
          <a:p>
            <a:pPr algn="ctr" defTabSz="930476" fontAlgn="base">
              <a:spcBef>
                <a:spcPct val="0"/>
              </a:spcBef>
              <a:spcAft>
                <a:spcPct val="0"/>
              </a:spcAft>
              <a:defRPr/>
            </a:pPr>
            <a:endParaRPr lang="en-GB" sz="1600" kern="0" dirty="0" err="1">
              <a:solidFill>
                <a:srgbClr val="1F1F1F"/>
              </a:solidFill>
              <a:latin typeface="Arial"/>
            </a:endParaRPr>
          </a:p>
        </p:txBody>
      </p:sp>
      <p:sp>
        <p:nvSpPr>
          <p:cNvPr id="36" name="Rectangle 35">
            <a:extLst>
              <a:ext uri="{FF2B5EF4-FFF2-40B4-BE49-F238E27FC236}">
                <a16:creationId xmlns:a16="http://schemas.microsoft.com/office/drawing/2014/main" id="{194ACBA7-599E-41C2-A2CF-518DA7F1FE32}"/>
              </a:ext>
            </a:extLst>
          </p:cNvPr>
          <p:cNvSpPr/>
          <p:nvPr/>
        </p:nvSpPr>
        <p:spPr>
          <a:xfrm>
            <a:off x="4093044" y="2687095"/>
            <a:ext cx="7546983" cy="900000"/>
          </a:xfrm>
          <a:prstGeom prst="rect">
            <a:avLst/>
          </a:prstGeom>
          <a:solidFill>
            <a:srgbClr val="3DB77A"/>
          </a:solidFill>
          <a:ln w="9525" cap="flat" cmpd="sng" algn="ctr">
            <a:noFill/>
            <a:prstDash val="solid"/>
          </a:ln>
          <a:effectLst/>
        </p:spPr>
        <p:txBody>
          <a:bodyPr lIns="91199" tIns="45607" rIns="91199" bIns="45607" rtlCol="0" anchor="ctr"/>
          <a:lstStyle/>
          <a:p>
            <a:pPr algn="ctr" defTabSz="930476" fontAlgn="base">
              <a:spcBef>
                <a:spcPct val="0"/>
              </a:spcBef>
              <a:spcAft>
                <a:spcPct val="0"/>
              </a:spcAft>
              <a:defRPr/>
            </a:pPr>
            <a:endParaRPr lang="en-GB" sz="1600" kern="0" dirty="0" err="1">
              <a:solidFill>
                <a:srgbClr val="1F1F1F"/>
              </a:solidFill>
              <a:latin typeface="Arial"/>
            </a:endParaRPr>
          </a:p>
        </p:txBody>
      </p:sp>
      <p:sp>
        <p:nvSpPr>
          <p:cNvPr id="37" name="Rectangle 36">
            <a:extLst>
              <a:ext uri="{FF2B5EF4-FFF2-40B4-BE49-F238E27FC236}">
                <a16:creationId xmlns:a16="http://schemas.microsoft.com/office/drawing/2014/main" id="{2E6CF2B7-90C8-4405-8CCD-73406D270CA6}"/>
              </a:ext>
            </a:extLst>
          </p:cNvPr>
          <p:cNvSpPr/>
          <p:nvPr/>
        </p:nvSpPr>
        <p:spPr>
          <a:xfrm>
            <a:off x="4093084" y="5078626"/>
            <a:ext cx="7546198" cy="900000"/>
          </a:xfrm>
          <a:prstGeom prst="rect">
            <a:avLst/>
          </a:prstGeom>
          <a:solidFill>
            <a:srgbClr val="3DB77A"/>
          </a:solidFill>
          <a:ln w="9525" cap="flat" cmpd="sng" algn="ctr">
            <a:noFill/>
            <a:prstDash val="solid"/>
          </a:ln>
          <a:effectLst/>
        </p:spPr>
        <p:txBody>
          <a:bodyPr lIns="91199" tIns="45607" rIns="91199" bIns="45607" rtlCol="0" anchor="ctr"/>
          <a:lstStyle/>
          <a:p>
            <a:pPr algn="ctr" defTabSz="930476" fontAlgn="base">
              <a:spcBef>
                <a:spcPct val="0"/>
              </a:spcBef>
              <a:spcAft>
                <a:spcPct val="0"/>
              </a:spcAft>
              <a:defRPr/>
            </a:pPr>
            <a:endParaRPr lang="en-GB" sz="1600" kern="0" dirty="0" err="1">
              <a:solidFill>
                <a:srgbClr val="1F1F1F"/>
              </a:solidFill>
              <a:latin typeface="Arial"/>
            </a:endParaRPr>
          </a:p>
        </p:txBody>
      </p:sp>
      <p:sp>
        <p:nvSpPr>
          <p:cNvPr id="38" name="TextBox 37">
            <a:extLst>
              <a:ext uri="{FF2B5EF4-FFF2-40B4-BE49-F238E27FC236}">
                <a16:creationId xmlns:a16="http://schemas.microsoft.com/office/drawing/2014/main" id="{F36D39E9-4E4E-4F54-BB6C-BF0B2BA67EB7}"/>
              </a:ext>
            </a:extLst>
          </p:cNvPr>
          <p:cNvSpPr txBox="1"/>
          <p:nvPr/>
        </p:nvSpPr>
        <p:spPr>
          <a:xfrm>
            <a:off x="599021" y="1187328"/>
            <a:ext cx="3232755"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1097" fontAlgn="base">
              <a:spcBef>
                <a:spcPct val="0"/>
              </a:spcBef>
              <a:spcAft>
                <a:spcPct val="0"/>
              </a:spcAft>
              <a:buClr>
                <a:srgbClr val="339966"/>
              </a:buClr>
            </a:pPr>
            <a:r>
              <a:rPr lang="en-GB" sz="1600" b="1" dirty="0">
                <a:solidFill>
                  <a:srgbClr val="339966"/>
                </a:solidFill>
                <a:latin typeface="Arial"/>
              </a:rPr>
              <a:t>NPHCDA’s transformation…</a:t>
            </a:r>
          </a:p>
        </p:txBody>
      </p:sp>
      <p:sp>
        <p:nvSpPr>
          <p:cNvPr id="39" name="TextBox 38">
            <a:extLst>
              <a:ext uri="{FF2B5EF4-FFF2-40B4-BE49-F238E27FC236}">
                <a16:creationId xmlns:a16="http://schemas.microsoft.com/office/drawing/2014/main" id="{E4CB19FA-89AC-4641-A149-1E650C1C8E72}"/>
              </a:ext>
            </a:extLst>
          </p:cNvPr>
          <p:cNvSpPr txBox="1"/>
          <p:nvPr/>
        </p:nvSpPr>
        <p:spPr>
          <a:xfrm>
            <a:off x="4093092" y="1187328"/>
            <a:ext cx="7546974" cy="25122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1097" fontAlgn="base">
              <a:spcBef>
                <a:spcPct val="0"/>
              </a:spcBef>
              <a:spcAft>
                <a:spcPct val="0"/>
              </a:spcAft>
              <a:buClr>
                <a:srgbClr val="339966"/>
              </a:buClr>
            </a:pPr>
            <a:r>
              <a:rPr lang="en-GB" sz="1600" b="1" dirty="0">
                <a:solidFill>
                  <a:srgbClr val="339966"/>
                </a:solidFill>
                <a:latin typeface="Arial"/>
              </a:rPr>
              <a:t>. . . Will drive concrete results</a:t>
            </a:r>
          </a:p>
        </p:txBody>
      </p:sp>
      <p:sp>
        <p:nvSpPr>
          <p:cNvPr id="40" name="TextBox 39">
            <a:extLst>
              <a:ext uri="{FF2B5EF4-FFF2-40B4-BE49-F238E27FC236}">
                <a16:creationId xmlns:a16="http://schemas.microsoft.com/office/drawing/2014/main" id="{0D1E2A4C-75A9-4599-AC0A-4D904562E8B2}"/>
              </a:ext>
            </a:extLst>
          </p:cNvPr>
          <p:cNvSpPr txBox="1">
            <a:spLocks/>
          </p:cNvSpPr>
          <p:nvPr/>
        </p:nvSpPr>
        <p:spPr>
          <a:xfrm>
            <a:off x="4496440" y="2748234"/>
            <a:ext cx="7046149" cy="73866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1097" fontAlgn="base">
              <a:spcBef>
                <a:spcPct val="0"/>
              </a:spcBef>
              <a:spcAft>
                <a:spcPct val="0"/>
              </a:spcAft>
              <a:buClr>
                <a:srgbClr val="339966"/>
              </a:buClr>
            </a:pPr>
            <a:r>
              <a:rPr lang="en-GB" sz="1600" b="1" dirty="0">
                <a:solidFill>
                  <a:srgbClr val="FFFFFF"/>
                </a:solidFill>
                <a:latin typeface="Arial"/>
              </a:rPr>
              <a:t>Drive immunisation rates up to 84% by 2028</a:t>
            </a:r>
          </a:p>
          <a:p>
            <a:pPr defTabSz="911097" fontAlgn="base">
              <a:spcBef>
                <a:spcPct val="0"/>
              </a:spcBef>
              <a:spcAft>
                <a:spcPct val="0"/>
              </a:spcAft>
              <a:buClr>
                <a:srgbClr val="339966"/>
              </a:buClr>
            </a:pPr>
            <a:r>
              <a:rPr lang="en-GB" sz="1600" dirty="0">
                <a:solidFill>
                  <a:srgbClr val="FFFFFF"/>
                </a:solidFill>
                <a:latin typeface="Arial"/>
              </a:rPr>
              <a:t>We are making progress on vaccine supply chain and RI service delivery, and we are beginning to see gradual improvements in immunization coverage</a:t>
            </a:r>
          </a:p>
        </p:txBody>
      </p:sp>
      <p:sp>
        <p:nvSpPr>
          <p:cNvPr id="41" name="TextBox 40">
            <a:extLst>
              <a:ext uri="{FF2B5EF4-FFF2-40B4-BE49-F238E27FC236}">
                <a16:creationId xmlns:a16="http://schemas.microsoft.com/office/drawing/2014/main" id="{28F996F1-4692-4585-AE3A-D2496208C6FB}"/>
              </a:ext>
            </a:extLst>
          </p:cNvPr>
          <p:cNvSpPr txBox="1">
            <a:spLocks/>
          </p:cNvSpPr>
          <p:nvPr/>
        </p:nvSpPr>
        <p:spPr>
          <a:xfrm>
            <a:off x="4496440" y="1567191"/>
            <a:ext cx="7046149" cy="959527"/>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1097" fontAlgn="base">
              <a:spcBef>
                <a:spcPct val="0"/>
              </a:spcBef>
              <a:spcAft>
                <a:spcPct val="0"/>
              </a:spcAft>
              <a:buClr>
                <a:srgbClr val="339966"/>
              </a:buClr>
            </a:pPr>
            <a:r>
              <a:rPr lang="en-GB" sz="1600" b="1" dirty="0">
                <a:solidFill>
                  <a:srgbClr val="FFFFFF"/>
                </a:solidFill>
                <a:latin typeface="Arial"/>
              </a:rPr>
              <a:t>Finally declare Nigeria polio free</a:t>
            </a:r>
          </a:p>
          <a:p>
            <a:pPr defTabSz="911097" fontAlgn="base">
              <a:spcBef>
                <a:spcPct val="0"/>
              </a:spcBef>
              <a:spcAft>
                <a:spcPct val="0"/>
              </a:spcAft>
              <a:buClr>
                <a:srgbClr val="339966"/>
              </a:buClr>
            </a:pPr>
            <a:r>
              <a:rPr lang="en-GB" sz="1600" dirty="0">
                <a:solidFill>
                  <a:srgbClr val="FFFFFF"/>
                </a:solidFill>
                <a:latin typeface="Arial"/>
              </a:rPr>
              <a:t>The program has been successful in interrupting the transmission of wild polio virus, but we are not relenting, until Nigeria is certified polio-free</a:t>
            </a:r>
          </a:p>
        </p:txBody>
      </p:sp>
      <p:sp>
        <p:nvSpPr>
          <p:cNvPr id="42" name="TextBox 41">
            <a:extLst>
              <a:ext uri="{FF2B5EF4-FFF2-40B4-BE49-F238E27FC236}">
                <a16:creationId xmlns:a16="http://schemas.microsoft.com/office/drawing/2014/main" id="{942FEC68-E0CE-4291-BB04-C99B189D1FF0}"/>
              </a:ext>
            </a:extLst>
          </p:cNvPr>
          <p:cNvSpPr txBox="1">
            <a:spLocks/>
          </p:cNvSpPr>
          <p:nvPr/>
        </p:nvSpPr>
        <p:spPr>
          <a:xfrm>
            <a:off x="4503780" y="5129568"/>
            <a:ext cx="7046879" cy="959527"/>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1097" fontAlgn="base">
              <a:spcBef>
                <a:spcPct val="0"/>
              </a:spcBef>
              <a:spcAft>
                <a:spcPct val="0"/>
              </a:spcAft>
              <a:buClr>
                <a:srgbClr val="339966"/>
              </a:buClr>
            </a:pPr>
            <a:r>
              <a:rPr lang="en-GB" sz="1600" b="1" dirty="0">
                <a:solidFill>
                  <a:srgbClr val="FFFFFF"/>
                </a:solidFill>
                <a:latin typeface="Arial"/>
              </a:rPr>
              <a:t>Strengthen governance and accountability</a:t>
            </a:r>
          </a:p>
          <a:p>
            <a:pPr defTabSz="911097" fontAlgn="base">
              <a:spcBef>
                <a:spcPct val="0"/>
              </a:spcBef>
              <a:spcAft>
                <a:spcPct val="0"/>
              </a:spcAft>
              <a:buClr>
                <a:srgbClr val="339966"/>
              </a:buClr>
            </a:pPr>
            <a:r>
              <a:rPr lang="en-GB" sz="1600" dirty="0">
                <a:solidFill>
                  <a:srgbClr val="FFFFFF"/>
                </a:solidFill>
                <a:latin typeface="Arial"/>
              </a:rPr>
              <a:t>We are transforming NPHCDA into a credible, accountable and reliable partner to all our stakeholders</a:t>
            </a:r>
          </a:p>
        </p:txBody>
      </p:sp>
      <p:sp>
        <p:nvSpPr>
          <p:cNvPr id="45" name="TextBox 44">
            <a:extLst>
              <a:ext uri="{FF2B5EF4-FFF2-40B4-BE49-F238E27FC236}">
                <a16:creationId xmlns:a16="http://schemas.microsoft.com/office/drawing/2014/main" id="{741ED90C-DD5F-4E5A-AA5F-F1E51F41D8C0}"/>
              </a:ext>
            </a:extLst>
          </p:cNvPr>
          <p:cNvSpPr txBox="1">
            <a:spLocks/>
          </p:cNvSpPr>
          <p:nvPr/>
        </p:nvSpPr>
        <p:spPr>
          <a:xfrm>
            <a:off x="4503780" y="3885466"/>
            <a:ext cx="7046879" cy="738664"/>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1097" fontAlgn="base">
              <a:spcBef>
                <a:spcPct val="0"/>
              </a:spcBef>
              <a:spcAft>
                <a:spcPct val="0"/>
              </a:spcAft>
              <a:buClr>
                <a:srgbClr val="339966"/>
              </a:buClr>
            </a:pPr>
            <a:r>
              <a:rPr lang="en-GB" sz="1600" b="1" dirty="0">
                <a:solidFill>
                  <a:srgbClr val="FFFFFF"/>
                </a:solidFill>
                <a:latin typeface="Arial"/>
              </a:rPr>
              <a:t>Provide strategic direction on primary care</a:t>
            </a:r>
          </a:p>
          <a:p>
            <a:pPr defTabSz="911097" fontAlgn="base">
              <a:spcBef>
                <a:spcPct val="0"/>
              </a:spcBef>
              <a:spcAft>
                <a:spcPct val="0"/>
              </a:spcAft>
              <a:buClr>
                <a:srgbClr val="339966"/>
              </a:buClr>
            </a:pPr>
            <a:r>
              <a:rPr lang="en-US" sz="1600" dirty="0">
                <a:solidFill>
                  <a:srgbClr val="FFFFFF"/>
                </a:solidFill>
                <a:latin typeface="Arial"/>
              </a:rPr>
              <a:t>NPHCDA is taking the lead on developing a pragmatic PHC delivery model to ensure universal health coverage for the poor and vulnerable</a:t>
            </a:r>
          </a:p>
        </p:txBody>
      </p:sp>
      <p:grpSp>
        <p:nvGrpSpPr>
          <p:cNvPr id="46" name="Group 45">
            <a:extLst>
              <a:ext uri="{FF2B5EF4-FFF2-40B4-BE49-F238E27FC236}">
                <a16:creationId xmlns:a16="http://schemas.microsoft.com/office/drawing/2014/main" id="{08632BE4-3E83-4D84-91D6-FCF00DEE03F6}"/>
              </a:ext>
            </a:extLst>
          </p:cNvPr>
          <p:cNvGrpSpPr/>
          <p:nvPr/>
        </p:nvGrpSpPr>
        <p:grpSpPr>
          <a:xfrm>
            <a:off x="499832" y="1515208"/>
            <a:ext cx="3331942" cy="4463563"/>
            <a:chOff x="119063" y="1484868"/>
            <a:chExt cx="3420971" cy="4711949"/>
          </a:xfrm>
        </p:grpSpPr>
        <p:sp>
          <p:nvSpPr>
            <p:cNvPr id="47" name="Freeform 2">
              <a:extLst>
                <a:ext uri="{FF2B5EF4-FFF2-40B4-BE49-F238E27FC236}">
                  <a16:creationId xmlns:a16="http://schemas.microsoft.com/office/drawing/2014/main" id="{176EFA25-8A1D-4F03-AA94-AE21C5E84596}"/>
                </a:ext>
              </a:extLst>
            </p:cNvPr>
            <p:cNvSpPr/>
            <p:nvPr>
              <p:custDataLst>
                <p:tags r:id="rId5"/>
              </p:custDataLst>
            </p:nvPr>
          </p:nvSpPr>
          <p:spPr>
            <a:xfrm>
              <a:off x="119063" y="1484868"/>
              <a:ext cx="3420971" cy="471194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rgbClr val="FFFFFF"/>
            </a:solidFill>
            <a:ln w="9525" cap="flat" cmpd="sng" algn="ctr">
              <a:solidFill>
                <a:srgbClr val="75D1A3"/>
              </a:solidFill>
              <a:prstDash val="solid"/>
            </a:ln>
            <a:effectLst/>
          </p:spPr>
          <p:txBody>
            <a:bodyPr rtlCol="0" anchor="ctr"/>
            <a:lstStyle/>
            <a:p>
              <a:pPr algn="ctr" defTabSz="930476" fontAlgn="base">
                <a:spcBef>
                  <a:spcPct val="0"/>
                </a:spcBef>
                <a:spcAft>
                  <a:spcPct val="0"/>
                </a:spcAft>
                <a:defRPr/>
              </a:pPr>
              <a:endParaRPr lang="en-GB" sz="1600" kern="0" dirty="0" err="1">
                <a:solidFill>
                  <a:srgbClr val="1F1F1F"/>
                </a:solidFill>
                <a:latin typeface="Arial"/>
              </a:endParaRPr>
            </a:p>
          </p:txBody>
        </p:sp>
        <p:sp>
          <p:nvSpPr>
            <p:cNvPr id="48" name="TextBox 47">
              <a:extLst>
                <a:ext uri="{FF2B5EF4-FFF2-40B4-BE49-F238E27FC236}">
                  <a16:creationId xmlns:a16="http://schemas.microsoft.com/office/drawing/2014/main" id="{748B370E-DBA3-4F75-AA4B-ED82A03D55CD}"/>
                </a:ext>
              </a:extLst>
            </p:cNvPr>
            <p:cNvSpPr txBox="1"/>
            <p:nvPr/>
          </p:nvSpPr>
          <p:spPr>
            <a:xfrm>
              <a:off x="279456" y="1584470"/>
              <a:ext cx="2970282" cy="181946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1097" fontAlgn="base">
                <a:spcBef>
                  <a:spcPct val="0"/>
                </a:spcBef>
                <a:spcAft>
                  <a:spcPct val="0"/>
                </a:spcAft>
                <a:buClr>
                  <a:srgbClr val="339966"/>
                </a:buClr>
                <a:defRPr/>
              </a:pPr>
              <a:r>
                <a:rPr lang="en-GB" sz="1600" b="1" kern="0" dirty="0">
                  <a:solidFill>
                    <a:srgbClr val="339966"/>
                  </a:solidFill>
                  <a:latin typeface="Arial"/>
                </a:rPr>
                <a:t>Revamp the financial system</a:t>
              </a:r>
            </a:p>
            <a:p>
              <a:pPr defTabSz="911097" fontAlgn="base">
                <a:spcBef>
                  <a:spcPct val="0"/>
                </a:spcBef>
                <a:spcAft>
                  <a:spcPct val="0"/>
                </a:spcAft>
                <a:buClr>
                  <a:srgbClr val="339966"/>
                </a:buClr>
                <a:defRPr/>
              </a:pPr>
              <a:r>
                <a:rPr lang="en-GB" sz="1600" kern="0" dirty="0">
                  <a:solidFill>
                    <a:srgbClr val="1F1F1F"/>
                  </a:solidFill>
                  <a:latin typeface="Arial"/>
                </a:rPr>
                <a:t>Entirely revamp the NPHCDA’s financial structure to meet international best practices, transparency to all partners in a clear and structured engagement process</a:t>
              </a:r>
            </a:p>
          </p:txBody>
        </p:sp>
        <p:sp>
          <p:nvSpPr>
            <p:cNvPr id="49" name="TextBox 48">
              <a:extLst>
                <a:ext uri="{FF2B5EF4-FFF2-40B4-BE49-F238E27FC236}">
                  <a16:creationId xmlns:a16="http://schemas.microsoft.com/office/drawing/2014/main" id="{FA09BF44-5485-4713-A010-516FC382F25F}"/>
                </a:ext>
              </a:extLst>
            </p:cNvPr>
            <p:cNvSpPr txBox="1"/>
            <p:nvPr/>
          </p:nvSpPr>
          <p:spPr>
            <a:xfrm>
              <a:off x="279456" y="3646688"/>
              <a:ext cx="2970282" cy="237024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1097" fontAlgn="base">
                <a:spcBef>
                  <a:spcPct val="0"/>
                </a:spcBef>
                <a:spcAft>
                  <a:spcPct val="0"/>
                </a:spcAft>
                <a:buClr>
                  <a:srgbClr val="339966"/>
                </a:buClr>
                <a:defRPr/>
              </a:pPr>
              <a:r>
                <a:rPr lang="en-GB" sz="1600" b="1" kern="0" dirty="0">
                  <a:solidFill>
                    <a:srgbClr val="339966"/>
                  </a:solidFill>
                  <a:latin typeface="Arial"/>
                </a:rPr>
                <a:t>Transform the organization</a:t>
              </a:r>
            </a:p>
            <a:p>
              <a:pPr defTabSz="911097" fontAlgn="base">
                <a:spcBef>
                  <a:spcPct val="0"/>
                </a:spcBef>
                <a:spcAft>
                  <a:spcPct val="0"/>
                </a:spcAft>
                <a:buClr>
                  <a:srgbClr val="339966"/>
                </a:buClr>
                <a:defRPr/>
              </a:pPr>
              <a:r>
                <a:rPr lang="en-GB" sz="1600" kern="0" dirty="0">
                  <a:solidFill>
                    <a:srgbClr val="1F1F1F"/>
                  </a:solidFill>
                  <a:latin typeface="Arial"/>
                </a:rPr>
                <a:t>Re-examine organisational structures and staff capabilities to build an Agency that operates with clear, fit-for-purpose roles and responsibilities executed by capable staff with appropriate performance management</a:t>
              </a:r>
            </a:p>
          </p:txBody>
        </p:sp>
      </p:grpSp>
      <p:sp>
        <p:nvSpPr>
          <p:cNvPr id="50" name="Tracker circle">
            <a:extLst>
              <a:ext uri="{FF2B5EF4-FFF2-40B4-BE49-F238E27FC236}">
                <a16:creationId xmlns:a16="http://schemas.microsoft.com/office/drawing/2014/main" id="{8A3CA1C2-F154-4D71-BD69-9F9B1111FE98}"/>
              </a:ext>
            </a:extLst>
          </p:cNvPr>
          <p:cNvSpPr/>
          <p:nvPr/>
        </p:nvSpPr>
        <p:spPr>
          <a:xfrm>
            <a:off x="4168165" y="1538973"/>
            <a:ext cx="257041" cy="199373"/>
          </a:xfrm>
          <a:prstGeom prst="ellipse">
            <a:avLst/>
          </a:prstGeom>
          <a:solidFill>
            <a:srgbClr val="DAF2E6"/>
          </a:solidFill>
          <a:ln w="9525" cap="flat" cmpd="sng" algn="ctr">
            <a:solidFill>
              <a:srgbClr val="808080"/>
            </a:solidFill>
            <a:prstDash val="solid"/>
          </a:ln>
          <a:effectLst/>
        </p:spPr>
        <p:txBody>
          <a:bodyPr wrap="none" lIns="0" tIns="0" rIns="0" bIns="0" rtlCol="0" anchor="ctr" anchorCtr="1"/>
          <a:lstStyle/>
          <a:p>
            <a:pPr algn="ctr" defTabSz="930476" fontAlgn="base">
              <a:spcBef>
                <a:spcPct val="0"/>
              </a:spcBef>
              <a:spcAft>
                <a:spcPct val="0"/>
              </a:spcAft>
              <a:defRPr/>
            </a:pPr>
            <a:r>
              <a:rPr lang="en-ZA" sz="1200" b="1" kern="0" dirty="0">
                <a:solidFill>
                  <a:srgbClr val="1F1F1F"/>
                </a:solidFill>
                <a:latin typeface="Arial"/>
              </a:rPr>
              <a:t>1</a:t>
            </a:r>
          </a:p>
        </p:txBody>
      </p:sp>
      <p:sp>
        <p:nvSpPr>
          <p:cNvPr id="51" name="Tracker circle">
            <a:extLst>
              <a:ext uri="{FF2B5EF4-FFF2-40B4-BE49-F238E27FC236}">
                <a16:creationId xmlns:a16="http://schemas.microsoft.com/office/drawing/2014/main" id="{5CCC2D27-681C-43DC-94E9-4C57D2350651}"/>
              </a:ext>
            </a:extLst>
          </p:cNvPr>
          <p:cNvSpPr/>
          <p:nvPr/>
        </p:nvSpPr>
        <p:spPr>
          <a:xfrm>
            <a:off x="4168165" y="2708558"/>
            <a:ext cx="257041" cy="199373"/>
          </a:xfrm>
          <a:prstGeom prst="ellipse">
            <a:avLst/>
          </a:prstGeom>
          <a:solidFill>
            <a:srgbClr val="DAF2E6"/>
          </a:solidFill>
          <a:ln w="9525" cap="flat" cmpd="sng" algn="ctr">
            <a:solidFill>
              <a:srgbClr val="808080"/>
            </a:solidFill>
            <a:prstDash val="solid"/>
          </a:ln>
          <a:effectLst/>
        </p:spPr>
        <p:txBody>
          <a:bodyPr wrap="none" lIns="0" tIns="0" rIns="0" bIns="0" rtlCol="0" anchor="ctr" anchorCtr="1"/>
          <a:lstStyle/>
          <a:p>
            <a:pPr algn="ctr" defTabSz="930476" fontAlgn="base">
              <a:spcBef>
                <a:spcPct val="0"/>
              </a:spcBef>
              <a:spcAft>
                <a:spcPct val="0"/>
              </a:spcAft>
              <a:defRPr/>
            </a:pPr>
            <a:r>
              <a:rPr lang="en-ZA" sz="1200" b="1" kern="0" dirty="0">
                <a:solidFill>
                  <a:srgbClr val="1F1F1F"/>
                </a:solidFill>
                <a:latin typeface="Arial"/>
              </a:rPr>
              <a:t>2</a:t>
            </a:r>
          </a:p>
        </p:txBody>
      </p:sp>
      <p:sp>
        <p:nvSpPr>
          <p:cNvPr id="52" name="Tracker circle">
            <a:extLst>
              <a:ext uri="{FF2B5EF4-FFF2-40B4-BE49-F238E27FC236}">
                <a16:creationId xmlns:a16="http://schemas.microsoft.com/office/drawing/2014/main" id="{BC7D05F8-0FB5-4709-AD7D-853CB655CCF1}"/>
              </a:ext>
            </a:extLst>
          </p:cNvPr>
          <p:cNvSpPr/>
          <p:nvPr/>
        </p:nvSpPr>
        <p:spPr>
          <a:xfrm>
            <a:off x="4168165" y="3866657"/>
            <a:ext cx="257041" cy="199373"/>
          </a:xfrm>
          <a:prstGeom prst="ellipse">
            <a:avLst/>
          </a:prstGeom>
          <a:solidFill>
            <a:srgbClr val="DAF2E6"/>
          </a:solidFill>
          <a:ln w="9525" cap="flat" cmpd="sng" algn="ctr">
            <a:solidFill>
              <a:srgbClr val="808080"/>
            </a:solidFill>
            <a:prstDash val="solid"/>
          </a:ln>
          <a:effectLst/>
        </p:spPr>
        <p:txBody>
          <a:bodyPr wrap="none" lIns="0" tIns="0" rIns="0" bIns="0" rtlCol="0" anchor="ctr" anchorCtr="1"/>
          <a:lstStyle/>
          <a:p>
            <a:pPr algn="ctr" defTabSz="930476" fontAlgn="base">
              <a:spcBef>
                <a:spcPct val="0"/>
              </a:spcBef>
              <a:spcAft>
                <a:spcPct val="0"/>
              </a:spcAft>
              <a:defRPr/>
            </a:pPr>
            <a:r>
              <a:rPr lang="en-ZA" sz="1200" b="1" kern="0" dirty="0">
                <a:solidFill>
                  <a:srgbClr val="1F1F1F"/>
                </a:solidFill>
                <a:latin typeface="Arial"/>
              </a:rPr>
              <a:t>3</a:t>
            </a:r>
          </a:p>
        </p:txBody>
      </p:sp>
      <p:sp>
        <p:nvSpPr>
          <p:cNvPr id="53" name="Tracker circle">
            <a:extLst>
              <a:ext uri="{FF2B5EF4-FFF2-40B4-BE49-F238E27FC236}">
                <a16:creationId xmlns:a16="http://schemas.microsoft.com/office/drawing/2014/main" id="{E1256A81-B615-4782-BB98-53BDBF73E707}"/>
              </a:ext>
            </a:extLst>
          </p:cNvPr>
          <p:cNvSpPr/>
          <p:nvPr/>
        </p:nvSpPr>
        <p:spPr>
          <a:xfrm>
            <a:off x="4168165" y="5129689"/>
            <a:ext cx="257041" cy="199373"/>
          </a:xfrm>
          <a:prstGeom prst="ellipse">
            <a:avLst/>
          </a:prstGeom>
          <a:solidFill>
            <a:srgbClr val="DAF2E6"/>
          </a:solidFill>
          <a:ln w="9525" cap="flat" cmpd="sng" algn="ctr">
            <a:solidFill>
              <a:srgbClr val="808080"/>
            </a:solidFill>
            <a:prstDash val="solid"/>
          </a:ln>
          <a:effectLst/>
        </p:spPr>
        <p:txBody>
          <a:bodyPr wrap="none" lIns="0" tIns="0" rIns="0" bIns="0" rtlCol="0" anchor="ctr" anchorCtr="1"/>
          <a:lstStyle/>
          <a:p>
            <a:pPr algn="ctr" defTabSz="930476" fontAlgn="base">
              <a:spcBef>
                <a:spcPct val="0"/>
              </a:spcBef>
              <a:spcAft>
                <a:spcPct val="0"/>
              </a:spcAft>
              <a:defRPr/>
            </a:pPr>
            <a:r>
              <a:rPr lang="en-ZA" sz="1200" b="1" kern="0" dirty="0">
                <a:solidFill>
                  <a:srgbClr val="1F1F1F"/>
                </a:solidFill>
                <a:latin typeface="Arial"/>
              </a:rPr>
              <a:t>4</a:t>
            </a:r>
          </a:p>
        </p:txBody>
      </p:sp>
      <p:sp>
        <p:nvSpPr>
          <p:cNvPr id="54" name="Rectangle 2">
            <a:extLst>
              <a:ext uri="{FF2B5EF4-FFF2-40B4-BE49-F238E27FC236}">
                <a16:creationId xmlns:a16="http://schemas.microsoft.com/office/drawing/2014/main" id="{D9CD46B5-8E37-4299-9762-31D95598E750}"/>
              </a:ext>
            </a:extLst>
          </p:cNvPr>
          <p:cNvSpPr txBox="1">
            <a:spLocks noChangeArrowheads="1"/>
          </p:cNvSpPr>
          <p:nvPr>
            <p:custDataLst>
              <p:tags r:id="rId4"/>
            </p:custDataLst>
          </p:nvPr>
        </p:nvSpPr>
        <p:spPr bwMode="gray">
          <a:xfrm>
            <a:off x="1044386" y="59752"/>
            <a:ext cx="10057371" cy="7569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199" tIns="45607" rIns="91199" bIns="45607" rtlCol="0" anchor="ctr">
            <a:spAutoFit/>
          </a:bodyPr>
          <a:lstStyle>
            <a:defPPr>
              <a:defRPr lang="en-US"/>
            </a:defPPr>
            <a:lvl1pPr>
              <a:lnSpc>
                <a:spcPct val="90000"/>
              </a:lnSpc>
              <a:spcBef>
                <a:spcPct val="0"/>
              </a:spcBef>
              <a:buNone/>
              <a:defRPr sz="3200" b="1">
                <a:solidFill>
                  <a:srgbClr val="204024"/>
                </a:solidFill>
                <a:latin typeface="+mj-lt"/>
                <a:ea typeface="+mj-ea"/>
                <a:cs typeface="+mj-cs"/>
              </a:defRPr>
            </a:lvl1pPr>
            <a:lvl2pPr defTabSz="669832">
              <a:defRPr sz="1397" b="1">
                <a:solidFill>
                  <a:schemeClr val="tx2"/>
                </a:solidFill>
                <a:latin typeface="Arial" panose="020B0604020202020204" pitchFamily="34" charset="0"/>
              </a:defRPr>
            </a:lvl2pPr>
            <a:lvl3pPr defTabSz="669832">
              <a:defRPr sz="1397" b="1">
                <a:solidFill>
                  <a:schemeClr val="tx2"/>
                </a:solidFill>
                <a:latin typeface="Arial" panose="020B0604020202020204" pitchFamily="34" charset="0"/>
              </a:defRPr>
            </a:lvl3pPr>
            <a:lvl4pPr defTabSz="669832">
              <a:defRPr sz="1397" b="1">
                <a:solidFill>
                  <a:schemeClr val="tx2"/>
                </a:solidFill>
                <a:latin typeface="Arial" panose="020B0604020202020204" pitchFamily="34" charset="0"/>
              </a:defRPr>
            </a:lvl4pPr>
            <a:lvl5pPr defTabSz="669832">
              <a:defRPr sz="1397" b="1">
                <a:solidFill>
                  <a:schemeClr val="tx2"/>
                </a:solidFill>
                <a:latin typeface="Arial" panose="020B0604020202020204" pitchFamily="34" charset="0"/>
              </a:defRPr>
            </a:lvl5pPr>
            <a:lvl6pPr marL="342042" defTabSz="669832" fontAlgn="base">
              <a:spcBef>
                <a:spcPct val="0"/>
              </a:spcBef>
              <a:spcAft>
                <a:spcPct val="0"/>
              </a:spcAft>
              <a:defRPr sz="1397" b="1">
                <a:solidFill>
                  <a:schemeClr val="tx2"/>
                </a:solidFill>
                <a:latin typeface="Arial" panose="020B0604020202020204" pitchFamily="34" charset="0"/>
              </a:defRPr>
            </a:lvl6pPr>
            <a:lvl7pPr marL="684086" defTabSz="669832" fontAlgn="base">
              <a:spcBef>
                <a:spcPct val="0"/>
              </a:spcBef>
              <a:spcAft>
                <a:spcPct val="0"/>
              </a:spcAft>
              <a:defRPr sz="1397" b="1">
                <a:solidFill>
                  <a:schemeClr val="tx2"/>
                </a:solidFill>
                <a:latin typeface="Arial" panose="020B0604020202020204" pitchFamily="34" charset="0"/>
              </a:defRPr>
            </a:lvl7pPr>
            <a:lvl8pPr marL="1026120" defTabSz="669832" fontAlgn="base">
              <a:spcBef>
                <a:spcPct val="0"/>
              </a:spcBef>
              <a:spcAft>
                <a:spcPct val="0"/>
              </a:spcAft>
              <a:defRPr sz="1397" b="1">
                <a:solidFill>
                  <a:schemeClr val="tx2"/>
                </a:solidFill>
                <a:latin typeface="Arial" panose="020B0604020202020204" pitchFamily="34" charset="0"/>
              </a:defRPr>
            </a:lvl8pPr>
            <a:lvl9pPr marL="1368168" defTabSz="669832" fontAlgn="base">
              <a:spcBef>
                <a:spcPct val="0"/>
              </a:spcBef>
              <a:spcAft>
                <a:spcPct val="0"/>
              </a:spcAft>
              <a:defRPr sz="1397" b="1">
                <a:solidFill>
                  <a:schemeClr val="tx2"/>
                </a:solidFill>
                <a:latin typeface="Arial" panose="020B0604020202020204" pitchFamily="34" charset="0"/>
              </a:defRPr>
            </a:lvl9pPr>
          </a:lstStyle>
          <a:p>
            <a:pPr defTabSz="911969"/>
            <a:r>
              <a:rPr lang="en-US" sz="2400" dirty="0">
                <a:solidFill>
                  <a:schemeClr val="accent6">
                    <a:lumMod val="50000"/>
                  </a:schemeClr>
                </a:solidFill>
                <a:latin typeface="Arial" panose="020B0604020202020204" pitchFamily="34" charset="0"/>
                <a:cs typeface="Arial" panose="020B0604020202020204" pitchFamily="34" charset="0"/>
              </a:rPr>
              <a:t>NPHCDA’s organizational vision is to build a robust agency that will deliver tangible results to improve primary healthcare in Nigeria</a:t>
            </a:r>
          </a:p>
        </p:txBody>
      </p:sp>
      <p:sp>
        <p:nvSpPr>
          <p:cNvPr id="2" name="Slide Number Placeholder 1"/>
          <p:cNvSpPr>
            <a:spLocks noGrp="1"/>
          </p:cNvSpPr>
          <p:nvPr>
            <p:ph type="sldNum" sz="quarter" idx="12"/>
          </p:nvPr>
        </p:nvSpPr>
        <p:spPr>
          <a:xfrm>
            <a:off x="9448799" y="6492900"/>
            <a:ext cx="2743201" cy="365125"/>
          </a:xfrm>
        </p:spPr>
        <p:txBody>
          <a:bodyPr/>
          <a:lstStyle/>
          <a:p>
            <a:fld id="{978E596B-AA80-4BB2-8707-B351070E738D}" type="slidenum">
              <a:rPr lang="en-US" sz="1600" b="1">
                <a:solidFill>
                  <a:schemeClr val="bg1"/>
                </a:solidFill>
              </a:rPr>
              <a:pPr/>
              <a:t>4</a:t>
            </a:fld>
            <a:endParaRPr lang="en-US" sz="1600" b="1" dirty="0">
              <a:solidFill>
                <a:schemeClr val="bg1"/>
              </a:solidFill>
            </a:endParaRPr>
          </a:p>
        </p:txBody>
      </p:sp>
    </p:spTree>
    <p:extLst>
      <p:ext uri="{BB962C8B-B14F-4D97-AF65-F5344CB8AC3E}">
        <p14:creationId xmlns:p14="http://schemas.microsoft.com/office/powerpoint/2010/main" val="12021351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AEEA68-CF75-4C09-8122-1A0D0B93AC7D}"/>
              </a:ext>
            </a:extLst>
          </p:cNvPr>
          <p:cNvGraphicFramePr>
            <a:graphicFrameLocks noChangeAspect="1"/>
          </p:cNvGraphicFramePr>
          <p:nvPr>
            <p:custDataLst>
              <p:tags r:id="rId2"/>
            </p:custDataLst>
            <p:extLst/>
          </p:nvPr>
        </p:nvGraphicFramePr>
        <p:xfrm>
          <a:off x="2121" y="1591"/>
          <a:ext cx="2117" cy="1588"/>
        </p:xfrm>
        <a:graphic>
          <a:graphicData uri="http://schemas.openxmlformats.org/presentationml/2006/ole">
            <mc:AlternateContent xmlns:mc="http://schemas.openxmlformats.org/markup-compatibility/2006">
              <mc:Choice xmlns:v="urn:schemas-microsoft-com:vml" Requires="v">
                <p:oleObj spid="_x0000_s117916" name="think-cell Slide" r:id="rId6" imgW="416" imgH="416" progId="TCLayout.ActiveDocument.1">
                  <p:embed/>
                </p:oleObj>
              </mc:Choice>
              <mc:Fallback>
                <p:oleObj name="think-cell Slide" r:id="rId6" imgW="416" imgH="416" progId="TCLayout.ActiveDocument.1">
                  <p:embed/>
                  <p:pic>
                    <p:nvPicPr>
                      <p:cNvPr id="6" name="Object 5" hidden="1">
                        <a:extLst>
                          <a:ext uri="{FF2B5EF4-FFF2-40B4-BE49-F238E27FC236}">
                            <a16:creationId xmlns:a16="http://schemas.microsoft.com/office/drawing/2014/main" id="{2CAEEA68-CF75-4C09-8122-1A0D0B93AC7D}"/>
                          </a:ext>
                        </a:extLst>
                      </p:cNvPr>
                      <p:cNvPicPr/>
                      <p:nvPr/>
                    </p:nvPicPr>
                    <p:blipFill>
                      <a:blip r:embed="rId7"/>
                      <a:stretch>
                        <a:fillRect/>
                      </a:stretch>
                    </p:blipFill>
                    <p:spPr>
                      <a:xfrm>
                        <a:off x="2121" y="1591"/>
                        <a:ext cx="2117"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7CEDC8-2451-4D78-ADA4-4D6573797D7B}"/>
              </a:ext>
            </a:extLst>
          </p:cNvPr>
          <p:cNvSpPr/>
          <p:nvPr>
            <p:custDataLst>
              <p:tags r:id="rId3"/>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1969">
              <a:lnSpc>
                <a:spcPct val="90000"/>
              </a:lnSpc>
              <a:spcBef>
                <a:spcPct val="0"/>
              </a:spcBef>
              <a:spcAft>
                <a:spcPct val="0"/>
              </a:spcAft>
            </a:pPr>
            <a:endParaRPr lang="en-US" sz="2900" b="1" i="1" dirty="0">
              <a:solidFill>
                <a:prstClr val="white"/>
              </a:solidFill>
              <a:latin typeface="Calibri Light" panose="020F0302020204030204" pitchFamily="34" charset="0"/>
              <a:sym typeface="Calibri Light" panose="020F0302020204030204" pitchFamily="34" charset="0"/>
            </a:endParaRPr>
          </a:p>
        </p:txBody>
      </p:sp>
      <p:sp>
        <p:nvSpPr>
          <p:cNvPr id="54" name="Rectangle 2">
            <a:extLst>
              <a:ext uri="{FF2B5EF4-FFF2-40B4-BE49-F238E27FC236}">
                <a16:creationId xmlns:a16="http://schemas.microsoft.com/office/drawing/2014/main" id="{D9CD46B5-8E37-4299-9762-31D95598E750}"/>
              </a:ext>
            </a:extLst>
          </p:cNvPr>
          <p:cNvSpPr txBox="1">
            <a:spLocks noChangeArrowheads="1"/>
          </p:cNvSpPr>
          <p:nvPr>
            <p:custDataLst>
              <p:tags r:id="rId4"/>
            </p:custDataLst>
          </p:nvPr>
        </p:nvSpPr>
        <p:spPr bwMode="gray">
          <a:xfrm>
            <a:off x="1044386" y="111228"/>
            <a:ext cx="10665499" cy="8677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199" tIns="45607" rIns="91199" bIns="45607" rtlCol="0" anchor="ctr">
            <a:spAutoFit/>
          </a:bodyPr>
          <a:lstStyle>
            <a:defPPr>
              <a:defRPr lang="en-US"/>
            </a:defPPr>
            <a:lvl1pPr>
              <a:lnSpc>
                <a:spcPct val="90000"/>
              </a:lnSpc>
              <a:spcBef>
                <a:spcPct val="0"/>
              </a:spcBef>
              <a:buNone/>
              <a:defRPr sz="3200" b="1">
                <a:solidFill>
                  <a:srgbClr val="204024"/>
                </a:solidFill>
                <a:latin typeface="+mj-lt"/>
                <a:ea typeface="+mj-ea"/>
                <a:cs typeface="+mj-cs"/>
              </a:defRPr>
            </a:lvl1pPr>
            <a:lvl2pPr defTabSz="669832">
              <a:defRPr sz="1397" b="1">
                <a:solidFill>
                  <a:schemeClr val="tx2"/>
                </a:solidFill>
                <a:latin typeface="Arial" panose="020B0604020202020204" pitchFamily="34" charset="0"/>
              </a:defRPr>
            </a:lvl2pPr>
            <a:lvl3pPr defTabSz="669832">
              <a:defRPr sz="1397" b="1">
                <a:solidFill>
                  <a:schemeClr val="tx2"/>
                </a:solidFill>
                <a:latin typeface="Arial" panose="020B0604020202020204" pitchFamily="34" charset="0"/>
              </a:defRPr>
            </a:lvl3pPr>
            <a:lvl4pPr defTabSz="669832">
              <a:defRPr sz="1397" b="1">
                <a:solidFill>
                  <a:schemeClr val="tx2"/>
                </a:solidFill>
                <a:latin typeface="Arial" panose="020B0604020202020204" pitchFamily="34" charset="0"/>
              </a:defRPr>
            </a:lvl4pPr>
            <a:lvl5pPr defTabSz="669832">
              <a:defRPr sz="1397" b="1">
                <a:solidFill>
                  <a:schemeClr val="tx2"/>
                </a:solidFill>
                <a:latin typeface="Arial" panose="020B0604020202020204" pitchFamily="34" charset="0"/>
              </a:defRPr>
            </a:lvl5pPr>
            <a:lvl6pPr marL="342042" defTabSz="669832" fontAlgn="base">
              <a:spcBef>
                <a:spcPct val="0"/>
              </a:spcBef>
              <a:spcAft>
                <a:spcPct val="0"/>
              </a:spcAft>
              <a:defRPr sz="1397" b="1">
                <a:solidFill>
                  <a:schemeClr val="tx2"/>
                </a:solidFill>
                <a:latin typeface="Arial" panose="020B0604020202020204" pitchFamily="34" charset="0"/>
              </a:defRPr>
            </a:lvl6pPr>
            <a:lvl7pPr marL="684086" defTabSz="669832" fontAlgn="base">
              <a:spcBef>
                <a:spcPct val="0"/>
              </a:spcBef>
              <a:spcAft>
                <a:spcPct val="0"/>
              </a:spcAft>
              <a:defRPr sz="1397" b="1">
                <a:solidFill>
                  <a:schemeClr val="tx2"/>
                </a:solidFill>
                <a:latin typeface="Arial" panose="020B0604020202020204" pitchFamily="34" charset="0"/>
              </a:defRPr>
            </a:lvl7pPr>
            <a:lvl8pPr marL="1026120" defTabSz="669832" fontAlgn="base">
              <a:spcBef>
                <a:spcPct val="0"/>
              </a:spcBef>
              <a:spcAft>
                <a:spcPct val="0"/>
              </a:spcAft>
              <a:defRPr sz="1397" b="1">
                <a:solidFill>
                  <a:schemeClr val="tx2"/>
                </a:solidFill>
                <a:latin typeface="Arial" panose="020B0604020202020204" pitchFamily="34" charset="0"/>
              </a:defRPr>
            </a:lvl8pPr>
            <a:lvl9pPr marL="1368168" defTabSz="669832" fontAlgn="base">
              <a:spcBef>
                <a:spcPct val="0"/>
              </a:spcBef>
              <a:spcAft>
                <a:spcPct val="0"/>
              </a:spcAft>
              <a:defRPr sz="1397" b="1">
                <a:solidFill>
                  <a:schemeClr val="tx2"/>
                </a:solidFill>
                <a:latin typeface="Arial" panose="020B0604020202020204" pitchFamily="34" charset="0"/>
              </a:defRPr>
            </a:lvl9pPr>
          </a:lstStyle>
          <a:p>
            <a:pPr marL="4759"/>
            <a:r>
              <a:rPr lang="en-US" sz="1900" dirty="0">
                <a:solidFill>
                  <a:srgbClr val="015F32"/>
                </a:solidFill>
                <a:latin typeface="Arial" panose="020B0604020202020204" pitchFamily="34" charset="0"/>
                <a:cs typeface="Arial" panose="020B0604020202020204" pitchFamily="34" charset="0"/>
              </a:rPr>
              <a:t>Why we will succeed</a:t>
            </a:r>
          </a:p>
          <a:p>
            <a:pPr marL="4759"/>
            <a:endParaRPr lang="en-US" sz="1800" dirty="0">
              <a:solidFill>
                <a:srgbClr val="015F32"/>
              </a:solidFill>
              <a:latin typeface="Arial" panose="020B0604020202020204" pitchFamily="34" charset="0"/>
              <a:cs typeface="Arial" panose="020B0604020202020204" pitchFamily="34" charset="0"/>
            </a:endParaRPr>
          </a:p>
          <a:p>
            <a:pPr marL="4759"/>
            <a:r>
              <a:rPr lang="en-US" sz="1900" dirty="0">
                <a:solidFill>
                  <a:srgbClr val="015F32"/>
                </a:solidFill>
                <a:latin typeface="Arial" panose="020B0604020202020204" pitchFamily="34" charset="0"/>
                <a:cs typeface="Arial" panose="020B0604020202020204" pitchFamily="34" charset="0"/>
              </a:rPr>
              <a:t>… rethinking the way PHC programmes are managed and accountability ensured</a:t>
            </a:r>
          </a:p>
        </p:txBody>
      </p:sp>
      <p:sp>
        <p:nvSpPr>
          <p:cNvPr id="27" name="Rectangle 2">
            <a:extLst>
              <a:ext uri="{FF2B5EF4-FFF2-40B4-BE49-F238E27FC236}">
                <a16:creationId xmlns:a16="http://schemas.microsoft.com/office/drawing/2014/main" id="{A757A0B4-B11E-4440-A03F-7E11205A6C21}"/>
              </a:ext>
            </a:extLst>
          </p:cNvPr>
          <p:cNvSpPr>
            <a:spLocks noChangeArrowheads="1"/>
          </p:cNvSpPr>
          <p:nvPr/>
        </p:nvSpPr>
        <p:spPr bwMode="auto">
          <a:xfrm>
            <a:off x="414822" y="1251914"/>
            <a:ext cx="5133815" cy="5105721"/>
          </a:xfrm>
          <a:prstGeom prst="rect">
            <a:avLst/>
          </a:prstGeom>
          <a:noFill/>
          <a:ln w="9525">
            <a:solidFill>
              <a:srgbClr val="006600"/>
            </a:solidFill>
            <a:miter lim="800000"/>
            <a:headEnd/>
            <a:tailEnd/>
          </a:ln>
        </p:spPr>
        <p:txBody>
          <a:bodyPr wrap="none" lIns="110757" tIns="55380" rIns="110757" bIns="55380" anchor="ctr"/>
          <a:lstStyle/>
          <a:p>
            <a:pPr defTabSz="911362"/>
            <a:endParaRPr lang="en-US">
              <a:solidFill>
                <a:srgbClr val="000000"/>
              </a:solidFill>
            </a:endParaRPr>
          </a:p>
        </p:txBody>
      </p:sp>
      <p:sp>
        <p:nvSpPr>
          <p:cNvPr id="28" name="Line 3">
            <a:extLst>
              <a:ext uri="{FF2B5EF4-FFF2-40B4-BE49-F238E27FC236}">
                <a16:creationId xmlns:a16="http://schemas.microsoft.com/office/drawing/2014/main" id="{8C7F3883-6613-4454-B651-EFFDAB0AB938}"/>
              </a:ext>
            </a:extLst>
          </p:cNvPr>
          <p:cNvSpPr>
            <a:spLocks noChangeShapeType="1"/>
          </p:cNvSpPr>
          <p:nvPr/>
        </p:nvSpPr>
        <p:spPr bwMode="auto">
          <a:xfrm>
            <a:off x="760275" y="1756072"/>
            <a:ext cx="4144633" cy="0"/>
          </a:xfrm>
          <a:prstGeom prst="line">
            <a:avLst/>
          </a:prstGeom>
          <a:noFill/>
          <a:ln w="9525">
            <a:solidFill>
              <a:srgbClr val="006600"/>
            </a:solidFill>
            <a:round/>
            <a:headEnd/>
            <a:tailEnd/>
          </a:ln>
        </p:spPr>
        <p:txBody>
          <a:bodyPr wrap="none" lIns="110757" tIns="55380" rIns="110757" bIns="55380" anchor="ctr"/>
          <a:lstStyle/>
          <a:p>
            <a:pPr defTabSz="911362"/>
            <a:endParaRPr lang="en-US">
              <a:solidFill>
                <a:srgbClr val="000000"/>
              </a:solidFill>
            </a:endParaRPr>
          </a:p>
        </p:txBody>
      </p:sp>
      <p:sp>
        <p:nvSpPr>
          <p:cNvPr id="29" name="Rectangle 6">
            <a:extLst>
              <a:ext uri="{FF2B5EF4-FFF2-40B4-BE49-F238E27FC236}">
                <a16:creationId xmlns:a16="http://schemas.microsoft.com/office/drawing/2014/main" id="{19A7FCC6-9DFE-433A-A7EB-39D61BA72E92}"/>
              </a:ext>
            </a:extLst>
          </p:cNvPr>
          <p:cNvSpPr>
            <a:spLocks noChangeArrowheads="1"/>
          </p:cNvSpPr>
          <p:nvPr/>
        </p:nvSpPr>
        <p:spPr bwMode="auto">
          <a:xfrm>
            <a:off x="2140646" y="1252223"/>
            <a:ext cx="1384423" cy="353943"/>
          </a:xfrm>
          <a:prstGeom prst="rect">
            <a:avLst/>
          </a:prstGeom>
          <a:noFill/>
          <a:ln w="9525">
            <a:noFill/>
            <a:miter lim="800000"/>
            <a:headEnd/>
            <a:tailEnd/>
          </a:ln>
        </p:spPr>
        <p:txBody>
          <a:bodyPr lIns="0" tIns="0" rIns="0" bIns="0">
            <a:spAutoFit/>
          </a:bodyPr>
          <a:lstStyle/>
          <a:p>
            <a:pPr marL="415339" indent="-415339" algn="ctr" defTabSz="1084493" eaLnBrk="0" hangingPunct="0">
              <a:buClr>
                <a:srgbClr val="002960"/>
              </a:buClr>
            </a:pPr>
            <a:r>
              <a:rPr lang="en-US" sz="2300" b="1" dirty="0">
                <a:solidFill>
                  <a:srgbClr val="000000"/>
                </a:solidFill>
              </a:rPr>
              <a:t>From </a:t>
            </a:r>
          </a:p>
        </p:txBody>
      </p:sp>
      <p:sp>
        <p:nvSpPr>
          <p:cNvPr id="30" name="Rectangle 7">
            <a:extLst>
              <a:ext uri="{FF2B5EF4-FFF2-40B4-BE49-F238E27FC236}">
                <a16:creationId xmlns:a16="http://schemas.microsoft.com/office/drawing/2014/main" id="{63D62500-C819-489D-9EFD-02DBF310E03F}"/>
              </a:ext>
            </a:extLst>
          </p:cNvPr>
          <p:cNvSpPr>
            <a:spLocks noChangeArrowheads="1"/>
          </p:cNvSpPr>
          <p:nvPr/>
        </p:nvSpPr>
        <p:spPr bwMode="auto">
          <a:xfrm>
            <a:off x="6391560" y="1251914"/>
            <a:ext cx="5318324" cy="5105721"/>
          </a:xfrm>
          <a:prstGeom prst="rect">
            <a:avLst/>
          </a:prstGeom>
          <a:solidFill>
            <a:srgbClr val="015F32"/>
          </a:solidFill>
          <a:ln w="9525">
            <a:noFill/>
            <a:miter lim="800000"/>
            <a:headEnd/>
            <a:tailEnd/>
          </a:ln>
        </p:spPr>
        <p:txBody>
          <a:bodyPr wrap="none" lIns="110757" tIns="55380" rIns="110757" bIns="55380" anchor="ctr"/>
          <a:lstStyle/>
          <a:p>
            <a:pPr defTabSz="911362"/>
            <a:endParaRPr lang="en-US">
              <a:solidFill>
                <a:srgbClr val="000000"/>
              </a:solidFill>
            </a:endParaRPr>
          </a:p>
        </p:txBody>
      </p:sp>
      <p:sp>
        <p:nvSpPr>
          <p:cNvPr id="31" name="AutoShape 8">
            <a:extLst>
              <a:ext uri="{FF2B5EF4-FFF2-40B4-BE49-F238E27FC236}">
                <a16:creationId xmlns:a16="http://schemas.microsoft.com/office/drawing/2014/main" id="{26F5C84A-DB5A-4486-934E-E2A4D378E61C}"/>
              </a:ext>
            </a:extLst>
          </p:cNvPr>
          <p:cNvSpPr>
            <a:spLocks noChangeArrowheads="1"/>
          </p:cNvSpPr>
          <p:nvPr/>
        </p:nvSpPr>
        <p:spPr bwMode="auto">
          <a:xfrm rot="5400000">
            <a:off x="3350583" y="3682455"/>
            <a:ext cx="5105740" cy="244639"/>
          </a:xfrm>
          <a:prstGeom prst="triangle">
            <a:avLst>
              <a:gd name="adj" fmla="val 50000"/>
            </a:avLst>
          </a:prstGeom>
          <a:solidFill>
            <a:srgbClr val="015F32"/>
          </a:solidFill>
          <a:ln w="12700" cap="rnd" algn="ctr">
            <a:noFill/>
            <a:miter lim="800000"/>
            <a:headEnd/>
            <a:tailEnd/>
          </a:ln>
        </p:spPr>
        <p:txBody>
          <a:bodyPr lIns="110757" tIns="55380" rIns="110757" bIns="55380"/>
          <a:lstStyle/>
          <a:p>
            <a:pPr defTabSz="911362"/>
            <a:endParaRPr lang="en-US">
              <a:solidFill>
                <a:srgbClr val="000000"/>
              </a:solidFill>
            </a:endParaRPr>
          </a:p>
        </p:txBody>
      </p:sp>
      <p:sp>
        <p:nvSpPr>
          <p:cNvPr id="33" name="Line 9">
            <a:extLst>
              <a:ext uri="{FF2B5EF4-FFF2-40B4-BE49-F238E27FC236}">
                <a16:creationId xmlns:a16="http://schemas.microsoft.com/office/drawing/2014/main" id="{32DEC241-6A82-4C55-8CE4-BDB46EE1051F}"/>
              </a:ext>
            </a:extLst>
          </p:cNvPr>
          <p:cNvSpPr>
            <a:spLocks noChangeShapeType="1"/>
          </p:cNvSpPr>
          <p:nvPr/>
        </p:nvSpPr>
        <p:spPr bwMode="auto">
          <a:xfrm>
            <a:off x="6998648" y="1756072"/>
            <a:ext cx="4202945" cy="0"/>
          </a:xfrm>
          <a:prstGeom prst="line">
            <a:avLst/>
          </a:prstGeom>
          <a:noFill/>
          <a:ln w="9525">
            <a:solidFill>
              <a:schemeClr val="bg2"/>
            </a:solidFill>
            <a:round/>
            <a:headEnd/>
            <a:tailEnd/>
          </a:ln>
        </p:spPr>
        <p:txBody>
          <a:bodyPr wrap="none" lIns="110757" tIns="55380" rIns="110757" bIns="55380" anchor="ctr"/>
          <a:lstStyle/>
          <a:p>
            <a:pPr defTabSz="911362"/>
            <a:endParaRPr lang="en-US">
              <a:solidFill>
                <a:srgbClr val="000000"/>
              </a:solidFill>
            </a:endParaRPr>
          </a:p>
        </p:txBody>
      </p:sp>
      <p:sp>
        <p:nvSpPr>
          <p:cNvPr id="55" name="Rectangle 10">
            <a:extLst>
              <a:ext uri="{FF2B5EF4-FFF2-40B4-BE49-F238E27FC236}">
                <a16:creationId xmlns:a16="http://schemas.microsoft.com/office/drawing/2014/main" id="{D5DBF6EA-4F96-4912-A459-C171C5124D23}"/>
              </a:ext>
            </a:extLst>
          </p:cNvPr>
          <p:cNvSpPr>
            <a:spLocks noChangeArrowheads="1"/>
          </p:cNvSpPr>
          <p:nvPr/>
        </p:nvSpPr>
        <p:spPr bwMode="auto">
          <a:xfrm>
            <a:off x="8397870" y="1252223"/>
            <a:ext cx="1403860" cy="353943"/>
          </a:xfrm>
          <a:prstGeom prst="rect">
            <a:avLst/>
          </a:prstGeom>
          <a:noFill/>
          <a:ln w="9525">
            <a:noFill/>
            <a:miter lim="800000"/>
            <a:headEnd/>
            <a:tailEnd/>
          </a:ln>
        </p:spPr>
        <p:txBody>
          <a:bodyPr lIns="0" tIns="0" rIns="0" bIns="0">
            <a:spAutoFit/>
          </a:bodyPr>
          <a:lstStyle/>
          <a:p>
            <a:pPr marL="415339" indent="-415339" algn="ctr" defTabSz="1084493" eaLnBrk="0" hangingPunct="0">
              <a:buClr>
                <a:srgbClr val="002960"/>
              </a:buClr>
            </a:pPr>
            <a:r>
              <a:rPr lang="en-US" sz="2300" b="1" dirty="0">
                <a:solidFill>
                  <a:srgbClr val="FFFFFF"/>
                </a:solidFill>
              </a:rPr>
              <a:t>To</a:t>
            </a:r>
          </a:p>
        </p:txBody>
      </p:sp>
      <p:sp>
        <p:nvSpPr>
          <p:cNvPr id="56" name="Rectangle 286">
            <a:extLst>
              <a:ext uri="{FF2B5EF4-FFF2-40B4-BE49-F238E27FC236}">
                <a16:creationId xmlns:a16="http://schemas.microsoft.com/office/drawing/2014/main" id="{DA21D5E4-4696-4FA4-89B2-F9100996A982}"/>
              </a:ext>
            </a:extLst>
          </p:cNvPr>
          <p:cNvSpPr>
            <a:spLocks noChangeArrowheads="1"/>
          </p:cNvSpPr>
          <p:nvPr/>
        </p:nvSpPr>
        <p:spPr bwMode="auto">
          <a:xfrm>
            <a:off x="558599" y="1863763"/>
            <a:ext cx="4716924" cy="3467616"/>
          </a:xfrm>
          <a:prstGeom prst="rect">
            <a:avLst/>
          </a:prstGeom>
          <a:noFill/>
          <a:ln w="9525">
            <a:noFill/>
            <a:miter lim="800000"/>
            <a:headEnd/>
            <a:tailEnd/>
          </a:ln>
        </p:spPr>
        <p:txBody>
          <a:bodyPr wrap="square" lIns="0" tIns="0" rIns="0" bIns="0">
            <a:spAutoFit/>
          </a:bodyPr>
          <a:lstStyle/>
          <a:p>
            <a:pPr marL="234579" lvl="1" indent="-232666" defTabSz="1084493">
              <a:spcBef>
                <a:spcPts val="2186"/>
              </a:spcBef>
              <a:buClr>
                <a:srgbClr val="000000"/>
              </a:buClr>
              <a:buSzPct val="125000"/>
              <a:buFont typeface="Times New Roman" pitchFamily="18" charset="0"/>
              <a:buChar char="▪"/>
            </a:pPr>
            <a:r>
              <a:rPr lang="en-GB" dirty="0">
                <a:solidFill>
                  <a:srgbClr val="000000"/>
                </a:solidFill>
              </a:rPr>
              <a:t>A </a:t>
            </a:r>
            <a:r>
              <a:rPr lang="en-GB" b="1" dirty="0">
                <a:solidFill>
                  <a:srgbClr val="000000"/>
                </a:solidFill>
              </a:rPr>
              <a:t>comprehensive</a:t>
            </a:r>
            <a:r>
              <a:rPr lang="en-GB" dirty="0">
                <a:solidFill>
                  <a:srgbClr val="000000"/>
                </a:solidFill>
              </a:rPr>
              <a:t> approach to addressing health issues</a:t>
            </a:r>
          </a:p>
          <a:p>
            <a:pPr marL="234579" lvl="1" indent="-232666" defTabSz="1084493">
              <a:spcBef>
                <a:spcPts val="2186"/>
              </a:spcBef>
              <a:buClr>
                <a:srgbClr val="000000"/>
              </a:buClr>
              <a:buSzPct val="125000"/>
              <a:buFont typeface="Times New Roman" pitchFamily="18" charset="0"/>
              <a:buChar char="▪"/>
            </a:pPr>
            <a:r>
              <a:rPr lang="en-GB" dirty="0">
                <a:solidFill>
                  <a:srgbClr val="000000"/>
                </a:solidFill>
              </a:rPr>
              <a:t>Focus on mostly </a:t>
            </a:r>
            <a:r>
              <a:rPr lang="en-GB" b="1" dirty="0">
                <a:solidFill>
                  <a:srgbClr val="000000"/>
                </a:solidFill>
              </a:rPr>
              <a:t>inputs</a:t>
            </a:r>
            <a:r>
              <a:rPr lang="en-GB" dirty="0">
                <a:solidFill>
                  <a:srgbClr val="000000"/>
                </a:solidFill>
              </a:rPr>
              <a:t> and processes</a:t>
            </a:r>
          </a:p>
          <a:p>
            <a:pPr marL="234579" lvl="1" indent="-232666" defTabSz="1084493">
              <a:spcBef>
                <a:spcPts val="2186"/>
              </a:spcBef>
              <a:buClr>
                <a:srgbClr val="000000"/>
              </a:buClr>
              <a:buSzPct val="125000"/>
              <a:buFont typeface="Times New Roman" pitchFamily="18" charset="0"/>
              <a:buChar char="▪"/>
            </a:pPr>
            <a:r>
              <a:rPr lang="en-GB" b="1" dirty="0">
                <a:solidFill>
                  <a:srgbClr val="000000"/>
                </a:solidFill>
              </a:rPr>
              <a:t>Public sector only </a:t>
            </a:r>
            <a:r>
              <a:rPr lang="en-GB" dirty="0">
                <a:solidFill>
                  <a:srgbClr val="000000"/>
                </a:solidFill>
              </a:rPr>
              <a:t>lens</a:t>
            </a:r>
          </a:p>
          <a:p>
            <a:pPr marL="234579" lvl="1" indent="-232666" defTabSz="1084493">
              <a:spcBef>
                <a:spcPts val="2186"/>
              </a:spcBef>
              <a:buClr>
                <a:srgbClr val="000000"/>
              </a:buClr>
              <a:buSzPct val="125000"/>
              <a:buFont typeface="Times New Roman" pitchFamily="18" charset="0"/>
              <a:buChar char="▪"/>
            </a:pPr>
            <a:r>
              <a:rPr lang="en-GB" b="1" dirty="0">
                <a:solidFill>
                  <a:srgbClr val="000000"/>
                </a:solidFill>
              </a:rPr>
              <a:t>Poor data </a:t>
            </a:r>
            <a:r>
              <a:rPr lang="en-GB" dirty="0">
                <a:solidFill>
                  <a:srgbClr val="000000"/>
                </a:solidFill>
              </a:rPr>
              <a:t>management, monitoring and evaluation</a:t>
            </a:r>
          </a:p>
          <a:p>
            <a:pPr marL="234579" lvl="1" indent="-232666" defTabSz="1084493">
              <a:spcBef>
                <a:spcPts val="2186"/>
              </a:spcBef>
              <a:buClr>
                <a:srgbClr val="000000"/>
              </a:buClr>
              <a:buSzPct val="125000"/>
              <a:buFont typeface="Times New Roman" pitchFamily="18" charset="0"/>
              <a:buChar char="▪"/>
            </a:pPr>
            <a:r>
              <a:rPr lang="en-GB" b="1" dirty="0">
                <a:solidFill>
                  <a:srgbClr val="000000"/>
                </a:solidFill>
              </a:rPr>
              <a:t>Fragmented</a:t>
            </a:r>
            <a:r>
              <a:rPr lang="en-GB" dirty="0">
                <a:solidFill>
                  <a:srgbClr val="000000"/>
                </a:solidFill>
              </a:rPr>
              <a:t> approach within Departments, Agencies and across Partners</a:t>
            </a:r>
          </a:p>
        </p:txBody>
      </p:sp>
      <p:sp>
        <p:nvSpPr>
          <p:cNvPr id="57" name="Rectangle 286">
            <a:extLst>
              <a:ext uri="{FF2B5EF4-FFF2-40B4-BE49-F238E27FC236}">
                <a16:creationId xmlns:a16="http://schemas.microsoft.com/office/drawing/2014/main" id="{30F572B6-C3ED-4950-B9E9-5B5B930EFB5A}"/>
              </a:ext>
            </a:extLst>
          </p:cNvPr>
          <p:cNvSpPr>
            <a:spLocks noChangeArrowheads="1"/>
          </p:cNvSpPr>
          <p:nvPr/>
        </p:nvSpPr>
        <p:spPr bwMode="auto">
          <a:xfrm>
            <a:off x="6600393" y="1852036"/>
            <a:ext cx="4876798" cy="3467616"/>
          </a:xfrm>
          <a:prstGeom prst="rect">
            <a:avLst/>
          </a:prstGeom>
          <a:noFill/>
          <a:ln w="9525">
            <a:noFill/>
            <a:miter lim="800000"/>
            <a:headEnd/>
            <a:tailEnd/>
          </a:ln>
        </p:spPr>
        <p:txBody>
          <a:bodyPr wrap="square" lIns="0" tIns="0" rIns="0" bIns="0">
            <a:spAutoFit/>
          </a:bodyPr>
          <a:lstStyle/>
          <a:p>
            <a:pPr marL="234579" lvl="1" indent="-232666" defTabSz="1084493">
              <a:spcBef>
                <a:spcPts val="2186"/>
              </a:spcBef>
              <a:buClr>
                <a:srgbClr val="FFFFFF"/>
              </a:buClr>
              <a:buSzPct val="100000"/>
              <a:buFont typeface="Times New Roman" pitchFamily="18" charset="0"/>
              <a:buChar char="▪"/>
            </a:pPr>
            <a:r>
              <a:rPr lang="en-GB" dirty="0">
                <a:solidFill>
                  <a:srgbClr val="FFFFFF"/>
                </a:solidFill>
              </a:rPr>
              <a:t>Ruthless </a:t>
            </a:r>
            <a:r>
              <a:rPr lang="en-GB" b="1" dirty="0">
                <a:solidFill>
                  <a:srgbClr val="FFFFFF"/>
                </a:solidFill>
              </a:rPr>
              <a:t>prioritisation</a:t>
            </a:r>
            <a:r>
              <a:rPr lang="en-GB" dirty="0">
                <a:solidFill>
                  <a:srgbClr val="FFFFFF"/>
                </a:solidFill>
              </a:rPr>
              <a:t> of high impact pragmatic interventions</a:t>
            </a:r>
          </a:p>
          <a:p>
            <a:pPr marL="234579" lvl="1" indent="-232666" defTabSz="1084493">
              <a:spcBef>
                <a:spcPts val="2186"/>
              </a:spcBef>
              <a:buClr>
                <a:srgbClr val="FFFFFF"/>
              </a:buClr>
              <a:buSzPct val="100000"/>
              <a:buFont typeface="Times New Roman" pitchFamily="18" charset="0"/>
              <a:buChar char="▪"/>
            </a:pPr>
            <a:r>
              <a:rPr lang="en-GB" dirty="0">
                <a:solidFill>
                  <a:srgbClr val="FFFFFF"/>
                </a:solidFill>
              </a:rPr>
              <a:t>Focus on system </a:t>
            </a:r>
            <a:r>
              <a:rPr lang="en-GB" b="1" dirty="0">
                <a:solidFill>
                  <a:srgbClr val="FFFFFF"/>
                </a:solidFill>
              </a:rPr>
              <a:t>outputs</a:t>
            </a:r>
            <a:r>
              <a:rPr lang="en-GB" dirty="0">
                <a:solidFill>
                  <a:srgbClr val="FFFFFF"/>
                </a:solidFill>
              </a:rPr>
              <a:t> and outcomes</a:t>
            </a:r>
          </a:p>
          <a:p>
            <a:pPr marL="234579" lvl="1" indent="-232666" defTabSz="1084493">
              <a:spcBef>
                <a:spcPts val="2186"/>
              </a:spcBef>
              <a:buClr>
                <a:srgbClr val="FFFFFF"/>
              </a:buClr>
              <a:buSzPct val="100000"/>
              <a:buFont typeface="Times New Roman" pitchFamily="18" charset="0"/>
              <a:buChar char="▪"/>
            </a:pPr>
            <a:r>
              <a:rPr lang="en-GB" b="1" dirty="0">
                <a:solidFill>
                  <a:srgbClr val="FFFFFF"/>
                </a:solidFill>
              </a:rPr>
              <a:t>Public and private sector </a:t>
            </a:r>
            <a:r>
              <a:rPr lang="en-GB" dirty="0">
                <a:solidFill>
                  <a:srgbClr val="FFFFFF"/>
                </a:solidFill>
              </a:rPr>
              <a:t>lens </a:t>
            </a:r>
          </a:p>
          <a:p>
            <a:pPr marL="234579" lvl="1" indent="-232666" defTabSz="1084493">
              <a:spcBef>
                <a:spcPts val="2186"/>
              </a:spcBef>
              <a:buClr>
                <a:srgbClr val="FFFFFF"/>
              </a:buClr>
              <a:buSzPct val="100000"/>
              <a:buFont typeface="Times New Roman" pitchFamily="18" charset="0"/>
              <a:buChar char="▪"/>
            </a:pPr>
            <a:r>
              <a:rPr lang="en-GB" b="1" dirty="0">
                <a:solidFill>
                  <a:srgbClr val="FFFFFF"/>
                </a:solidFill>
              </a:rPr>
              <a:t>Performance management and accountability </a:t>
            </a:r>
            <a:r>
              <a:rPr lang="en-GB" dirty="0">
                <a:solidFill>
                  <a:srgbClr val="FFFFFF"/>
                </a:solidFill>
              </a:rPr>
              <a:t>mechanisms </a:t>
            </a:r>
          </a:p>
          <a:p>
            <a:pPr marL="234579" lvl="1" indent="-232666" defTabSz="1084493">
              <a:spcBef>
                <a:spcPts val="2186"/>
              </a:spcBef>
              <a:buClr>
                <a:srgbClr val="FFFFFF"/>
              </a:buClr>
              <a:buSzPct val="100000"/>
              <a:buFont typeface="Times New Roman" pitchFamily="18" charset="0"/>
              <a:buChar char="▪"/>
            </a:pPr>
            <a:r>
              <a:rPr lang="en-GB" b="1" dirty="0">
                <a:solidFill>
                  <a:srgbClr val="FFFFFF"/>
                </a:solidFill>
              </a:rPr>
              <a:t>Cross cutting </a:t>
            </a:r>
            <a:r>
              <a:rPr lang="en-GB" dirty="0">
                <a:solidFill>
                  <a:srgbClr val="FFFFFF"/>
                </a:solidFill>
              </a:rPr>
              <a:t>and programmatic approach aligned under </a:t>
            </a:r>
            <a:r>
              <a:rPr lang="en-GB" b="1" dirty="0">
                <a:solidFill>
                  <a:srgbClr val="FFFFFF"/>
                </a:solidFill>
              </a:rPr>
              <a:t>one agenda</a:t>
            </a:r>
          </a:p>
        </p:txBody>
      </p:sp>
      <p:sp>
        <p:nvSpPr>
          <p:cNvPr id="2" name="Slide Number Placeholder 1"/>
          <p:cNvSpPr>
            <a:spLocks noGrp="1"/>
          </p:cNvSpPr>
          <p:nvPr>
            <p:ph type="sldNum" sz="quarter" idx="12"/>
          </p:nvPr>
        </p:nvSpPr>
        <p:spPr>
          <a:xfrm>
            <a:off x="9448799" y="6492900"/>
            <a:ext cx="2743201" cy="365125"/>
          </a:xfrm>
        </p:spPr>
        <p:txBody>
          <a:bodyPr/>
          <a:lstStyle/>
          <a:p>
            <a:fld id="{978E596B-AA80-4BB2-8707-B351070E738D}" type="slidenum">
              <a:rPr lang="en-US" sz="1600" b="1">
                <a:solidFill>
                  <a:schemeClr val="bg1"/>
                </a:solidFill>
              </a:rPr>
              <a:pPr/>
              <a:t>5</a:t>
            </a:fld>
            <a:endParaRPr lang="en-US" sz="1600" b="1" dirty="0">
              <a:solidFill>
                <a:schemeClr val="bg1"/>
              </a:solidFill>
            </a:endParaRPr>
          </a:p>
        </p:txBody>
      </p:sp>
    </p:spTree>
    <p:extLst>
      <p:ext uri="{BB962C8B-B14F-4D97-AF65-F5344CB8AC3E}">
        <p14:creationId xmlns:p14="http://schemas.microsoft.com/office/powerpoint/2010/main" val="2697675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2"/>
            </p:custDataLst>
          </p:nvPr>
        </p:nvGraphicFramePr>
        <p:xfrm>
          <a:off x="1592" y="1588"/>
          <a:ext cx="1588" cy="1588"/>
        </p:xfrm>
        <a:graphic>
          <a:graphicData uri="http://schemas.openxmlformats.org/presentationml/2006/ole">
            <mc:AlternateContent xmlns:mc="http://schemas.openxmlformats.org/markup-compatibility/2006">
              <mc:Choice xmlns:v="urn:schemas-microsoft-com:vml" Requires="v">
                <p:oleObj spid="_x0000_s622620" name="think-cell Slide" r:id="rId4" imgW="416" imgH="416" progId="TCLayout.ActiveDocument.1">
                  <p:embed/>
                </p:oleObj>
              </mc:Choice>
              <mc:Fallback>
                <p:oleObj name="think-cell Slide" r:id="rId4" imgW="416" imgH="416" progId="TCLayout.ActiveDocument.1">
                  <p:embed/>
                  <p:pic>
                    <p:nvPicPr>
                      <p:cNvPr id="5" name="Object 4" hidden="1">
                        <a:extLst>
                          <a:ext uri="{FF2B5EF4-FFF2-40B4-BE49-F238E27FC236}">
                            <a16:creationId xmlns:a16="http://schemas.microsoft.com/office/drawing/2014/main" id="{D3A62A60-D420-4F37-9136-6289E97C5533}"/>
                          </a:ext>
                        </a:extLst>
                      </p:cNvPr>
                      <p:cNvPicPr/>
                      <p:nvPr/>
                    </p:nvPicPr>
                    <p:blipFill>
                      <a:blip r:embed="rId5"/>
                      <a:stretch>
                        <a:fillRect/>
                      </a:stretch>
                    </p:blipFill>
                    <p:spPr>
                      <a:xfrm>
                        <a:off x="1592" y="1588"/>
                        <a:ext cx="1588" cy="1588"/>
                      </a:xfrm>
                      <a:prstGeom prst="rect">
                        <a:avLst/>
                      </a:prstGeom>
                    </p:spPr>
                  </p:pic>
                </p:oleObj>
              </mc:Fallback>
            </mc:AlternateContent>
          </a:graphicData>
        </a:graphic>
      </p:graphicFrame>
      <p:pic>
        <p:nvPicPr>
          <p:cNvPr id="619522" name="Picture 2" descr="Creative Agenda Slide Design with Table of Content and 4 Bullet Points">
            <a:extLst>
              <a:ext uri="{FF2B5EF4-FFF2-40B4-BE49-F238E27FC236}">
                <a16:creationId xmlns:a16="http://schemas.microsoft.com/office/drawing/2014/main" id="{7F9E5B74-43CE-41E0-87AC-28F3FA8197F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3331"/>
          <a:stretch/>
        </p:blipFill>
        <p:spPr bwMode="auto">
          <a:xfrm>
            <a:off x="813753" y="1062285"/>
            <a:ext cx="10437827" cy="5092558"/>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9FCE40F2-C3F0-436F-8CE4-CFA8ABCDE599}"/>
              </a:ext>
            </a:extLst>
          </p:cNvPr>
          <p:cNvSpPr>
            <a:spLocks noGrp="1"/>
          </p:cNvSpPr>
          <p:nvPr>
            <p:ph type="sldNum" sz="quarter" idx="12"/>
          </p:nvPr>
        </p:nvSpPr>
        <p:spPr>
          <a:xfrm>
            <a:off x="9448799" y="6492900"/>
            <a:ext cx="2743201" cy="365125"/>
          </a:xfrm>
        </p:spPr>
        <p:txBody>
          <a:bodyPr/>
          <a:lstStyle/>
          <a:p>
            <a:fld id="{978E596B-AA80-4BB2-8707-B351070E738D}" type="slidenum">
              <a:rPr lang="en-US" sz="1600" b="1">
                <a:solidFill>
                  <a:schemeClr val="bg1"/>
                </a:solidFill>
              </a:rPr>
              <a:pPr/>
              <a:t>6</a:t>
            </a:fld>
            <a:endParaRPr lang="en-US" sz="1600" b="1" dirty="0">
              <a:solidFill>
                <a:schemeClr val="bg1"/>
              </a:solidFill>
            </a:endParaRPr>
          </a:p>
        </p:txBody>
      </p:sp>
      <p:sp>
        <p:nvSpPr>
          <p:cNvPr id="7" name="Rectangle 6">
            <a:extLst>
              <a:ext uri="{FF2B5EF4-FFF2-40B4-BE49-F238E27FC236}">
                <a16:creationId xmlns:a16="http://schemas.microsoft.com/office/drawing/2014/main" id="{952E7759-E482-4D86-9D44-616B3D38C203}"/>
              </a:ext>
            </a:extLst>
          </p:cNvPr>
          <p:cNvSpPr/>
          <p:nvPr/>
        </p:nvSpPr>
        <p:spPr>
          <a:xfrm>
            <a:off x="5051506" y="1449388"/>
            <a:ext cx="5330283"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About the National Primary Health Care Development Agency (NPHCDA)</a:t>
            </a:r>
          </a:p>
        </p:txBody>
      </p:sp>
      <p:sp>
        <p:nvSpPr>
          <p:cNvPr id="9" name="Rectangle 8">
            <a:extLst>
              <a:ext uri="{FF2B5EF4-FFF2-40B4-BE49-F238E27FC236}">
                <a16:creationId xmlns:a16="http://schemas.microsoft.com/office/drawing/2014/main" id="{D25101E8-C702-40D2-9C84-C889D9E97D02}"/>
              </a:ext>
            </a:extLst>
          </p:cNvPr>
          <p:cNvSpPr/>
          <p:nvPr/>
        </p:nvSpPr>
        <p:spPr>
          <a:xfrm>
            <a:off x="5659245" y="2551074"/>
            <a:ext cx="4722547" cy="756000"/>
          </a:xfrm>
          <a:prstGeom prst="rect">
            <a:avLst/>
          </a:prstGeom>
          <a:gradFill flip="none" rotWithShape="1">
            <a:gsLst>
              <a:gs pos="0">
                <a:schemeClr val="bg1"/>
              </a:gs>
              <a:gs pos="100000">
                <a:srgbClr val="92D050"/>
              </a:gs>
            </a:gsLst>
            <a:lin ang="0" scaled="1"/>
            <a:tileRect/>
          </a:gradFill>
          <a:ln w="85725">
            <a:solidFill>
              <a:schemeClr val="accent5">
                <a:lumMod val="50000"/>
              </a:schemeClr>
            </a:solid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Universal Health Coverage</a:t>
            </a:r>
          </a:p>
        </p:txBody>
      </p:sp>
      <p:sp>
        <p:nvSpPr>
          <p:cNvPr id="10" name="Rectangle 9">
            <a:extLst>
              <a:ext uri="{FF2B5EF4-FFF2-40B4-BE49-F238E27FC236}">
                <a16:creationId xmlns:a16="http://schemas.microsoft.com/office/drawing/2014/main" id="{1E4E0AB2-2A60-4369-81FB-09241DC47918}"/>
              </a:ext>
            </a:extLst>
          </p:cNvPr>
          <p:cNvSpPr/>
          <p:nvPr/>
        </p:nvSpPr>
        <p:spPr>
          <a:xfrm>
            <a:off x="5659255" y="3706574"/>
            <a:ext cx="4722545"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NPHCDA’s Strategic Interventions </a:t>
            </a:r>
          </a:p>
        </p:txBody>
      </p:sp>
      <p:pic>
        <p:nvPicPr>
          <p:cNvPr id="11" name="Picture 10">
            <a:extLst>
              <a:ext uri="{FF2B5EF4-FFF2-40B4-BE49-F238E27FC236}">
                <a16:creationId xmlns:a16="http://schemas.microsoft.com/office/drawing/2014/main" id="{51D0F064-E484-4886-B327-01A0E919B1D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61542" y="2357209"/>
            <a:ext cx="2219097" cy="2259581"/>
          </a:xfrm>
          <a:prstGeom prst="ellipse">
            <a:avLst/>
          </a:prstGeom>
          <a:ln w="63500" cap="rnd">
            <a:solidFill>
              <a:schemeClr val="accent5">
                <a:lumMod val="5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a:extLst>
              <a:ext uri="{FF2B5EF4-FFF2-40B4-BE49-F238E27FC236}">
                <a16:creationId xmlns:a16="http://schemas.microsoft.com/office/drawing/2014/main" id="{128DA7BB-8154-4530-8E70-7B02B86110C1}"/>
              </a:ext>
            </a:extLst>
          </p:cNvPr>
          <p:cNvSpPr/>
          <p:nvPr/>
        </p:nvSpPr>
        <p:spPr>
          <a:xfrm>
            <a:off x="1029641" y="159772"/>
            <a:ext cx="10109897" cy="586500"/>
          </a:xfrm>
          <a:prstGeom prst="rect">
            <a:avLst/>
          </a:prstGeom>
        </p:spPr>
        <p:txBody>
          <a:bodyPr wrap="square" lIns="93146" tIns="46574" rIns="93146" bIns="46574">
            <a:spAutoFit/>
          </a:bodyPr>
          <a:lstStyle/>
          <a:p>
            <a:pPr algn="just" defTabSz="912072" fontAlgn="base">
              <a:spcBef>
                <a:spcPct val="0"/>
              </a:spcBef>
              <a:spcAft>
                <a:spcPct val="0"/>
              </a:spcAft>
              <a:tabLst>
                <a:tab pos="274916" algn="l"/>
              </a:tabLst>
            </a:pPr>
            <a:r>
              <a:rPr lang="en-US" sz="3200" b="1" dirty="0">
                <a:solidFill>
                  <a:srgbClr val="70AD47">
                    <a:lumMod val="50000"/>
                  </a:srgbClr>
                </a:solidFill>
                <a:latin typeface="Arial" panose="020B0604020202020204" pitchFamily="34" charset="0"/>
                <a:cs typeface="Arial" panose="020B0604020202020204" pitchFamily="34" charset="0"/>
              </a:rPr>
              <a:t>Outline</a:t>
            </a:r>
          </a:p>
        </p:txBody>
      </p:sp>
      <p:sp>
        <p:nvSpPr>
          <p:cNvPr id="13" name="Rectangle 12">
            <a:extLst>
              <a:ext uri="{FF2B5EF4-FFF2-40B4-BE49-F238E27FC236}">
                <a16:creationId xmlns:a16="http://schemas.microsoft.com/office/drawing/2014/main" id="{525402E0-D67E-4973-9A30-5B11D6FD973C}"/>
              </a:ext>
            </a:extLst>
          </p:cNvPr>
          <p:cNvSpPr/>
          <p:nvPr/>
        </p:nvSpPr>
        <p:spPr>
          <a:xfrm>
            <a:off x="5051506" y="4829316"/>
            <a:ext cx="5330283" cy="756000"/>
          </a:xfrm>
          <a:prstGeom prst="rect">
            <a:avLst/>
          </a:prstGeom>
          <a:gradFill flip="none" rotWithShape="1">
            <a:gsLst>
              <a:gs pos="0">
                <a:schemeClr val="bg1"/>
              </a:gs>
              <a:gs pos="100000">
                <a:srgbClr val="92D050"/>
              </a:gs>
            </a:gsLst>
            <a:lin ang="0" scaled="1"/>
            <a:tileRect/>
          </a:gradFill>
          <a:ln>
            <a:noFill/>
          </a:ln>
        </p:spPr>
        <p:txBody>
          <a:bodyPr wrap="square" lIns="91401" tIns="45702" rIns="91401" bIns="45702" anchor="ctr" anchorCtr="0">
            <a:noAutofit/>
          </a:bodyPr>
          <a:lstStyle/>
          <a:p>
            <a:pPr marL="177724"/>
            <a:r>
              <a:rPr lang="en-GB" b="1" dirty="0">
                <a:latin typeface="Arial" panose="020B0604020202020204" pitchFamily="34" charset="0"/>
                <a:cs typeface="Arial" panose="020B0604020202020204" pitchFamily="34" charset="0"/>
              </a:rPr>
              <a:t>Prayers to the Executive Governors</a:t>
            </a:r>
          </a:p>
        </p:txBody>
      </p:sp>
    </p:spTree>
    <p:extLst>
      <p:ext uri="{BB962C8B-B14F-4D97-AF65-F5344CB8AC3E}">
        <p14:creationId xmlns:p14="http://schemas.microsoft.com/office/powerpoint/2010/main" val="4290942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AEEA68-CF75-4C09-8122-1A0D0B93AC7D}"/>
              </a:ext>
            </a:extLst>
          </p:cNvPr>
          <p:cNvGraphicFramePr>
            <a:graphicFrameLocks noChangeAspect="1"/>
          </p:cNvGraphicFramePr>
          <p:nvPr>
            <p:custDataLst>
              <p:tags r:id="rId2"/>
            </p:custDataLst>
            <p:extLst>
              <p:ext uri="{D42A27DB-BD31-4B8C-83A1-F6EECF244321}">
                <p14:modId xmlns:p14="http://schemas.microsoft.com/office/powerpoint/2010/main" val="2138451622"/>
              </p:ext>
            </p:extLst>
          </p:nvPr>
        </p:nvGraphicFramePr>
        <p:xfrm>
          <a:off x="1525591" y="1588"/>
          <a:ext cx="1588" cy="1588"/>
        </p:xfrm>
        <a:graphic>
          <a:graphicData uri="http://schemas.openxmlformats.org/presentationml/2006/ole">
            <mc:AlternateContent xmlns:mc="http://schemas.openxmlformats.org/markup-compatibility/2006">
              <mc:Choice xmlns:v="urn:schemas-microsoft-com:vml" Requires="v">
                <p:oleObj spid="_x0000_s593954" name="think-cell Slide" r:id="rId34" imgW="416" imgH="416" progId="TCLayout.ActiveDocument.1">
                  <p:embed/>
                </p:oleObj>
              </mc:Choice>
              <mc:Fallback>
                <p:oleObj name="think-cell Slide" r:id="rId34" imgW="416" imgH="416" progId="TCLayout.ActiveDocument.1">
                  <p:embed/>
                  <p:pic>
                    <p:nvPicPr>
                      <p:cNvPr id="6" name="Object 5" hidden="1">
                        <a:extLst>
                          <a:ext uri="{FF2B5EF4-FFF2-40B4-BE49-F238E27FC236}">
                            <a16:creationId xmlns:a16="http://schemas.microsoft.com/office/drawing/2014/main" id="{2CAEEA68-CF75-4C09-8122-1A0D0B93AC7D}"/>
                          </a:ext>
                        </a:extLst>
                      </p:cNvPr>
                      <p:cNvPicPr/>
                      <p:nvPr/>
                    </p:nvPicPr>
                    <p:blipFill>
                      <a:blip r:embed="rId35"/>
                      <a:stretch>
                        <a:fillRect/>
                      </a:stretch>
                    </p:blipFill>
                    <p:spPr>
                      <a:xfrm>
                        <a:off x="1525591"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7CEDC8-2451-4D78-ADA4-4D6573797D7B}"/>
              </a:ext>
            </a:extLst>
          </p:cNvPr>
          <p:cNvSpPr/>
          <p:nvPr>
            <p:custDataLst>
              <p:tags r:id="rId3"/>
            </p:custDataLst>
          </p:nvPr>
        </p:nvSpPr>
        <p:spPr>
          <a:xfrm>
            <a:off x="1524014"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013">
              <a:lnSpc>
                <a:spcPct val="90000"/>
              </a:lnSpc>
              <a:spcBef>
                <a:spcPct val="0"/>
              </a:spcBef>
              <a:spcAft>
                <a:spcPct val="0"/>
              </a:spcAft>
              <a:defRPr/>
            </a:pPr>
            <a:endParaRPr lang="en-US" sz="2400" b="1" dirty="0">
              <a:solidFill>
                <a:prstClr val="white"/>
              </a:solidFill>
              <a:latin typeface="Calibri Light" panose="020F0302020204030204" pitchFamily="34" charset="0"/>
              <a:sym typeface="Calibri Light" panose="020F0302020204030204" pitchFamily="34" charset="0"/>
            </a:endParaRPr>
          </a:p>
        </p:txBody>
      </p:sp>
      <p:sp>
        <p:nvSpPr>
          <p:cNvPr id="3" name="Slide Number Placeholder 2">
            <a:extLst>
              <a:ext uri="{FF2B5EF4-FFF2-40B4-BE49-F238E27FC236}">
                <a16:creationId xmlns:a16="http://schemas.microsoft.com/office/drawing/2014/main" id="{81ABAAF6-A14A-432F-9B50-1877408711FA}"/>
              </a:ext>
            </a:extLst>
          </p:cNvPr>
          <p:cNvSpPr>
            <a:spLocks noGrp="1"/>
          </p:cNvSpPr>
          <p:nvPr>
            <p:ph type="sldNum" sz="quarter" idx="12"/>
          </p:nvPr>
        </p:nvSpPr>
        <p:spPr>
          <a:xfrm>
            <a:off x="9315812" y="6469641"/>
            <a:ext cx="2743201" cy="365125"/>
          </a:xfrm>
        </p:spPr>
        <p:txBody>
          <a:bodyPr/>
          <a:lstStyle/>
          <a:p>
            <a:pPr defTabSz="914013">
              <a:defRPr/>
            </a:pPr>
            <a:fld id="{978E596B-AA80-4BB2-8707-B351070E738D}" type="slidenum">
              <a:rPr lang="en-US" sz="1600" b="1">
                <a:solidFill>
                  <a:schemeClr val="bg1"/>
                </a:solidFill>
                <a:latin typeface="Calibri" panose="020F0502020204030204"/>
              </a:rPr>
              <a:pPr defTabSz="914013">
                <a:defRPr/>
              </a:pPr>
              <a:t>7</a:t>
            </a:fld>
            <a:endParaRPr lang="en-US" sz="1600" b="1" dirty="0">
              <a:solidFill>
                <a:schemeClr val="bg1"/>
              </a:solidFill>
              <a:latin typeface="Calibri" panose="020F0502020204030204"/>
            </a:endParaRPr>
          </a:p>
        </p:txBody>
      </p:sp>
      <p:sp>
        <p:nvSpPr>
          <p:cNvPr id="2" name="TextBox 1">
            <a:extLst>
              <a:ext uri="{FF2B5EF4-FFF2-40B4-BE49-F238E27FC236}">
                <a16:creationId xmlns:a16="http://schemas.microsoft.com/office/drawing/2014/main" id="{C2695409-1DFD-4EFF-8CBC-3D544F516D64}"/>
              </a:ext>
            </a:extLst>
          </p:cNvPr>
          <p:cNvSpPr txBox="1"/>
          <p:nvPr/>
        </p:nvSpPr>
        <p:spPr>
          <a:xfrm>
            <a:off x="7716" y="6472011"/>
            <a:ext cx="2602080" cy="261574"/>
          </a:xfrm>
          <a:prstGeom prst="rect">
            <a:avLst/>
          </a:prstGeom>
          <a:noFill/>
        </p:spPr>
        <p:txBody>
          <a:bodyPr wrap="square" lIns="91401" tIns="45702" rIns="91401" bIns="45702" rtlCol="0">
            <a:spAutoFit/>
          </a:bodyPr>
          <a:lstStyle/>
          <a:p>
            <a:pPr defTabSz="914013">
              <a:defRPr/>
            </a:pPr>
            <a:r>
              <a:rPr lang="en-US" sz="1100" dirty="0">
                <a:solidFill>
                  <a:schemeClr val="bg1"/>
                </a:solidFill>
                <a:latin typeface="Calibri" panose="020F0502020204030204"/>
              </a:rPr>
              <a:t>Source: NDHS 2013, MICS 2016</a:t>
            </a:r>
            <a:endParaRPr lang="x-none" sz="1100" dirty="0">
              <a:solidFill>
                <a:schemeClr val="bg1"/>
              </a:solidFill>
              <a:latin typeface="Calibri" panose="020F0502020204030204"/>
            </a:endParaRPr>
          </a:p>
        </p:txBody>
      </p:sp>
      <p:sp>
        <p:nvSpPr>
          <p:cNvPr id="14" name="Slide Number Placeholder 3">
            <a:extLst>
              <a:ext uri="{FF2B5EF4-FFF2-40B4-BE49-F238E27FC236}">
                <a16:creationId xmlns:a16="http://schemas.microsoft.com/office/drawing/2014/main" id="{D5E2C97E-CE5F-4626-93A5-9F969DA8C9E4}"/>
              </a:ext>
            </a:extLst>
          </p:cNvPr>
          <p:cNvSpPr txBox="1">
            <a:spLocks noGrp="1"/>
          </p:cNvSpPr>
          <p:nvPr/>
        </p:nvSpPr>
        <p:spPr bwMode="auto">
          <a:xfrm>
            <a:off x="7891507" y="3767922"/>
            <a:ext cx="199228" cy="116645"/>
          </a:xfrm>
          <a:prstGeom prst="rect">
            <a:avLst/>
          </a:prstGeom>
          <a:noFill/>
          <a:ln>
            <a:miter lim="800000"/>
            <a:headEnd/>
            <a:tailEnd/>
          </a:ln>
        </p:spPr>
        <p:txBody>
          <a:bodyPr wrap="none" lIns="0" tIns="0" rIns="0" bIns="0"/>
          <a:lstStyle/>
          <a:p>
            <a:pPr defTabSz="683786" fontAlgn="base">
              <a:spcBef>
                <a:spcPct val="0"/>
              </a:spcBef>
              <a:spcAft>
                <a:spcPct val="0"/>
              </a:spcAft>
              <a:defRPr/>
            </a:pPr>
            <a:endParaRPr lang="en-GB" sz="900" dirty="0">
              <a:solidFill>
                <a:srgbClr val="000000"/>
              </a:solidFill>
              <a:latin typeface="Calibri" panose="020F0502020204030204"/>
            </a:endParaRPr>
          </a:p>
        </p:txBody>
      </p:sp>
      <p:sp>
        <p:nvSpPr>
          <p:cNvPr id="16" name="Rectangle 4">
            <a:extLst>
              <a:ext uri="{FF2B5EF4-FFF2-40B4-BE49-F238E27FC236}">
                <a16:creationId xmlns:a16="http://schemas.microsoft.com/office/drawing/2014/main" id="{E3436438-583D-43DF-8561-F35E9EFB78ED}"/>
              </a:ext>
            </a:extLst>
          </p:cNvPr>
          <p:cNvSpPr>
            <a:spLocks noChangeArrowheads="1"/>
          </p:cNvSpPr>
          <p:nvPr>
            <p:custDataLst>
              <p:tags r:id="rId4"/>
            </p:custDataLst>
          </p:nvPr>
        </p:nvSpPr>
        <p:spPr bwMode="gray">
          <a:xfrm>
            <a:off x="7819432" y="2516356"/>
            <a:ext cx="4313380" cy="1304968"/>
          </a:xfrm>
          <a:prstGeom prst="rect">
            <a:avLst/>
          </a:prstGeom>
          <a:solidFill>
            <a:schemeClr val="bg1"/>
          </a:solidFill>
          <a:ln w="19050">
            <a:solidFill>
              <a:srgbClr val="006600"/>
            </a:solidFill>
            <a:miter lim="800000"/>
            <a:headEnd/>
            <a:tailEnd/>
          </a:ln>
        </p:spPr>
        <p:txBody>
          <a:bodyPr wrap="none" lIns="83053" tIns="41530" rIns="83053" bIns="41530"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grpSp>
        <p:nvGrpSpPr>
          <p:cNvPr id="9" name="Group 8">
            <a:extLst>
              <a:ext uri="{FF2B5EF4-FFF2-40B4-BE49-F238E27FC236}">
                <a16:creationId xmlns:a16="http://schemas.microsoft.com/office/drawing/2014/main" id="{315EA0A4-6FC3-4FC6-B48E-AC39F5B77EE8}"/>
              </a:ext>
            </a:extLst>
          </p:cNvPr>
          <p:cNvGrpSpPr/>
          <p:nvPr/>
        </p:nvGrpSpPr>
        <p:grpSpPr>
          <a:xfrm>
            <a:off x="92551" y="2494530"/>
            <a:ext cx="4313380" cy="1351139"/>
            <a:chOff x="7738244" y="2473974"/>
            <a:chExt cx="4313380" cy="1351139"/>
          </a:xfrm>
        </p:grpSpPr>
        <p:sp>
          <p:nvSpPr>
            <p:cNvPr id="22" name="Rectangle 6">
              <a:extLst>
                <a:ext uri="{FF2B5EF4-FFF2-40B4-BE49-F238E27FC236}">
                  <a16:creationId xmlns:a16="http://schemas.microsoft.com/office/drawing/2014/main" id="{CC43C131-5B37-4190-9671-332D8BFBA933}"/>
                </a:ext>
              </a:extLst>
            </p:cNvPr>
            <p:cNvSpPr>
              <a:spLocks noChangeArrowheads="1"/>
            </p:cNvSpPr>
            <p:nvPr>
              <p:custDataLst>
                <p:tags r:id="rId31"/>
              </p:custDataLst>
            </p:nvPr>
          </p:nvSpPr>
          <p:spPr bwMode="gray">
            <a:xfrm flipV="1">
              <a:off x="7738244" y="3757070"/>
              <a:ext cx="4313380" cy="68043"/>
            </a:xfrm>
            <a:prstGeom prst="rect">
              <a:avLst/>
            </a:prstGeom>
            <a:solidFill>
              <a:schemeClr val="bg1"/>
            </a:solidFill>
            <a:ln w="9525">
              <a:no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sp>
          <p:nvSpPr>
            <p:cNvPr id="23" name="Rectangle 7">
              <a:extLst>
                <a:ext uri="{FF2B5EF4-FFF2-40B4-BE49-F238E27FC236}">
                  <a16:creationId xmlns:a16="http://schemas.microsoft.com/office/drawing/2014/main" id="{F8F7E3BC-16C4-46D8-AA96-B735DA5B8CDD}"/>
                </a:ext>
              </a:extLst>
            </p:cNvPr>
            <p:cNvSpPr>
              <a:spLocks noChangeArrowheads="1"/>
            </p:cNvSpPr>
            <p:nvPr>
              <p:custDataLst>
                <p:tags r:id="rId32"/>
              </p:custDataLst>
            </p:nvPr>
          </p:nvSpPr>
          <p:spPr bwMode="gray">
            <a:xfrm>
              <a:off x="7738244" y="2473974"/>
              <a:ext cx="4313380" cy="1304967"/>
            </a:xfrm>
            <a:prstGeom prst="rect">
              <a:avLst/>
            </a:prstGeom>
            <a:solidFill>
              <a:schemeClr val="bg1"/>
            </a:solidFill>
            <a:ln w="19050">
              <a:solidFill>
                <a:srgbClr val="006600"/>
              </a:solid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grpSp>
      <p:grpSp>
        <p:nvGrpSpPr>
          <p:cNvPr id="24" name="Group 8">
            <a:extLst>
              <a:ext uri="{FF2B5EF4-FFF2-40B4-BE49-F238E27FC236}">
                <a16:creationId xmlns:a16="http://schemas.microsoft.com/office/drawing/2014/main" id="{7B81BE21-80CA-40A7-8683-0A1EF37D2E3B}"/>
              </a:ext>
            </a:extLst>
          </p:cNvPr>
          <p:cNvGrpSpPr>
            <a:grpSpLocks/>
          </p:cNvGrpSpPr>
          <p:nvPr/>
        </p:nvGrpSpPr>
        <p:grpSpPr bwMode="auto">
          <a:xfrm>
            <a:off x="7811080" y="3877618"/>
            <a:ext cx="4313380" cy="1358430"/>
            <a:chOff x="109" y="1710"/>
            <a:chExt cx="2663" cy="1118"/>
          </a:xfrm>
          <a:solidFill>
            <a:schemeClr val="bg1"/>
          </a:solidFill>
        </p:grpSpPr>
        <p:sp>
          <p:nvSpPr>
            <p:cNvPr id="25" name="Rectangle 9">
              <a:extLst>
                <a:ext uri="{FF2B5EF4-FFF2-40B4-BE49-F238E27FC236}">
                  <a16:creationId xmlns:a16="http://schemas.microsoft.com/office/drawing/2014/main" id="{12F997E0-744C-434A-AE54-974A6BAC4685}"/>
                </a:ext>
              </a:extLst>
            </p:cNvPr>
            <p:cNvSpPr>
              <a:spLocks noChangeArrowheads="1"/>
            </p:cNvSpPr>
            <p:nvPr>
              <p:custDataLst>
                <p:tags r:id="rId29"/>
              </p:custDataLst>
            </p:nvPr>
          </p:nvSpPr>
          <p:spPr bwMode="gray">
            <a:xfrm flipV="1">
              <a:off x="109" y="2772"/>
              <a:ext cx="2663" cy="56"/>
            </a:xfrm>
            <a:prstGeom prst="rect">
              <a:avLst/>
            </a:prstGeom>
            <a:grpFill/>
            <a:ln w="9525">
              <a:no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sp>
          <p:nvSpPr>
            <p:cNvPr id="26" name="Rectangle 10">
              <a:extLst>
                <a:ext uri="{FF2B5EF4-FFF2-40B4-BE49-F238E27FC236}">
                  <a16:creationId xmlns:a16="http://schemas.microsoft.com/office/drawing/2014/main" id="{7000BDDB-88E1-4990-ABC6-75CD90202104}"/>
                </a:ext>
              </a:extLst>
            </p:cNvPr>
            <p:cNvSpPr>
              <a:spLocks noChangeArrowheads="1"/>
            </p:cNvSpPr>
            <p:nvPr>
              <p:custDataLst>
                <p:tags r:id="rId30"/>
              </p:custDataLst>
            </p:nvPr>
          </p:nvSpPr>
          <p:spPr bwMode="gray">
            <a:xfrm>
              <a:off x="109" y="1710"/>
              <a:ext cx="2663" cy="1074"/>
            </a:xfrm>
            <a:prstGeom prst="rect">
              <a:avLst/>
            </a:prstGeom>
            <a:grpFill/>
            <a:ln w="19050">
              <a:solidFill>
                <a:srgbClr val="006600"/>
              </a:solid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grpSp>
      <p:grpSp>
        <p:nvGrpSpPr>
          <p:cNvPr id="8" name="Group 7">
            <a:extLst>
              <a:ext uri="{FF2B5EF4-FFF2-40B4-BE49-F238E27FC236}">
                <a16:creationId xmlns:a16="http://schemas.microsoft.com/office/drawing/2014/main" id="{FF790E7F-80DC-457E-AA65-C6A553D52E2E}"/>
              </a:ext>
            </a:extLst>
          </p:cNvPr>
          <p:cNvGrpSpPr/>
          <p:nvPr/>
        </p:nvGrpSpPr>
        <p:grpSpPr>
          <a:xfrm>
            <a:off x="81648" y="3861150"/>
            <a:ext cx="4313380" cy="1358430"/>
            <a:chOff x="7727342" y="3840616"/>
            <a:chExt cx="4313380" cy="1358430"/>
          </a:xfrm>
        </p:grpSpPr>
        <p:sp>
          <p:nvSpPr>
            <p:cNvPr id="28" name="Rectangle 12">
              <a:extLst>
                <a:ext uri="{FF2B5EF4-FFF2-40B4-BE49-F238E27FC236}">
                  <a16:creationId xmlns:a16="http://schemas.microsoft.com/office/drawing/2014/main" id="{36038982-5C2F-40B6-B49D-4A7775FC4A20}"/>
                </a:ext>
              </a:extLst>
            </p:cNvPr>
            <p:cNvSpPr>
              <a:spLocks noChangeArrowheads="1"/>
            </p:cNvSpPr>
            <p:nvPr>
              <p:custDataLst>
                <p:tags r:id="rId27"/>
              </p:custDataLst>
            </p:nvPr>
          </p:nvSpPr>
          <p:spPr bwMode="gray">
            <a:xfrm flipV="1">
              <a:off x="7727342" y="5131003"/>
              <a:ext cx="4313380" cy="68043"/>
            </a:xfrm>
            <a:prstGeom prst="rect">
              <a:avLst/>
            </a:prstGeom>
            <a:solidFill>
              <a:schemeClr val="bg1"/>
            </a:solidFill>
            <a:ln w="9525">
              <a:no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sp>
          <p:nvSpPr>
            <p:cNvPr id="29" name="Rectangle 13">
              <a:extLst>
                <a:ext uri="{FF2B5EF4-FFF2-40B4-BE49-F238E27FC236}">
                  <a16:creationId xmlns:a16="http://schemas.microsoft.com/office/drawing/2014/main" id="{9271F3CF-27D4-4A1E-B30D-5706E3C1D795}"/>
                </a:ext>
              </a:extLst>
            </p:cNvPr>
            <p:cNvSpPr>
              <a:spLocks noChangeArrowheads="1"/>
            </p:cNvSpPr>
            <p:nvPr>
              <p:custDataLst>
                <p:tags r:id="rId28"/>
              </p:custDataLst>
            </p:nvPr>
          </p:nvSpPr>
          <p:spPr bwMode="gray">
            <a:xfrm>
              <a:off x="7727342" y="3840616"/>
              <a:ext cx="4313380" cy="1304968"/>
            </a:xfrm>
            <a:prstGeom prst="rect">
              <a:avLst/>
            </a:prstGeom>
            <a:solidFill>
              <a:schemeClr val="bg1"/>
            </a:solidFill>
            <a:ln w="19050">
              <a:solidFill>
                <a:srgbClr val="006600"/>
              </a:solid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grpSp>
      <p:grpSp>
        <p:nvGrpSpPr>
          <p:cNvPr id="30" name="Group 14">
            <a:extLst>
              <a:ext uri="{FF2B5EF4-FFF2-40B4-BE49-F238E27FC236}">
                <a16:creationId xmlns:a16="http://schemas.microsoft.com/office/drawing/2014/main" id="{E150BD7B-2B42-4E9E-B670-B2B3B2F830D7}"/>
              </a:ext>
            </a:extLst>
          </p:cNvPr>
          <p:cNvGrpSpPr>
            <a:grpSpLocks/>
          </p:cNvGrpSpPr>
          <p:nvPr/>
        </p:nvGrpSpPr>
        <p:grpSpPr bwMode="auto">
          <a:xfrm>
            <a:off x="7795864" y="5233001"/>
            <a:ext cx="4313380" cy="1170480"/>
            <a:chOff x="109" y="2844"/>
            <a:chExt cx="2663" cy="1118"/>
          </a:xfrm>
          <a:solidFill>
            <a:schemeClr val="bg1"/>
          </a:solidFill>
        </p:grpSpPr>
        <p:sp>
          <p:nvSpPr>
            <p:cNvPr id="31" name="Rectangle 15">
              <a:extLst>
                <a:ext uri="{FF2B5EF4-FFF2-40B4-BE49-F238E27FC236}">
                  <a16:creationId xmlns:a16="http://schemas.microsoft.com/office/drawing/2014/main" id="{2896EA8F-3FBD-4C8C-851E-915581D60E80}"/>
                </a:ext>
              </a:extLst>
            </p:cNvPr>
            <p:cNvSpPr>
              <a:spLocks noChangeArrowheads="1"/>
            </p:cNvSpPr>
            <p:nvPr>
              <p:custDataLst>
                <p:tags r:id="rId25"/>
              </p:custDataLst>
            </p:nvPr>
          </p:nvSpPr>
          <p:spPr bwMode="gray">
            <a:xfrm flipV="1">
              <a:off x="109" y="3906"/>
              <a:ext cx="2663" cy="56"/>
            </a:xfrm>
            <a:prstGeom prst="rect">
              <a:avLst/>
            </a:prstGeom>
            <a:grpFill/>
            <a:ln w="9525">
              <a:no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sp>
          <p:nvSpPr>
            <p:cNvPr id="32" name="Rectangle 16">
              <a:extLst>
                <a:ext uri="{FF2B5EF4-FFF2-40B4-BE49-F238E27FC236}">
                  <a16:creationId xmlns:a16="http://schemas.microsoft.com/office/drawing/2014/main" id="{9F0E7332-D264-4CA3-A7D3-9A35DB55595E}"/>
                </a:ext>
              </a:extLst>
            </p:cNvPr>
            <p:cNvSpPr>
              <a:spLocks noChangeArrowheads="1"/>
            </p:cNvSpPr>
            <p:nvPr>
              <p:custDataLst>
                <p:tags r:id="rId26"/>
              </p:custDataLst>
            </p:nvPr>
          </p:nvSpPr>
          <p:spPr bwMode="gray">
            <a:xfrm>
              <a:off x="109" y="2844"/>
              <a:ext cx="2663" cy="1074"/>
            </a:xfrm>
            <a:prstGeom prst="rect">
              <a:avLst/>
            </a:prstGeom>
            <a:grpFill/>
            <a:ln w="19050">
              <a:solidFill>
                <a:srgbClr val="006600"/>
              </a:solid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grpSp>
      <p:grpSp>
        <p:nvGrpSpPr>
          <p:cNvPr id="5" name="Group 4">
            <a:extLst>
              <a:ext uri="{FF2B5EF4-FFF2-40B4-BE49-F238E27FC236}">
                <a16:creationId xmlns:a16="http://schemas.microsoft.com/office/drawing/2014/main" id="{D31349A0-095E-43FA-89B0-65E0AABBDCB0}"/>
              </a:ext>
            </a:extLst>
          </p:cNvPr>
          <p:cNvGrpSpPr/>
          <p:nvPr/>
        </p:nvGrpSpPr>
        <p:grpSpPr>
          <a:xfrm>
            <a:off x="91910" y="5233026"/>
            <a:ext cx="4292861" cy="1157055"/>
            <a:chOff x="7737601" y="5212470"/>
            <a:chExt cx="4292861" cy="1157055"/>
          </a:xfrm>
        </p:grpSpPr>
        <p:sp>
          <p:nvSpPr>
            <p:cNvPr id="34" name="Rectangle 18">
              <a:extLst>
                <a:ext uri="{FF2B5EF4-FFF2-40B4-BE49-F238E27FC236}">
                  <a16:creationId xmlns:a16="http://schemas.microsoft.com/office/drawing/2014/main" id="{3247E79A-1D61-4FAE-A921-882F0886C79E}"/>
                </a:ext>
              </a:extLst>
            </p:cNvPr>
            <p:cNvSpPr>
              <a:spLocks noChangeArrowheads="1"/>
            </p:cNvSpPr>
            <p:nvPr>
              <p:custDataLst>
                <p:tags r:id="rId23"/>
              </p:custDataLst>
            </p:nvPr>
          </p:nvSpPr>
          <p:spPr bwMode="gray">
            <a:xfrm flipV="1">
              <a:off x="7737601" y="6311569"/>
              <a:ext cx="4292861" cy="57956"/>
            </a:xfrm>
            <a:prstGeom prst="rect">
              <a:avLst/>
            </a:prstGeom>
            <a:solidFill>
              <a:schemeClr val="bg1"/>
            </a:solidFill>
            <a:ln w="9525">
              <a:no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sp>
          <p:nvSpPr>
            <p:cNvPr id="35" name="Rectangle 19">
              <a:extLst>
                <a:ext uri="{FF2B5EF4-FFF2-40B4-BE49-F238E27FC236}">
                  <a16:creationId xmlns:a16="http://schemas.microsoft.com/office/drawing/2014/main" id="{1C14D1DB-BBFF-493A-A803-4460D796A205}"/>
                </a:ext>
              </a:extLst>
            </p:cNvPr>
            <p:cNvSpPr>
              <a:spLocks noChangeArrowheads="1"/>
            </p:cNvSpPr>
            <p:nvPr>
              <p:custDataLst>
                <p:tags r:id="rId24"/>
              </p:custDataLst>
            </p:nvPr>
          </p:nvSpPr>
          <p:spPr bwMode="gray">
            <a:xfrm>
              <a:off x="7737601" y="5212470"/>
              <a:ext cx="4292861" cy="1111518"/>
            </a:xfrm>
            <a:prstGeom prst="rect">
              <a:avLst/>
            </a:prstGeom>
            <a:solidFill>
              <a:schemeClr val="bg1"/>
            </a:solidFill>
            <a:ln w="19050">
              <a:solidFill>
                <a:srgbClr val="006600"/>
              </a:solidFill>
              <a:miter lim="800000"/>
              <a:headEnd/>
              <a:tailEnd/>
            </a:ln>
          </p:spPr>
          <p:txBody>
            <a:bodyPr wrap="none"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grpSp>
      <p:sp>
        <p:nvSpPr>
          <p:cNvPr id="36" name="Rectangle 22">
            <a:extLst>
              <a:ext uri="{FF2B5EF4-FFF2-40B4-BE49-F238E27FC236}">
                <a16:creationId xmlns:a16="http://schemas.microsoft.com/office/drawing/2014/main" id="{6E6EA911-71DE-4472-8060-1C3CF31DF073}"/>
              </a:ext>
            </a:extLst>
          </p:cNvPr>
          <p:cNvSpPr>
            <a:spLocks noChangeArrowheads="1"/>
          </p:cNvSpPr>
          <p:nvPr>
            <p:custDataLst>
              <p:tags r:id="rId5"/>
            </p:custDataLst>
          </p:nvPr>
        </p:nvSpPr>
        <p:spPr bwMode="gray">
          <a:xfrm>
            <a:off x="9683018" y="2599858"/>
            <a:ext cx="2398843" cy="738664"/>
          </a:xfrm>
          <a:prstGeom prst="rect">
            <a:avLst/>
          </a:prstGeom>
          <a:noFill/>
          <a:ln w="9525">
            <a:noFill/>
            <a:miter lim="800000"/>
            <a:headEnd/>
            <a:tailEnd/>
          </a:ln>
        </p:spPr>
        <p:txBody>
          <a:bodyPr lIns="0" tIns="0" rIns="0" bIns="0">
            <a:spAutoFit/>
          </a:bodyPr>
          <a:lstStyle/>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b="1" dirty="0">
                <a:solidFill>
                  <a:srgbClr val="006600"/>
                </a:solidFill>
                <a:latin typeface="Calibri" panose="020F0502020204030204"/>
                <a:ea typeface="MS PGothic" pitchFamily="34" charset="-128"/>
              </a:rPr>
              <a:t>Maternal mortality</a:t>
            </a:r>
            <a:r>
              <a:rPr lang="en-US" sz="1200" dirty="0">
                <a:solidFill>
                  <a:srgbClr val="006600"/>
                </a:solidFill>
                <a:latin typeface="Calibri" panose="020F0502020204030204"/>
                <a:ea typeface="MS PGothic" pitchFamily="34" charset="-128"/>
              </a:rPr>
              <a:t> </a:t>
            </a:r>
            <a:r>
              <a:rPr lang="en-US" sz="1200" dirty="0">
                <a:solidFill>
                  <a:srgbClr val="000000"/>
                </a:solidFill>
                <a:latin typeface="Calibri" panose="020F0502020204030204"/>
                <a:ea typeface="MS PGothic" pitchFamily="34" charset="-128"/>
              </a:rPr>
              <a:t>rate is 560/100,000 live births = 33,000 women each year</a:t>
            </a:r>
          </a:p>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dirty="0">
                <a:solidFill>
                  <a:srgbClr val="000000"/>
                </a:solidFill>
                <a:latin typeface="Calibri" panose="020F0502020204030204"/>
                <a:ea typeface="MS PGothic" pitchFamily="34" charset="-128"/>
              </a:rPr>
              <a:t>1 in 9 maternal deaths worldwide</a:t>
            </a:r>
          </a:p>
        </p:txBody>
      </p:sp>
      <p:sp>
        <p:nvSpPr>
          <p:cNvPr id="37" name="Rectangle 23">
            <a:extLst>
              <a:ext uri="{FF2B5EF4-FFF2-40B4-BE49-F238E27FC236}">
                <a16:creationId xmlns:a16="http://schemas.microsoft.com/office/drawing/2014/main" id="{8F20E409-C808-4DE5-8D25-7984B3944581}"/>
              </a:ext>
            </a:extLst>
          </p:cNvPr>
          <p:cNvSpPr>
            <a:spLocks noChangeArrowheads="1"/>
          </p:cNvSpPr>
          <p:nvPr>
            <p:custDataLst>
              <p:tags r:id="rId6"/>
            </p:custDataLst>
          </p:nvPr>
        </p:nvSpPr>
        <p:spPr bwMode="gray">
          <a:xfrm>
            <a:off x="9665581" y="4101312"/>
            <a:ext cx="2301657" cy="942084"/>
          </a:xfrm>
          <a:prstGeom prst="rect">
            <a:avLst/>
          </a:prstGeom>
          <a:noFill/>
          <a:ln w="9525">
            <a:noFill/>
            <a:miter lim="800000"/>
            <a:headEnd/>
            <a:tailEnd/>
          </a:ln>
        </p:spPr>
        <p:txBody>
          <a:bodyPr lIns="0" tIns="0" rIns="0" bIns="0">
            <a:spAutoFit/>
          </a:bodyPr>
          <a:lstStyle/>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b="1" dirty="0">
                <a:solidFill>
                  <a:srgbClr val="006600"/>
                </a:solidFill>
                <a:latin typeface="Calibri" panose="020F0502020204030204"/>
                <a:ea typeface="MS PGothic" pitchFamily="34" charset="-128"/>
              </a:rPr>
              <a:t>Infant mortality </a:t>
            </a:r>
            <a:r>
              <a:rPr lang="en-US" sz="1200" dirty="0">
                <a:solidFill>
                  <a:srgbClr val="000000"/>
                </a:solidFill>
                <a:latin typeface="Calibri" panose="020F0502020204030204"/>
                <a:ea typeface="MS PGothic" pitchFamily="34" charset="-128"/>
              </a:rPr>
              <a:t>rate is 75/1,000 </a:t>
            </a:r>
          </a:p>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dirty="0">
                <a:solidFill>
                  <a:srgbClr val="000000"/>
                </a:solidFill>
                <a:latin typeface="Calibri" panose="020F0502020204030204"/>
                <a:ea typeface="MS PGothic" pitchFamily="34" charset="-128"/>
              </a:rPr>
              <a:t>8% of the global total,</a:t>
            </a:r>
          </a:p>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dirty="0">
                <a:solidFill>
                  <a:srgbClr val="000000"/>
                </a:solidFill>
                <a:latin typeface="Calibri" panose="020F0502020204030204"/>
                <a:ea typeface="MS PGothic" pitchFamily="34" charset="-128"/>
              </a:rPr>
              <a:t>An estimated 70% of these deaths are preventable</a:t>
            </a:r>
          </a:p>
          <a:p>
            <a:pPr marL="175901" lvl="1" indent="-174468" defTabSz="813226" eaLnBrk="0" fontAlgn="base" hangingPunct="0">
              <a:spcBef>
                <a:spcPct val="0"/>
              </a:spcBef>
              <a:spcAft>
                <a:spcPct val="0"/>
              </a:spcAft>
              <a:buClr>
                <a:srgbClr val="036803"/>
              </a:buClr>
              <a:buSzPct val="125000"/>
              <a:buFont typeface="Arial" charset="0"/>
              <a:buChar char="▪"/>
              <a:defRPr/>
            </a:pPr>
            <a:endParaRPr lang="en-US" sz="1200" dirty="0">
              <a:solidFill>
                <a:srgbClr val="000000"/>
              </a:solidFill>
              <a:latin typeface="Calibri" panose="020F0502020204030204"/>
              <a:ea typeface="MS PGothic" pitchFamily="34" charset="-128"/>
            </a:endParaRPr>
          </a:p>
        </p:txBody>
      </p:sp>
      <p:sp>
        <p:nvSpPr>
          <p:cNvPr id="38" name="Rectangle 24">
            <a:extLst>
              <a:ext uri="{FF2B5EF4-FFF2-40B4-BE49-F238E27FC236}">
                <a16:creationId xmlns:a16="http://schemas.microsoft.com/office/drawing/2014/main" id="{4C4EE38F-6304-45E2-ABDD-3767E26B1137}"/>
              </a:ext>
            </a:extLst>
          </p:cNvPr>
          <p:cNvSpPr>
            <a:spLocks noChangeArrowheads="1"/>
          </p:cNvSpPr>
          <p:nvPr>
            <p:custDataLst>
              <p:tags r:id="rId7"/>
            </p:custDataLst>
          </p:nvPr>
        </p:nvSpPr>
        <p:spPr bwMode="gray">
          <a:xfrm>
            <a:off x="9757369" y="5341800"/>
            <a:ext cx="2301657" cy="553998"/>
          </a:xfrm>
          <a:prstGeom prst="rect">
            <a:avLst/>
          </a:prstGeom>
          <a:noFill/>
          <a:ln w="9525">
            <a:noFill/>
            <a:miter lim="800000"/>
            <a:headEnd/>
            <a:tailEnd/>
          </a:ln>
        </p:spPr>
        <p:txBody>
          <a:bodyPr lIns="0" tIns="0" rIns="0" bIns="0">
            <a:spAutoFit/>
          </a:bodyPr>
          <a:lstStyle/>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b="1" dirty="0">
                <a:solidFill>
                  <a:srgbClr val="006600"/>
                </a:solidFill>
                <a:latin typeface="Calibri" panose="020F0502020204030204"/>
                <a:ea typeface="MS PGothic" pitchFamily="34" charset="-128"/>
              </a:rPr>
              <a:t>Child mortality rate </a:t>
            </a:r>
            <a:r>
              <a:rPr lang="en-US" sz="1200" dirty="0">
                <a:solidFill>
                  <a:srgbClr val="000000"/>
                </a:solidFill>
                <a:latin typeface="Calibri" panose="020F0502020204030204"/>
                <a:ea typeface="MS PGothic" pitchFamily="34" charset="-128"/>
              </a:rPr>
              <a:t>is 117/1,000 = ~1 million deaths per year</a:t>
            </a:r>
          </a:p>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dirty="0">
                <a:solidFill>
                  <a:srgbClr val="000000"/>
                </a:solidFill>
                <a:latin typeface="Calibri" panose="020F0502020204030204"/>
                <a:ea typeface="MS PGothic" pitchFamily="34" charset="-128"/>
              </a:rPr>
              <a:t>~10% of the global total </a:t>
            </a:r>
          </a:p>
        </p:txBody>
      </p:sp>
      <p:sp>
        <p:nvSpPr>
          <p:cNvPr id="39" name="Rectangle 25">
            <a:extLst>
              <a:ext uri="{FF2B5EF4-FFF2-40B4-BE49-F238E27FC236}">
                <a16:creationId xmlns:a16="http://schemas.microsoft.com/office/drawing/2014/main" id="{38C13C90-7C8B-42C8-9705-043D2124EEB0}"/>
              </a:ext>
            </a:extLst>
          </p:cNvPr>
          <p:cNvSpPr>
            <a:spLocks noChangeArrowheads="1"/>
          </p:cNvSpPr>
          <p:nvPr>
            <p:custDataLst>
              <p:tags r:id="rId8"/>
            </p:custDataLst>
          </p:nvPr>
        </p:nvSpPr>
        <p:spPr bwMode="gray">
          <a:xfrm>
            <a:off x="2191538" y="2648261"/>
            <a:ext cx="2301658" cy="1107996"/>
          </a:xfrm>
          <a:prstGeom prst="rect">
            <a:avLst/>
          </a:prstGeom>
          <a:noFill/>
          <a:ln w="9525" algn="ctr">
            <a:noFill/>
            <a:miter lim="800000"/>
            <a:headEnd/>
            <a:tailEnd/>
          </a:ln>
        </p:spPr>
        <p:txBody>
          <a:bodyPr lIns="0" tIns="0" rIns="0" bIns="0">
            <a:spAutoFit/>
          </a:bodyPr>
          <a:lstStyle/>
          <a:p>
            <a:pPr marL="1433" lvl="1" defTabSz="813226" eaLnBrk="0" fontAlgn="base" hangingPunct="0">
              <a:spcBef>
                <a:spcPct val="0"/>
              </a:spcBef>
              <a:spcAft>
                <a:spcPct val="0"/>
              </a:spcAft>
              <a:buClr>
                <a:srgbClr val="036803"/>
              </a:buClr>
              <a:buSzPct val="125000"/>
              <a:defRPr/>
            </a:pPr>
            <a:r>
              <a:rPr lang="en-GB" sz="1200" b="1" dirty="0">
                <a:solidFill>
                  <a:srgbClr val="006600"/>
                </a:solidFill>
                <a:ea typeface="MS PGothic" pitchFamily="34" charset="-128"/>
              </a:rPr>
              <a:t>Supply challenges</a:t>
            </a:r>
          </a:p>
          <a:p>
            <a:pPr marL="175901" lvl="1" indent="-174468" defTabSz="813226" eaLnBrk="0" fontAlgn="base" hangingPunct="0">
              <a:spcBef>
                <a:spcPct val="0"/>
              </a:spcBef>
              <a:spcAft>
                <a:spcPct val="0"/>
              </a:spcAft>
              <a:buClr>
                <a:srgbClr val="036803"/>
              </a:buClr>
              <a:buSzPct val="125000"/>
              <a:buFont typeface="Arial" charset="0"/>
              <a:buChar char="▪"/>
              <a:defRPr/>
            </a:pPr>
            <a:r>
              <a:rPr lang="en-GB" sz="1200" dirty="0">
                <a:solidFill>
                  <a:srgbClr val="000000"/>
                </a:solidFill>
                <a:latin typeface="Calibri" panose="020F0502020204030204"/>
                <a:ea typeface="MS PGothic" pitchFamily="34" charset="-128"/>
              </a:rPr>
              <a:t>~30,000 </a:t>
            </a:r>
            <a:r>
              <a:rPr lang="en-GB" sz="1200" b="1" dirty="0">
                <a:solidFill>
                  <a:srgbClr val="006600"/>
                </a:solidFill>
                <a:latin typeface="Calibri" panose="020F0502020204030204"/>
                <a:ea typeface="MS PGothic" pitchFamily="34" charset="-128"/>
              </a:rPr>
              <a:t>health facilities </a:t>
            </a:r>
            <a:r>
              <a:rPr lang="en-GB" sz="1200" dirty="0">
                <a:solidFill>
                  <a:srgbClr val="000000"/>
                </a:solidFill>
                <a:latin typeface="Calibri" panose="020F0502020204030204"/>
                <a:ea typeface="MS PGothic" pitchFamily="34" charset="-128"/>
              </a:rPr>
              <a:t>but with different levels of functionality</a:t>
            </a:r>
          </a:p>
          <a:p>
            <a:pPr marL="175901" lvl="1" indent="-174468" defTabSz="813226" eaLnBrk="0" fontAlgn="base" hangingPunct="0">
              <a:spcBef>
                <a:spcPct val="0"/>
              </a:spcBef>
              <a:spcAft>
                <a:spcPct val="0"/>
              </a:spcAft>
              <a:buClr>
                <a:srgbClr val="036803"/>
              </a:buClr>
              <a:buSzPct val="125000"/>
              <a:buFont typeface="Arial" charset="0"/>
              <a:buChar char="▪"/>
              <a:defRPr/>
            </a:pPr>
            <a:r>
              <a:rPr lang="en-GB" sz="1200" dirty="0">
                <a:solidFill>
                  <a:srgbClr val="000000"/>
                </a:solidFill>
                <a:latin typeface="Calibri" panose="020F0502020204030204"/>
                <a:ea typeface="MS PGothic" pitchFamily="34" charset="-128"/>
              </a:rPr>
              <a:t>Shortage of critical human resources</a:t>
            </a:r>
          </a:p>
          <a:p>
            <a:pPr marL="175901" lvl="1" indent="-174468" defTabSz="813226" eaLnBrk="0" fontAlgn="base" hangingPunct="0">
              <a:spcBef>
                <a:spcPct val="0"/>
              </a:spcBef>
              <a:spcAft>
                <a:spcPct val="0"/>
              </a:spcAft>
              <a:buClr>
                <a:srgbClr val="036803"/>
              </a:buClr>
              <a:buSzPct val="125000"/>
              <a:buFont typeface="Arial" charset="0"/>
              <a:buChar char="▪"/>
              <a:defRPr/>
            </a:pPr>
            <a:r>
              <a:rPr lang="en-GB" sz="1200" dirty="0">
                <a:solidFill>
                  <a:srgbClr val="000000"/>
                </a:solidFill>
                <a:latin typeface="Calibri" panose="020F0502020204030204"/>
                <a:ea typeface="MS PGothic" pitchFamily="34" charset="-128"/>
              </a:rPr>
              <a:t>Insufficient funding</a:t>
            </a:r>
            <a:endParaRPr lang="en-GB" sz="1200" dirty="0">
              <a:solidFill>
                <a:srgbClr val="036803"/>
              </a:solidFill>
              <a:latin typeface="Calibri" panose="020F0502020204030204"/>
              <a:ea typeface="MS PGothic" pitchFamily="34" charset="-128"/>
            </a:endParaRPr>
          </a:p>
        </p:txBody>
      </p:sp>
      <p:sp>
        <p:nvSpPr>
          <p:cNvPr id="40" name="Rectangle 26">
            <a:extLst>
              <a:ext uri="{FF2B5EF4-FFF2-40B4-BE49-F238E27FC236}">
                <a16:creationId xmlns:a16="http://schemas.microsoft.com/office/drawing/2014/main" id="{6B32C6BF-7319-4B80-9B57-B4997F948AB1}"/>
              </a:ext>
            </a:extLst>
          </p:cNvPr>
          <p:cNvSpPr>
            <a:spLocks noChangeArrowheads="1"/>
          </p:cNvSpPr>
          <p:nvPr>
            <p:custDataLst>
              <p:tags r:id="rId9"/>
            </p:custDataLst>
          </p:nvPr>
        </p:nvSpPr>
        <p:spPr bwMode="gray">
          <a:xfrm>
            <a:off x="2161207" y="3993709"/>
            <a:ext cx="2301658" cy="1107996"/>
          </a:xfrm>
          <a:prstGeom prst="rect">
            <a:avLst/>
          </a:prstGeom>
          <a:noFill/>
          <a:ln w="9525" algn="ctr">
            <a:noFill/>
            <a:miter lim="800000"/>
            <a:headEnd/>
            <a:tailEnd/>
          </a:ln>
        </p:spPr>
        <p:txBody>
          <a:bodyPr lIns="0" tIns="0" rIns="0" bIns="0">
            <a:spAutoFit/>
          </a:bodyPr>
          <a:lstStyle/>
          <a:p>
            <a:pPr marL="1433" lvl="1" defTabSz="813226" eaLnBrk="0" fontAlgn="base" hangingPunct="0">
              <a:spcBef>
                <a:spcPct val="0"/>
              </a:spcBef>
              <a:spcAft>
                <a:spcPct val="0"/>
              </a:spcAft>
              <a:buClr>
                <a:srgbClr val="036803"/>
              </a:buClr>
              <a:buSzPct val="125000"/>
              <a:defRPr/>
            </a:pPr>
            <a:r>
              <a:rPr lang="en-GB" sz="1200" b="1" dirty="0">
                <a:solidFill>
                  <a:srgbClr val="006600"/>
                </a:solidFill>
                <a:latin typeface="Calibri" panose="020F0502020204030204"/>
                <a:ea typeface="MS PGothic" pitchFamily="34" charset="-128"/>
              </a:rPr>
              <a:t>Supply challenges</a:t>
            </a:r>
          </a:p>
          <a:p>
            <a:pPr marL="348721" lvl="2" indent="-171378" defTabSz="813226" eaLnBrk="0" fontAlgn="base" hangingPunct="0">
              <a:spcBef>
                <a:spcPct val="0"/>
              </a:spcBef>
              <a:spcAft>
                <a:spcPct val="0"/>
              </a:spcAft>
              <a:buClr>
                <a:srgbClr val="036803"/>
              </a:buClr>
              <a:buSzPct val="120000"/>
              <a:buFont typeface="Wingdings" panose="05000000000000000000" pitchFamily="2" charset="2"/>
              <a:buChar char="§"/>
              <a:defRPr/>
            </a:pPr>
            <a:r>
              <a:rPr lang="en-GB" sz="1200" dirty="0">
                <a:solidFill>
                  <a:srgbClr val="000000"/>
                </a:solidFill>
                <a:latin typeface="Calibri" panose="020F0502020204030204"/>
                <a:ea typeface="MS PGothic" pitchFamily="34" charset="-128"/>
              </a:rPr>
              <a:t>Inadequate power or water supply</a:t>
            </a:r>
          </a:p>
          <a:p>
            <a:pPr marL="348721" lvl="2" indent="-171378" defTabSz="813226" eaLnBrk="0" fontAlgn="base" hangingPunct="0">
              <a:spcBef>
                <a:spcPct val="0"/>
              </a:spcBef>
              <a:spcAft>
                <a:spcPct val="0"/>
              </a:spcAft>
              <a:buClr>
                <a:srgbClr val="036803"/>
              </a:buClr>
              <a:buSzPct val="120000"/>
              <a:buFont typeface="Wingdings" panose="05000000000000000000" pitchFamily="2" charset="2"/>
              <a:buChar char="§"/>
              <a:defRPr/>
            </a:pPr>
            <a:r>
              <a:rPr lang="en-GB" sz="1200" dirty="0">
                <a:solidFill>
                  <a:srgbClr val="000000"/>
                </a:solidFill>
                <a:latin typeface="Calibri" panose="020F0502020204030204"/>
                <a:ea typeface="MS PGothic" pitchFamily="34" charset="-128"/>
              </a:rPr>
              <a:t>Commodity stock-outs </a:t>
            </a:r>
          </a:p>
          <a:p>
            <a:pPr marL="348721" lvl="2" indent="-171378" defTabSz="813226" eaLnBrk="0" fontAlgn="base" hangingPunct="0">
              <a:spcBef>
                <a:spcPct val="0"/>
              </a:spcBef>
              <a:spcAft>
                <a:spcPct val="0"/>
              </a:spcAft>
              <a:buClr>
                <a:srgbClr val="036803"/>
              </a:buClr>
              <a:buSzPct val="120000"/>
              <a:buFont typeface="Wingdings" panose="05000000000000000000" pitchFamily="2" charset="2"/>
              <a:buChar char="§"/>
              <a:defRPr/>
            </a:pPr>
            <a:r>
              <a:rPr lang="en-GB" sz="1200" dirty="0">
                <a:solidFill>
                  <a:srgbClr val="000000"/>
                </a:solidFill>
                <a:latin typeface="Calibri" panose="020F0502020204030204"/>
                <a:ea typeface="MS PGothic" pitchFamily="34" charset="-128"/>
              </a:rPr>
              <a:t>Equipment inadequacy</a:t>
            </a:r>
          </a:p>
          <a:p>
            <a:pPr marL="348721" lvl="2" indent="-171378" defTabSz="813226" eaLnBrk="0" fontAlgn="base" hangingPunct="0">
              <a:spcBef>
                <a:spcPct val="0"/>
              </a:spcBef>
              <a:spcAft>
                <a:spcPct val="0"/>
              </a:spcAft>
              <a:buClr>
                <a:srgbClr val="036803"/>
              </a:buClr>
              <a:buSzPct val="120000"/>
              <a:buFont typeface="Wingdings" panose="05000000000000000000" pitchFamily="2" charset="2"/>
              <a:buChar char="§"/>
              <a:defRPr/>
            </a:pPr>
            <a:r>
              <a:rPr lang="en-GB" sz="1200" dirty="0">
                <a:solidFill>
                  <a:srgbClr val="000000"/>
                </a:solidFill>
                <a:latin typeface="Calibri" panose="020F0502020204030204"/>
                <a:ea typeface="MS PGothic" pitchFamily="34" charset="-128"/>
              </a:rPr>
              <a:t>Weak standards / quality</a:t>
            </a:r>
          </a:p>
        </p:txBody>
      </p:sp>
      <p:sp>
        <p:nvSpPr>
          <p:cNvPr id="41" name="Rectangle 27">
            <a:extLst>
              <a:ext uri="{FF2B5EF4-FFF2-40B4-BE49-F238E27FC236}">
                <a16:creationId xmlns:a16="http://schemas.microsoft.com/office/drawing/2014/main" id="{B2A79CC3-A97A-4C76-8DFC-4EA996BFEF99}"/>
              </a:ext>
            </a:extLst>
          </p:cNvPr>
          <p:cNvSpPr>
            <a:spLocks noChangeArrowheads="1"/>
          </p:cNvSpPr>
          <p:nvPr>
            <p:custDataLst>
              <p:tags r:id="rId10"/>
            </p:custDataLst>
          </p:nvPr>
        </p:nvSpPr>
        <p:spPr bwMode="gray">
          <a:xfrm>
            <a:off x="1997108" y="5227790"/>
            <a:ext cx="2397927" cy="1107996"/>
          </a:xfrm>
          <a:prstGeom prst="rect">
            <a:avLst/>
          </a:prstGeom>
          <a:noFill/>
          <a:ln w="9525" algn="ctr">
            <a:noFill/>
            <a:miter lim="800000"/>
            <a:headEnd/>
            <a:tailEnd/>
          </a:ln>
        </p:spPr>
        <p:txBody>
          <a:bodyPr wrap="square" lIns="0" tIns="0" rIns="0" bIns="0">
            <a:spAutoFit/>
          </a:bodyPr>
          <a:lstStyle/>
          <a:p>
            <a:pPr marL="1433" lvl="1" defTabSz="813226" eaLnBrk="0" fontAlgn="base" hangingPunct="0">
              <a:spcBef>
                <a:spcPct val="0"/>
              </a:spcBef>
              <a:spcAft>
                <a:spcPct val="0"/>
              </a:spcAft>
              <a:buClr>
                <a:srgbClr val="036803"/>
              </a:buClr>
              <a:buSzPct val="125000"/>
              <a:defRPr/>
            </a:pPr>
            <a:r>
              <a:rPr lang="en-GB" sz="1200" b="1" dirty="0">
                <a:solidFill>
                  <a:srgbClr val="006600"/>
                </a:solidFill>
                <a:latin typeface="Calibri" panose="020F0502020204030204"/>
                <a:ea typeface="MS PGothic" pitchFamily="34" charset="-128"/>
              </a:rPr>
              <a:t>Demand side challenges</a:t>
            </a:r>
          </a:p>
          <a:p>
            <a:pPr marL="172812" lvl="1" indent="-171378" defTabSz="813226" eaLnBrk="0" fontAlgn="base" hangingPunct="0">
              <a:spcBef>
                <a:spcPct val="0"/>
              </a:spcBef>
              <a:spcAft>
                <a:spcPct val="0"/>
              </a:spcAft>
              <a:buClr>
                <a:srgbClr val="036803"/>
              </a:buClr>
              <a:buSzPct val="125000"/>
              <a:buFont typeface="Wingdings" panose="05000000000000000000" pitchFamily="2" charset="2"/>
              <a:buChar char="§"/>
              <a:defRPr/>
            </a:pPr>
            <a:r>
              <a:rPr lang="en-GB" sz="1200" b="1" dirty="0">
                <a:solidFill>
                  <a:srgbClr val="006600"/>
                </a:solidFill>
                <a:latin typeface="Calibri" panose="020F0502020204030204"/>
                <a:ea typeface="MS PGothic" pitchFamily="34" charset="-128"/>
              </a:rPr>
              <a:t>Demand</a:t>
            </a:r>
            <a:r>
              <a:rPr lang="en-GB" sz="1200" dirty="0">
                <a:solidFill>
                  <a:srgbClr val="000000"/>
                </a:solidFill>
                <a:latin typeface="Calibri" panose="020F0502020204030204"/>
                <a:ea typeface="MS PGothic" pitchFamily="34" charset="-128"/>
              </a:rPr>
              <a:t> for critical services very </a:t>
            </a:r>
            <a:r>
              <a:rPr lang="en-GB" sz="1200" b="1" dirty="0">
                <a:solidFill>
                  <a:srgbClr val="006600"/>
                </a:solidFill>
                <a:latin typeface="Calibri" panose="020F0502020204030204"/>
                <a:ea typeface="MS PGothic" pitchFamily="34" charset="-128"/>
              </a:rPr>
              <a:t>low</a:t>
            </a:r>
            <a:r>
              <a:rPr lang="en-GB" sz="1200" dirty="0">
                <a:solidFill>
                  <a:srgbClr val="000000"/>
                </a:solidFill>
                <a:latin typeface="Calibri" panose="020F0502020204030204"/>
                <a:ea typeface="MS PGothic" pitchFamily="34" charset="-128"/>
              </a:rPr>
              <a:t>, largely driven by a loss of confidence in the system </a:t>
            </a:r>
          </a:p>
          <a:p>
            <a:pPr marL="172812" lvl="1" indent="-171378" defTabSz="813226" eaLnBrk="0" fontAlgn="base" hangingPunct="0">
              <a:spcBef>
                <a:spcPct val="0"/>
              </a:spcBef>
              <a:spcAft>
                <a:spcPct val="0"/>
              </a:spcAft>
              <a:buClr>
                <a:srgbClr val="036803"/>
              </a:buClr>
              <a:buSzPct val="125000"/>
              <a:buFont typeface="Wingdings" panose="05000000000000000000" pitchFamily="2" charset="2"/>
              <a:buChar char="§"/>
              <a:defRPr/>
            </a:pPr>
            <a:r>
              <a:rPr lang="en-GB" sz="1200" dirty="0">
                <a:solidFill>
                  <a:srgbClr val="000000"/>
                </a:solidFill>
                <a:latin typeface="Calibri" panose="020F0502020204030204"/>
                <a:ea typeface="MS PGothic" pitchFamily="34" charset="-128"/>
              </a:rPr>
              <a:t>Poor access to Health care Services</a:t>
            </a:r>
          </a:p>
          <a:p>
            <a:pPr marL="172812" lvl="1" indent="-171378" defTabSz="813226" eaLnBrk="0" fontAlgn="base" hangingPunct="0">
              <a:spcBef>
                <a:spcPct val="0"/>
              </a:spcBef>
              <a:spcAft>
                <a:spcPct val="0"/>
              </a:spcAft>
              <a:buClr>
                <a:srgbClr val="036803"/>
              </a:buClr>
              <a:buSzPct val="125000"/>
              <a:buFont typeface="Wingdings" panose="05000000000000000000" pitchFamily="2" charset="2"/>
              <a:buChar char="§"/>
              <a:defRPr/>
            </a:pPr>
            <a:r>
              <a:rPr lang="en-GB" sz="1200" dirty="0">
                <a:solidFill>
                  <a:srgbClr val="000000"/>
                </a:solidFill>
                <a:latin typeface="Calibri" panose="020F0502020204030204"/>
                <a:ea typeface="MS PGothic" pitchFamily="34" charset="-128"/>
              </a:rPr>
              <a:t>Sociocultural beliefs</a:t>
            </a:r>
          </a:p>
        </p:txBody>
      </p:sp>
      <p:pic>
        <p:nvPicPr>
          <p:cNvPr id="42" name="Picture 28" descr="Namibia picture 3">
            <a:extLst>
              <a:ext uri="{FF2B5EF4-FFF2-40B4-BE49-F238E27FC236}">
                <a16:creationId xmlns:a16="http://schemas.microsoft.com/office/drawing/2014/main" id="{45E76A44-01B7-43E7-85EA-91861BEC87DD}"/>
              </a:ext>
            </a:extLst>
          </p:cNvPr>
          <p:cNvPicPr>
            <a:picLocks noChangeArrowheads="1"/>
          </p:cNvPicPr>
          <p:nvPr>
            <p:custDataLst>
              <p:tags r:id="rId11"/>
            </p:custDataLst>
          </p:nvPr>
        </p:nvPicPr>
        <p:blipFill>
          <a:blip r:embed="rId36" cstate="print"/>
          <a:srcRect/>
          <a:stretch>
            <a:fillRect/>
          </a:stretch>
        </p:blipFill>
        <p:spPr bwMode="gray">
          <a:xfrm>
            <a:off x="7902626" y="5283709"/>
            <a:ext cx="1722450" cy="1017620"/>
          </a:xfrm>
          <a:prstGeom prst="rect">
            <a:avLst/>
          </a:prstGeom>
          <a:noFill/>
          <a:ln w="9525">
            <a:noFill/>
            <a:miter lim="800000"/>
            <a:headEnd/>
            <a:tailEnd/>
          </a:ln>
        </p:spPr>
      </p:pic>
      <p:pic>
        <p:nvPicPr>
          <p:cNvPr id="43" name="Picture 29" descr="IMG_2458">
            <a:extLst>
              <a:ext uri="{FF2B5EF4-FFF2-40B4-BE49-F238E27FC236}">
                <a16:creationId xmlns:a16="http://schemas.microsoft.com/office/drawing/2014/main" id="{825BE34B-6E6E-49BA-8827-EF0EAFCB5389}"/>
              </a:ext>
            </a:extLst>
          </p:cNvPr>
          <p:cNvPicPr>
            <a:picLocks noChangeAspect="1" noChangeArrowheads="1"/>
          </p:cNvPicPr>
          <p:nvPr>
            <p:custDataLst>
              <p:tags r:id="rId12"/>
            </p:custDataLst>
          </p:nvPr>
        </p:nvPicPr>
        <p:blipFill>
          <a:blip r:embed="rId37" cstate="print"/>
          <a:srcRect/>
          <a:stretch>
            <a:fillRect/>
          </a:stretch>
        </p:blipFill>
        <p:spPr bwMode="gray">
          <a:xfrm>
            <a:off x="179818" y="2606483"/>
            <a:ext cx="1810875" cy="1074108"/>
          </a:xfrm>
          <a:prstGeom prst="rect">
            <a:avLst/>
          </a:prstGeom>
          <a:noFill/>
          <a:ln w="9525">
            <a:noFill/>
            <a:miter lim="800000"/>
            <a:headEnd/>
            <a:tailEnd/>
          </a:ln>
        </p:spPr>
      </p:pic>
      <p:pic>
        <p:nvPicPr>
          <p:cNvPr id="44" name="Picture 30" descr="IMG_7138">
            <a:extLst>
              <a:ext uri="{FF2B5EF4-FFF2-40B4-BE49-F238E27FC236}">
                <a16:creationId xmlns:a16="http://schemas.microsoft.com/office/drawing/2014/main" id="{07B48008-09D1-4C57-A54D-949E163F99BD}"/>
              </a:ext>
            </a:extLst>
          </p:cNvPr>
          <p:cNvPicPr>
            <a:picLocks noChangeArrowheads="1"/>
          </p:cNvPicPr>
          <p:nvPr>
            <p:custDataLst>
              <p:tags r:id="rId13"/>
            </p:custDataLst>
          </p:nvPr>
        </p:nvPicPr>
        <p:blipFill>
          <a:blip r:embed="rId38" cstate="print"/>
          <a:srcRect/>
          <a:stretch>
            <a:fillRect/>
          </a:stretch>
        </p:blipFill>
        <p:spPr bwMode="gray">
          <a:xfrm>
            <a:off x="111023" y="5249121"/>
            <a:ext cx="1810875" cy="1074108"/>
          </a:xfrm>
          <a:prstGeom prst="rect">
            <a:avLst/>
          </a:prstGeom>
          <a:noFill/>
          <a:ln w="9525">
            <a:noFill/>
            <a:miter lim="800000"/>
            <a:headEnd/>
            <a:tailEnd/>
          </a:ln>
        </p:spPr>
      </p:pic>
      <p:pic>
        <p:nvPicPr>
          <p:cNvPr id="45" name="Picture 31" descr="DSC_0024">
            <a:extLst>
              <a:ext uri="{FF2B5EF4-FFF2-40B4-BE49-F238E27FC236}">
                <a16:creationId xmlns:a16="http://schemas.microsoft.com/office/drawing/2014/main" id="{A56DB25E-D9FC-48E2-926E-CD73FCFB9967}"/>
              </a:ext>
            </a:extLst>
          </p:cNvPr>
          <p:cNvPicPr>
            <a:picLocks noChangeArrowheads="1"/>
          </p:cNvPicPr>
          <p:nvPr>
            <p:custDataLst>
              <p:tags r:id="rId14"/>
            </p:custDataLst>
          </p:nvPr>
        </p:nvPicPr>
        <p:blipFill>
          <a:blip r:embed="rId39" cstate="print"/>
          <a:srcRect l="13196" t="4860" r="7332"/>
          <a:stretch>
            <a:fillRect/>
          </a:stretch>
        </p:blipFill>
        <p:spPr bwMode="gray">
          <a:xfrm>
            <a:off x="7864540" y="4041647"/>
            <a:ext cx="1770383" cy="1095978"/>
          </a:xfrm>
          <a:prstGeom prst="rect">
            <a:avLst/>
          </a:prstGeom>
          <a:noFill/>
          <a:ln w="9525">
            <a:noFill/>
            <a:miter lim="800000"/>
            <a:headEnd/>
            <a:tailEnd/>
          </a:ln>
        </p:spPr>
      </p:pic>
      <p:pic>
        <p:nvPicPr>
          <p:cNvPr id="46" name="Picture 32" descr="IMG_2456">
            <a:extLst>
              <a:ext uri="{FF2B5EF4-FFF2-40B4-BE49-F238E27FC236}">
                <a16:creationId xmlns:a16="http://schemas.microsoft.com/office/drawing/2014/main" id="{A4E68FDF-8A41-4730-861E-079DB64286F0}"/>
              </a:ext>
            </a:extLst>
          </p:cNvPr>
          <p:cNvPicPr>
            <a:picLocks noChangeArrowheads="1"/>
          </p:cNvPicPr>
          <p:nvPr>
            <p:custDataLst>
              <p:tags r:id="rId15"/>
            </p:custDataLst>
          </p:nvPr>
        </p:nvPicPr>
        <p:blipFill>
          <a:blip r:embed="rId40" cstate="print"/>
          <a:srcRect r="18785" b="12212"/>
          <a:stretch>
            <a:fillRect/>
          </a:stretch>
        </p:blipFill>
        <p:spPr bwMode="gray">
          <a:xfrm>
            <a:off x="7864540" y="2598794"/>
            <a:ext cx="1770383" cy="1095978"/>
          </a:xfrm>
          <a:prstGeom prst="rect">
            <a:avLst/>
          </a:prstGeom>
          <a:noFill/>
          <a:ln w="9525">
            <a:noFill/>
            <a:miter lim="800000"/>
            <a:headEnd/>
            <a:tailEnd/>
          </a:ln>
        </p:spPr>
      </p:pic>
      <p:pic>
        <p:nvPicPr>
          <p:cNvPr id="47" name="Picture 33">
            <a:extLst>
              <a:ext uri="{FF2B5EF4-FFF2-40B4-BE49-F238E27FC236}">
                <a16:creationId xmlns:a16="http://schemas.microsoft.com/office/drawing/2014/main" id="{A8DE6684-1456-467C-A07B-5F0215147B7F}"/>
              </a:ext>
            </a:extLst>
          </p:cNvPr>
          <p:cNvPicPr>
            <a:picLocks noChangeAspect="1" noChangeArrowheads="1"/>
          </p:cNvPicPr>
          <p:nvPr>
            <p:custDataLst>
              <p:tags r:id="rId16"/>
            </p:custDataLst>
          </p:nvPr>
        </p:nvPicPr>
        <p:blipFill>
          <a:blip r:embed="rId41" cstate="print"/>
          <a:srcRect t="18056"/>
          <a:stretch>
            <a:fillRect/>
          </a:stretch>
        </p:blipFill>
        <p:spPr bwMode="gray">
          <a:xfrm>
            <a:off x="214368" y="3965129"/>
            <a:ext cx="1814115" cy="1151871"/>
          </a:xfrm>
          <a:prstGeom prst="rect">
            <a:avLst/>
          </a:prstGeom>
          <a:noFill/>
          <a:ln w="9525">
            <a:noFill/>
            <a:miter lim="800000"/>
            <a:headEnd/>
            <a:tailEnd/>
          </a:ln>
        </p:spPr>
      </p:pic>
      <p:sp>
        <p:nvSpPr>
          <p:cNvPr id="4" name="Rectangle 3"/>
          <p:cNvSpPr/>
          <p:nvPr/>
        </p:nvSpPr>
        <p:spPr>
          <a:xfrm>
            <a:off x="1176641" y="105373"/>
            <a:ext cx="9518469" cy="914400"/>
          </a:xfrm>
          <a:prstGeom prst="rect">
            <a:avLst/>
          </a:prstGeom>
          <a:ln>
            <a:noFill/>
          </a:ln>
        </p:spPr>
        <p:style>
          <a:lnRef idx="2">
            <a:schemeClr val="accent6"/>
          </a:lnRef>
          <a:fillRef idx="1">
            <a:schemeClr val="lt1"/>
          </a:fillRef>
          <a:effectRef idx="0">
            <a:schemeClr val="accent6"/>
          </a:effectRef>
          <a:fontRef idx="minor">
            <a:schemeClr val="dk1"/>
          </a:fontRef>
        </p:style>
        <p:txBody>
          <a:bodyPr lIns="91401" tIns="45702" rIns="91401" bIns="45702" rtlCol="0" anchor="ctr"/>
          <a:lstStyle/>
          <a:p>
            <a:pPr defTabSz="914013">
              <a:defRPr/>
            </a:pPr>
            <a:r>
              <a:rPr lang="en-US" sz="2400" b="1" dirty="0">
                <a:solidFill>
                  <a:schemeClr val="accent6">
                    <a:lumMod val="50000"/>
                  </a:schemeClr>
                </a:solidFill>
                <a:latin typeface="Arial" panose="020B0604020202020204" pitchFamily="34" charset="0"/>
                <a:cs typeface="Arial" panose="020B0604020202020204" pitchFamily="34" charset="0"/>
              </a:rPr>
              <a:t>Despite some progress, the health system in Nigeria is beset with several challenges with resultant poor health indices</a:t>
            </a:r>
            <a:endParaRPr lang="en-US" sz="1800" dirty="0">
              <a:solidFill>
                <a:schemeClr val="accent6">
                  <a:lumMod val="50000"/>
                </a:schemeClr>
              </a:solidFill>
              <a:latin typeface="Calibri" panose="020F0502020204030204"/>
            </a:endParaRPr>
          </a:p>
        </p:txBody>
      </p:sp>
      <p:sp>
        <p:nvSpPr>
          <p:cNvPr id="50" name="Rectangle 4">
            <a:extLst>
              <a:ext uri="{FF2B5EF4-FFF2-40B4-BE49-F238E27FC236}">
                <a16:creationId xmlns:a16="http://schemas.microsoft.com/office/drawing/2014/main" id="{E3436438-583D-43DF-8561-F35E9EFB78ED}"/>
              </a:ext>
            </a:extLst>
          </p:cNvPr>
          <p:cNvSpPr>
            <a:spLocks noChangeArrowheads="1"/>
          </p:cNvSpPr>
          <p:nvPr>
            <p:custDataLst>
              <p:tags r:id="rId17"/>
            </p:custDataLst>
          </p:nvPr>
        </p:nvSpPr>
        <p:spPr bwMode="gray">
          <a:xfrm>
            <a:off x="4462012" y="2516526"/>
            <a:ext cx="3240515" cy="1324115"/>
          </a:xfrm>
          <a:prstGeom prst="rect">
            <a:avLst/>
          </a:prstGeom>
          <a:solidFill>
            <a:schemeClr val="bg1"/>
          </a:solidFill>
          <a:ln w="19050">
            <a:solidFill>
              <a:srgbClr val="006600"/>
            </a:solidFill>
            <a:miter lim="800000"/>
            <a:headEnd/>
            <a:tailEnd/>
          </a:ln>
        </p:spPr>
        <p:txBody>
          <a:bodyPr wrap="none" lIns="83053" tIns="41530" rIns="83053" bIns="41530"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sp>
        <p:nvSpPr>
          <p:cNvPr id="51" name="Rectangle 22">
            <a:extLst>
              <a:ext uri="{FF2B5EF4-FFF2-40B4-BE49-F238E27FC236}">
                <a16:creationId xmlns:a16="http://schemas.microsoft.com/office/drawing/2014/main" id="{6E6EA911-71DE-4472-8060-1C3CF31DF073}"/>
              </a:ext>
            </a:extLst>
          </p:cNvPr>
          <p:cNvSpPr>
            <a:spLocks noChangeArrowheads="1"/>
          </p:cNvSpPr>
          <p:nvPr>
            <p:custDataLst>
              <p:tags r:id="rId18"/>
            </p:custDataLst>
          </p:nvPr>
        </p:nvSpPr>
        <p:spPr bwMode="gray">
          <a:xfrm>
            <a:off x="6118022" y="2645297"/>
            <a:ext cx="1671783" cy="738664"/>
          </a:xfrm>
          <a:prstGeom prst="rect">
            <a:avLst/>
          </a:prstGeom>
          <a:noFill/>
          <a:ln w="9525">
            <a:noFill/>
            <a:miter lim="800000"/>
            <a:headEnd/>
            <a:tailEnd/>
          </a:ln>
        </p:spPr>
        <p:txBody>
          <a:bodyPr wrap="square" lIns="0" tIns="0" rIns="0" bIns="0">
            <a:spAutoFit/>
          </a:bodyPr>
          <a:lstStyle/>
          <a:p>
            <a:pPr marL="175901" lvl="1" indent="-174468" defTabSz="813226" eaLnBrk="0" fontAlgn="base" hangingPunct="0">
              <a:spcBef>
                <a:spcPct val="0"/>
              </a:spcBef>
              <a:spcAft>
                <a:spcPct val="0"/>
              </a:spcAft>
              <a:buClr>
                <a:srgbClr val="036803"/>
              </a:buClr>
              <a:buSzPct val="125000"/>
              <a:buFont typeface="Wingdings" panose="05000000000000000000" pitchFamily="2" charset="2"/>
              <a:buChar char="§"/>
              <a:defRPr/>
            </a:pPr>
            <a:r>
              <a:rPr lang="en-US" sz="1200" b="1" dirty="0">
                <a:solidFill>
                  <a:srgbClr val="006600"/>
                </a:solidFill>
                <a:latin typeface="Calibri" panose="020F0502020204030204"/>
                <a:ea typeface="MS PGothic" pitchFamily="34" charset="-128"/>
              </a:rPr>
              <a:t>Only 38% of women have skilled births</a:t>
            </a:r>
          </a:p>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b="1" dirty="0">
                <a:solidFill>
                  <a:srgbClr val="006600"/>
                </a:solidFill>
                <a:latin typeface="Calibri" panose="020F0502020204030204"/>
                <a:ea typeface="MS PGothic" pitchFamily="34" charset="-128"/>
              </a:rPr>
              <a:t> Only 58% of women attend ANC</a:t>
            </a:r>
            <a:endParaRPr lang="en-US" sz="1200" dirty="0">
              <a:solidFill>
                <a:srgbClr val="000000"/>
              </a:solidFill>
              <a:latin typeface="Calibri" panose="020F0502020204030204"/>
              <a:ea typeface="MS PGothic" pitchFamily="34" charset="-128"/>
            </a:endParaRPr>
          </a:p>
        </p:txBody>
      </p:sp>
      <p:sp>
        <p:nvSpPr>
          <p:cNvPr id="52" name="Rectangle 4">
            <a:extLst>
              <a:ext uri="{FF2B5EF4-FFF2-40B4-BE49-F238E27FC236}">
                <a16:creationId xmlns:a16="http://schemas.microsoft.com/office/drawing/2014/main" id="{E3436438-583D-43DF-8561-F35E9EFB78ED}"/>
              </a:ext>
            </a:extLst>
          </p:cNvPr>
          <p:cNvSpPr>
            <a:spLocks noChangeArrowheads="1"/>
          </p:cNvSpPr>
          <p:nvPr>
            <p:custDataLst>
              <p:tags r:id="rId19"/>
            </p:custDataLst>
          </p:nvPr>
        </p:nvSpPr>
        <p:spPr bwMode="gray">
          <a:xfrm>
            <a:off x="4468790" y="3906517"/>
            <a:ext cx="3247440" cy="1242121"/>
          </a:xfrm>
          <a:prstGeom prst="rect">
            <a:avLst/>
          </a:prstGeom>
          <a:solidFill>
            <a:schemeClr val="bg1"/>
          </a:solidFill>
          <a:ln w="19050">
            <a:solidFill>
              <a:srgbClr val="006600"/>
            </a:solidFill>
            <a:miter lim="800000"/>
            <a:headEnd/>
            <a:tailEnd/>
          </a:ln>
        </p:spPr>
        <p:txBody>
          <a:bodyPr wrap="none" lIns="83053" tIns="41530" rIns="83053" bIns="41530"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sp>
        <p:nvSpPr>
          <p:cNvPr id="53" name="Rectangle 4">
            <a:extLst>
              <a:ext uri="{FF2B5EF4-FFF2-40B4-BE49-F238E27FC236}">
                <a16:creationId xmlns:a16="http://schemas.microsoft.com/office/drawing/2014/main" id="{E3436438-583D-43DF-8561-F35E9EFB78ED}"/>
              </a:ext>
            </a:extLst>
          </p:cNvPr>
          <p:cNvSpPr>
            <a:spLocks noChangeArrowheads="1"/>
          </p:cNvSpPr>
          <p:nvPr>
            <p:custDataLst>
              <p:tags r:id="rId20"/>
            </p:custDataLst>
          </p:nvPr>
        </p:nvSpPr>
        <p:spPr bwMode="gray">
          <a:xfrm>
            <a:off x="4479263" y="5223342"/>
            <a:ext cx="3247440" cy="1158841"/>
          </a:xfrm>
          <a:prstGeom prst="rect">
            <a:avLst/>
          </a:prstGeom>
          <a:solidFill>
            <a:schemeClr val="bg1"/>
          </a:solidFill>
          <a:ln w="19050">
            <a:solidFill>
              <a:srgbClr val="006600"/>
            </a:solidFill>
            <a:miter lim="800000"/>
            <a:headEnd/>
            <a:tailEnd/>
          </a:ln>
        </p:spPr>
        <p:txBody>
          <a:bodyPr wrap="none" lIns="83053" tIns="41530" rIns="83053" bIns="41530" anchor="ctr"/>
          <a:lstStyle/>
          <a:p>
            <a:pPr defTabSz="683786" fontAlgn="base">
              <a:spcBef>
                <a:spcPct val="0"/>
              </a:spcBef>
              <a:spcAft>
                <a:spcPct val="0"/>
              </a:spcAft>
              <a:defRPr/>
            </a:pPr>
            <a:endParaRPr lang="en-US" sz="1200">
              <a:solidFill>
                <a:srgbClr val="000000"/>
              </a:solidFill>
              <a:latin typeface="Calibri" panose="020F0502020204030204"/>
              <a:ea typeface="MS PGothic" pitchFamily="34" charset="-128"/>
            </a:endParaRPr>
          </a:p>
        </p:txBody>
      </p:sp>
      <p:sp>
        <p:nvSpPr>
          <p:cNvPr id="54" name="Rectangle 22">
            <a:extLst>
              <a:ext uri="{FF2B5EF4-FFF2-40B4-BE49-F238E27FC236}">
                <a16:creationId xmlns:a16="http://schemas.microsoft.com/office/drawing/2014/main" id="{6E6EA911-71DE-4472-8060-1C3CF31DF073}"/>
              </a:ext>
            </a:extLst>
          </p:cNvPr>
          <p:cNvSpPr>
            <a:spLocks noChangeArrowheads="1"/>
          </p:cNvSpPr>
          <p:nvPr>
            <p:custDataLst>
              <p:tags r:id="rId21"/>
            </p:custDataLst>
          </p:nvPr>
        </p:nvSpPr>
        <p:spPr bwMode="gray">
          <a:xfrm>
            <a:off x="5705597" y="4127139"/>
            <a:ext cx="1820184" cy="738664"/>
          </a:xfrm>
          <a:prstGeom prst="rect">
            <a:avLst/>
          </a:prstGeom>
          <a:noFill/>
          <a:ln w="9525">
            <a:noFill/>
            <a:miter lim="800000"/>
            <a:headEnd/>
            <a:tailEnd/>
          </a:ln>
        </p:spPr>
        <p:txBody>
          <a:bodyPr wrap="square" lIns="0" tIns="0" rIns="0" bIns="0">
            <a:spAutoFit/>
          </a:bodyPr>
          <a:lstStyle/>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b="1" dirty="0">
                <a:solidFill>
                  <a:srgbClr val="006600"/>
                </a:solidFill>
                <a:latin typeface="Calibri" panose="020F0502020204030204"/>
                <a:ea typeface="MS PGothic" pitchFamily="34" charset="-128"/>
              </a:rPr>
              <a:t>Only 1 in 4 Children (33%) </a:t>
            </a:r>
            <a:r>
              <a:rPr lang="en-US" sz="1200" dirty="0">
                <a:latin typeface="Calibri" panose="020F0502020204030204"/>
                <a:ea typeface="MS PGothic" pitchFamily="34" charset="-128"/>
              </a:rPr>
              <a:t>are fully immunized</a:t>
            </a:r>
          </a:p>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dirty="0">
                <a:latin typeface="Calibri" panose="020F0502020204030204"/>
                <a:ea typeface="MS PGothic" pitchFamily="34" charset="-128"/>
              </a:rPr>
              <a:t>Only 42% immunized for measles  </a:t>
            </a:r>
          </a:p>
        </p:txBody>
      </p:sp>
      <p:pic>
        <p:nvPicPr>
          <p:cNvPr id="10" name="Picture 9"/>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4511065" y="2610875"/>
            <a:ext cx="1513708" cy="1007303"/>
          </a:xfrm>
          <a:prstGeom prst="rect">
            <a:avLst/>
          </a:prstGeom>
        </p:spPr>
      </p:pic>
      <p:pic>
        <p:nvPicPr>
          <p:cNvPr id="11" name="Picture 10"/>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4493752" y="3931636"/>
            <a:ext cx="979105" cy="1129016"/>
          </a:xfrm>
          <a:prstGeom prst="rect">
            <a:avLst/>
          </a:prstGeom>
        </p:spPr>
      </p:pic>
      <p:sp>
        <p:nvSpPr>
          <p:cNvPr id="55" name="Rectangle 22">
            <a:extLst>
              <a:ext uri="{FF2B5EF4-FFF2-40B4-BE49-F238E27FC236}">
                <a16:creationId xmlns:a16="http://schemas.microsoft.com/office/drawing/2014/main" id="{6E6EA911-71DE-4472-8060-1C3CF31DF073}"/>
              </a:ext>
            </a:extLst>
          </p:cNvPr>
          <p:cNvSpPr>
            <a:spLocks noChangeArrowheads="1"/>
          </p:cNvSpPr>
          <p:nvPr>
            <p:custDataLst>
              <p:tags r:id="rId22"/>
            </p:custDataLst>
          </p:nvPr>
        </p:nvSpPr>
        <p:spPr bwMode="gray">
          <a:xfrm>
            <a:off x="6052635" y="5384551"/>
            <a:ext cx="1820184" cy="738664"/>
          </a:xfrm>
          <a:prstGeom prst="rect">
            <a:avLst/>
          </a:prstGeom>
          <a:noFill/>
          <a:ln w="9525">
            <a:noFill/>
            <a:miter lim="800000"/>
            <a:headEnd/>
            <a:tailEnd/>
          </a:ln>
        </p:spPr>
        <p:txBody>
          <a:bodyPr wrap="square" lIns="0" tIns="0" rIns="0" bIns="0">
            <a:spAutoFit/>
          </a:bodyPr>
          <a:lstStyle/>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b="1" dirty="0">
                <a:solidFill>
                  <a:srgbClr val="006600"/>
                </a:solidFill>
                <a:latin typeface="Calibri" panose="020F0502020204030204"/>
                <a:ea typeface="MS PGothic" pitchFamily="34" charset="-128"/>
              </a:rPr>
              <a:t>Only 18% received </a:t>
            </a:r>
            <a:r>
              <a:rPr lang="en-US" sz="1200" dirty="0">
                <a:latin typeface="Calibri" panose="020F0502020204030204"/>
                <a:ea typeface="MS PGothic" pitchFamily="34" charset="-128"/>
              </a:rPr>
              <a:t>treatment for diarrhea</a:t>
            </a:r>
          </a:p>
          <a:p>
            <a:pPr marL="175901" lvl="1" indent="-174468" defTabSz="813226" eaLnBrk="0" fontAlgn="base" hangingPunct="0">
              <a:spcBef>
                <a:spcPct val="0"/>
              </a:spcBef>
              <a:spcAft>
                <a:spcPct val="0"/>
              </a:spcAft>
              <a:buClr>
                <a:srgbClr val="036803"/>
              </a:buClr>
              <a:buSzPct val="125000"/>
              <a:buFont typeface="Arial" charset="0"/>
              <a:buChar char="▪"/>
              <a:defRPr/>
            </a:pPr>
            <a:r>
              <a:rPr lang="en-US" sz="1200" dirty="0">
                <a:latin typeface="Calibri" panose="020F0502020204030204"/>
                <a:ea typeface="MS PGothic" pitchFamily="34" charset="-128"/>
              </a:rPr>
              <a:t>Only 20.6%  treated for fever </a:t>
            </a:r>
          </a:p>
        </p:txBody>
      </p:sp>
      <p:pic>
        <p:nvPicPr>
          <p:cNvPr id="12" name="Picture 11"/>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4531297" y="5297649"/>
            <a:ext cx="1513708" cy="1007304"/>
          </a:xfrm>
          <a:prstGeom prst="rect">
            <a:avLst/>
          </a:prstGeom>
        </p:spPr>
      </p:pic>
      <p:sp>
        <p:nvSpPr>
          <p:cNvPr id="13" name="Rectangle 12"/>
          <p:cNvSpPr/>
          <p:nvPr/>
        </p:nvSpPr>
        <p:spPr>
          <a:xfrm>
            <a:off x="9582213" y="1721907"/>
            <a:ext cx="2410923" cy="736051"/>
          </a:xfrm>
          <a:prstGeom prst="rect">
            <a:avLst/>
          </a:prstGeom>
          <a:solidFill>
            <a:schemeClr val="accent6">
              <a:lumMod val="20000"/>
              <a:lumOff val="80000"/>
            </a:schemeClr>
          </a:solidFill>
        </p:spPr>
        <p:style>
          <a:lnRef idx="2">
            <a:schemeClr val="accent6"/>
          </a:lnRef>
          <a:fillRef idx="1">
            <a:schemeClr val="lt1"/>
          </a:fillRef>
          <a:effectRef idx="0">
            <a:schemeClr val="accent6"/>
          </a:effectRef>
          <a:fontRef idx="minor">
            <a:schemeClr val="dk1"/>
          </a:fontRef>
        </p:style>
        <p:txBody>
          <a:bodyPr lIns="91401" tIns="45702" rIns="91401" bIns="45702" rtlCol="0" anchor="ctr"/>
          <a:lstStyle/>
          <a:p>
            <a:pPr algn="ctr"/>
            <a:r>
              <a:rPr lang="en-US" dirty="0">
                <a:latin typeface="Bahnschrift SemiCondensed" panose="020B0502040204020203" pitchFamily="34" charset="0"/>
              </a:rPr>
              <a:t>Poor health outcomes</a:t>
            </a:r>
          </a:p>
        </p:txBody>
      </p:sp>
      <p:sp>
        <p:nvSpPr>
          <p:cNvPr id="56" name="Rectangle 55"/>
          <p:cNvSpPr/>
          <p:nvPr/>
        </p:nvSpPr>
        <p:spPr>
          <a:xfrm>
            <a:off x="4479268" y="1721907"/>
            <a:ext cx="2906627" cy="736051"/>
          </a:xfrm>
          <a:prstGeom prst="rect">
            <a:avLst/>
          </a:prstGeom>
          <a:solidFill>
            <a:schemeClr val="accent6">
              <a:lumMod val="20000"/>
              <a:lumOff val="80000"/>
            </a:schemeClr>
          </a:solidFill>
        </p:spPr>
        <p:style>
          <a:lnRef idx="2">
            <a:schemeClr val="accent6"/>
          </a:lnRef>
          <a:fillRef idx="1">
            <a:schemeClr val="lt1"/>
          </a:fillRef>
          <a:effectRef idx="0">
            <a:schemeClr val="accent6"/>
          </a:effectRef>
          <a:fontRef idx="minor">
            <a:schemeClr val="dk1"/>
          </a:fontRef>
        </p:style>
        <p:txBody>
          <a:bodyPr lIns="91401" tIns="45702" rIns="91401" bIns="45702" rtlCol="0" anchor="ctr"/>
          <a:lstStyle/>
          <a:p>
            <a:pPr algn="ctr"/>
            <a:r>
              <a:rPr lang="en-US" dirty="0">
                <a:latin typeface="Bahnschrift SemiCondensed" panose="020B0502040204020203" pitchFamily="34" charset="0"/>
              </a:rPr>
              <a:t>Poor coverage with health interventions </a:t>
            </a:r>
          </a:p>
        </p:txBody>
      </p:sp>
      <p:sp>
        <p:nvSpPr>
          <p:cNvPr id="57" name="Rectangle 56"/>
          <p:cNvSpPr/>
          <p:nvPr/>
        </p:nvSpPr>
        <p:spPr>
          <a:xfrm>
            <a:off x="198876" y="1718057"/>
            <a:ext cx="2410923" cy="736051"/>
          </a:xfrm>
          <a:prstGeom prst="rect">
            <a:avLst/>
          </a:prstGeom>
          <a:solidFill>
            <a:schemeClr val="accent6">
              <a:lumMod val="20000"/>
              <a:lumOff val="80000"/>
            </a:schemeClr>
          </a:solidFill>
        </p:spPr>
        <p:style>
          <a:lnRef idx="2">
            <a:schemeClr val="accent6"/>
          </a:lnRef>
          <a:fillRef idx="1">
            <a:schemeClr val="lt1"/>
          </a:fillRef>
          <a:effectRef idx="0">
            <a:schemeClr val="accent6"/>
          </a:effectRef>
          <a:fontRef idx="minor">
            <a:schemeClr val="dk1"/>
          </a:fontRef>
        </p:style>
        <p:txBody>
          <a:bodyPr lIns="91401" tIns="45702" rIns="91401" bIns="45702" rtlCol="0" anchor="ctr"/>
          <a:lstStyle/>
          <a:p>
            <a:pPr algn="ctr"/>
            <a:r>
              <a:rPr lang="en-US" dirty="0">
                <a:latin typeface="Bahnschrift SemiCondensed" panose="020B0502040204020203" pitchFamily="34" charset="0"/>
              </a:rPr>
              <a:t>Weak health system  &amp; poor demand </a:t>
            </a:r>
          </a:p>
        </p:txBody>
      </p:sp>
      <p:cxnSp>
        <p:nvCxnSpPr>
          <p:cNvPr id="19" name="Straight Arrow Connector 18"/>
          <p:cNvCxnSpPr>
            <a:cxnSpLocks/>
          </p:cNvCxnSpPr>
          <p:nvPr/>
        </p:nvCxnSpPr>
        <p:spPr>
          <a:xfrm rot="10800000" flipH="1">
            <a:off x="2981139" y="2092312"/>
            <a:ext cx="1185060" cy="504"/>
          </a:xfrm>
          <a:prstGeom prst="straightConnector1">
            <a:avLst/>
          </a:prstGeom>
          <a:ln w="571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cxnSpLocks/>
          </p:cNvCxnSpPr>
          <p:nvPr/>
        </p:nvCxnSpPr>
        <p:spPr>
          <a:xfrm rot="10800000" flipH="1">
            <a:off x="7660747" y="2068169"/>
            <a:ext cx="1417188" cy="2005"/>
          </a:xfrm>
          <a:prstGeom prst="straightConnector1">
            <a:avLst/>
          </a:prstGeom>
          <a:ln w="571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4AE385AE-CD2B-4BEA-B981-D288F146F65B}"/>
              </a:ext>
            </a:extLst>
          </p:cNvPr>
          <p:cNvSpPr/>
          <p:nvPr/>
        </p:nvSpPr>
        <p:spPr>
          <a:xfrm>
            <a:off x="7716" y="1091908"/>
            <a:ext cx="12184284" cy="400073"/>
          </a:xfrm>
          <a:prstGeom prst="rect">
            <a:avLst/>
          </a:prstGeom>
        </p:spPr>
        <p:txBody>
          <a:bodyPr wrap="square" lIns="91401" tIns="45702" rIns="91401" bIns="45702">
            <a:spAutoFit/>
          </a:bodyPr>
          <a:lstStyle/>
          <a:p>
            <a:pPr algn="ctr">
              <a:defRPr/>
            </a:pPr>
            <a:r>
              <a:rPr lang="en-US" sz="2000" b="1" dirty="0">
                <a:solidFill>
                  <a:srgbClr val="C00000"/>
                </a:solidFill>
                <a:latin typeface="Arial" panose="020B0604020202020204" pitchFamily="34" charset="0"/>
                <a:cs typeface="Arial" panose="020B0604020202020204" pitchFamily="34" charset="0"/>
              </a:rPr>
              <a:t>Everyday, Nigeria loses about 2,300 children under age of 5; and 145 Women of Child Bearing Age</a:t>
            </a:r>
          </a:p>
        </p:txBody>
      </p:sp>
    </p:spTree>
    <p:extLst>
      <p:ext uri="{BB962C8B-B14F-4D97-AF65-F5344CB8AC3E}">
        <p14:creationId xmlns:p14="http://schemas.microsoft.com/office/powerpoint/2010/main" val="32847665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AEEA68-CF75-4C09-8122-1A0D0B93AC7D}"/>
              </a:ext>
            </a:extLst>
          </p:cNvPr>
          <p:cNvGraphicFramePr>
            <a:graphicFrameLocks noChangeAspect="1"/>
          </p:cNvGraphicFramePr>
          <p:nvPr>
            <p:custDataLst>
              <p:tags r:id="rId2"/>
            </p:custDataLst>
            <p:extLst/>
          </p:nvPr>
        </p:nvGraphicFramePr>
        <p:xfrm>
          <a:off x="2121" y="1591"/>
          <a:ext cx="2117" cy="1588"/>
        </p:xfrm>
        <a:graphic>
          <a:graphicData uri="http://schemas.openxmlformats.org/presentationml/2006/ole">
            <mc:AlternateContent xmlns:mc="http://schemas.openxmlformats.org/markup-compatibility/2006">
              <mc:Choice xmlns:v="urn:schemas-microsoft-com:vml" Requires="v">
                <p:oleObj spid="_x0000_s621595" name="think-cell Slide" r:id="rId6" imgW="416" imgH="416" progId="TCLayout.ActiveDocument.1">
                  <p:embed/>
                </p:oleObj>
              </mc:Choice>
              <mc:Fallback>
                <p:oleObj name="think-cell Slide" r:id="rId6" imgW="416" imgH="416" progId="TCLayout.ActiveDocument.1">
                  <p:embed/>
                  <p:pic>
                    <p:nvPicPr>
                      <p:cNvPr id="6" name="Object 5" hidden="1">
                        <a:extLst>
                          <a:ext uri="{FF2B5EF4-FFF2-40B4-BE49-F238E27FC236}">
                            <a16:creationId xmlns:a16="http://schemas.microsoft.com/office/drawing/2014/main" id="{2CAEEA68-CF75-4C09-8122-1A0D0B93AC7D}"/>
                          </a:ext>
                        </a:extLst>
                      </p:cNvPr>
                      <p:cNvPicPr/>
                      <p:nvPr/>
                    </p:nvPicPr>
                    <p:blipFill>
                      <a:blip r:embed="rId7"/>
                      <a:stretch>
                        <a:fillRect/>
                      </a:stretch>
                    </p:blipFill>
                    <p:spPr>
                      <a:xfrm>
                        <a:off x="2121" y="1591"/>
                        <a:ext cx="2117"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7CEDC8-2451-4D78-ADA4-4D6573797D7B}"/>
              </a:ext>
            </a:extLst>
          </p:cNvPr>
          <p:cNvSpPr/>
          <p:nvPr>
            <p:custDataLst>
              <p:tags r:id="rId3"/>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1969">
              <a:lnSpc>
                <a:spcPct val="90000"/>
              </a:lnSpc>
              <a:spcBef>
                <a:spcPct val="0"/>
              </a:spcBef>
              <a:spcAft>
                <a:spcPct val="0"/>
              </a:spcAft>
            </a:pPr>
            <a:endParaRPr lang="en-US" sz="2900" b="1" i="1" dirty="0">
              <a:solidFill>
                <a:prstClr val="white"/>
              </a:solidFill>
              <a:latin typeface="Calibri Light" panose="020F0302020204030204" pitchFamily="34" charset="0"/>
              <a:sym typeface="Calibri Light" panose="020F0302020204030204" pitchFamily="34" charset="0"/>
            </a:endParaRPr>
          </a:p>
        </p:txBody>
      </p:sp>
      <p:sp>
        <p:nvSpPr>
          <p:cNvPr id="54" name="Rectangle 2">
            <a:extLst>
              <a:ext uri="{FF2B5EF4-FFF2-40B4-BE49-F238E27FC236}">
                <a16:creationId xmlns:a16="http://schemas.microsoft.com/office/drawing/2014/main" id="{D9CD46B5-8E37-4299-9762-31D95598E750}"/>
              </a:ext>
            </a:extLst>
          </p:cNvPr>
          <p:cNvSpPr txBox="1">
            <a:spLocks noChangeArrowheads="1"/>
          </p:cNvSpPr>
          <p:nvPr>
            <p:custDataLst>
              <p:tags r:id="rId4"/>
            </p:custDataLst>
          </p:nvPr>
        </p:nvSpPr>
        <p:spPr bwMode="gray">
          <a:xfrm>
            <a:off x="1044386" y="225952"/>
            <a:ext cx="10057371" cy="42450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199" tIns="45607" rIns="91199" bIns="45607" rtlCol="0" anchor="ctr">
            <a:spAutoFit/>
          </a:bodyPr>
          <a:lstStyle>
            <a:defPPr>
              <a:defRPr lang="en-US"/>
            </a:defPPr>
            <a:lvl1pPr>
              <a:lnSpc>
                <a:spcPct val="90000"/>
              </a:lnSpc>
              <a:spcBef>
                <a:spcPct val="0"/>
              </a:spcBef>
              <a:buNone/>
              <a:defRPr sz="3200" b="1">
                <a:solidFill>
                  <a:srgbClr val="204024"/>
                </a:solidFill>
                <a:latin typeface="+mj-lt"/>
                <a:ea typeface="+mj-ea"/>
                <a:cs typeface="+mj-cs"/>
              </a:defRPr>
            </a:lvl1pPr>
            <a:lvl2pPr defTabSz="669832">
              <a:defRPr sz="1397" b="1">
                <a:solidFill>
                  <a:schemeClr val="tx2"/>
                </a:solidFill>
                <a:latin typeface="Arial" panose="020B0604020202020204" pitchFamily="34" charset="0"/>
              </a:defRPr>
            </a:lvl2pPr>
            <a:lvl3pPr defTabSz="669832">
              <a:defRPr sz="1397" b="1">
                <a:solidFill>
                  <a:schemeClr val="tx2"/>
                </a:solidFill>
                <a:latin typeface="Arial" panose="020B0604020202020204" pitchFamily="34" charset="0"/>
              </a:defRPr>
            </a:lvl3pPr>
            <a:lvl4pPr defTabSz="669832">
              <a:defRPr sz="1397" b="1">
                <a:solidFill>
                  <a:schemeClr val="tx2"/>
                </a:solidFill>
                <a:latin typeface="Arial" panose="020B0604020202020204" pitchFamily="34" charset="0"/>
              </a:defRPr>
            </a:lvl4pPr>
            <a:lvl5pPr defTabSz="669832">
              <a:defRPr sz="1397" b="1">
                <a:solidFill>
                  <a:schemeClr val="tx2"/>
                </a:solidFill>
                <a:latin typeface="Arial" panose="020B0604020202020204" pitchFamily="34" charset="0"/>
              </a:defRPr>
            </a:lvl5pPr>
            <a:lvl6pPr marL="342042" defTabSz="669832" fontAlgn="base">
              <a:spcBef>
                <a:spcPct val="0"/>
              </a:spcBef>
              <a:spcAft>
                <a:spcPct val="0"/>
              </a:spcAft>
              <a:defRPr sz="1397" b="1">
                <a:solidFill>
                  <a:schemeClr val="tx2"/>
                </a:solidFill>
                <a:latin typeface="Arial" panose="020B0604020202020204" pitchFamily="34" charset="0"/>
              </a:defRPr>
            </a:lvl6pPr>
            <a:lvl7pPr marL="684086" defTabSz="669832" fontAlgn="base">
              <a:spcBef>
                <a:spcPct val="0"/>
              </a:spcBef>
              <a:spcAft>
                <a:spcPct val="0"/>
              </a:spcAft>
              <a:defRPr sz="1397" b="1">
                <a:solidFill>
                  <a:schemeClr val="tx2"/>
                </a:solidFill>
                <a:latin typeface="Arial" panose="020B0604020202020204" pitchFamily="34" charset="0"/>
              </a:defRPr>
            </a:lvl7pPr>
            <a:lvl8pPr marL="1026120" defTabSz="669832" fontAlgn="base">
              <a:spcBef>
                <a:spcPct val="0"/>
              </a:spcBef>
              <a:spcAft>
                <a:spcPct val="0"/>
              </a:spcAft>
              <a:defRPr sz="1397" b="1">
                <a:solidFill>
                  <a:schemeClr val="tx2"/>
                </a:solidFill>
                <a:latin typeface="Arial" panose="020B0604020202020204" pitchFamily="34" charset="0"/>
              </a:defRPr>
            </a:lvl8pPr>
            <a:lvl9pPr marL="1368168" defTabSz="669832" fontAlgn="base">
              <a:spcBef>
                <a:spcPct val="0"/>
              </a:spcBef>
              <a:spcAft>
                <a:spcPct val="0"/>
              </a:spcAft>
              <a:defRPr sz="1397" b="1">
                <a:solidFill>
                  <a:schemeClr val="tx2"/>
                </a:solidFill>
                <a:latin typeface="Arial" panose="020B0604020202020204" pitchFamily="34" charset="0"/>
              </a:defRPr>
            </a:lvl9pPr>
          </a:lstStyle>
          <a:p>
            <a:pPr defTabSz="911969"/>
            <a:r>
              <a:rPr lang="en-GB" sz="2400" dirty="0">
                <a:solidFill>
                  <a:schemeClr val="accent6">
                    <a:lumMod val="50000"/>
                  </a:schemeClr>
                </a:solidFill>
                <a:latin typeface="Arial" panose="020B0604020202020204" pitchFamily="34" charset="0"/>
                <a:cs typeface="Arial" panose="020B0604020202020204" pitchFamily="34" charset="0"/>
              </a:rPr>
              <a:t>Why a focus on Primary Health Care?</a:t>
            </a:r>
          </a:p>
        </p:txBody>
      </p:sp>
      <p:sp>
        <p:nvSpPr>
          <p:cNvPr id="79" name="Slide Number Placeholder 2">
            <a:extLst>
              <a:ext uri="{FF2B5EF4-FFF2-40B4-BE49-F238E27FC236}">
                <a16:creationId xmlns:a16="http://schemas.microsoft.com/office/drawing/2014/main" id="{11A325C5-0C70-42F4-9E88-7A8E84C6717A}"/>
              </a:ext>
            </a:extLst>
          </p:cNvPr>
          <p:cNvSpPr txBox="1">
            <a:spLocks/>
          </p:cNvSpPr>
          <p:nvPr/>
        </p:nvSpPr>
        <p:spPr>
          <a:xfrm>
            <a:off x="9421728" y="6492900"/>
            <a:ext cx="2743201" cy="365125"/>
          </a:xfrm>
          <a:prstGeom prst="rect">
            <a:avLst/>
          </a:prstGeom>
        </p:spPr>
        <p:txBody>
          <a:bodyPr vert="horz" lIns="91199" tIns="45607" rIns="91199" bIns="45607" rtlCol="0" anchor="ctr"/>
          <a:lstStyle>
            <a:defPPr>
              <a:defRPr lang="en-US"/>
            </a:defPPr>
            <a:lvl1pPr marL="0" algn="r" defTabSz="914196" rtl="0" eaLnBrk="1" latinLnBrk="0" hangingPunct="1">
              <a:defRPr sz="1200" kern="1200">
                <a:solidFill>
                  <a:schemeClr val="tx1">
                    <a:tint val="75000"/>
                  </a:schemeClr>
                </a:solidFill>
                <a:latin typeface="+mn-lt"/>
                <a:ea typeface="+mn-ea"/>
                <a:cs typeface="+mn-cs"/>
              </a:defRPr>
            </a:lvl1pPr>
            <a:lvl2pPr marL="457095" algn="l" defTabSz="914196" rtl="0" eaLnBrk="1" latinLnBrk="0" hangingPunct="1">
              <a:defRPr sz="1900" kern="1200">
                <a:solidFill>
                  <a:schemeClr val="tx1"/>
                </a:solidFill>
                <a:latin typeface="+mn-lt"/>
                <a:ea typeface="+mn-ea"/>
                <a:cs typeface="+mn-cs"/>
              </a:defRPr>
            </a:lvl2pPr>
            <a:lvl3pPr marL="914196" algn="l" defTabSz="914196" rtl="0" eaLnBrk="1" latinLnBrk="0" hangingPunct="1">
              <a:defRPr sz="1900" kern="1200">
                <a:solidFill>
                  <a:schemeClr val="tx1"/>
                </a:solidFill>
                <a:latin typeface="+mn-lt"/>
                <a:ea typeface="+mn-ea"/>
                <a:cs typeface="+mn-cs"/>
              </a:defRPr>
            </a:lvl3pPr>
            <a:lvl4pPr marL="1371294" algn="l" defTabSz="914196" rtl="0" eaLnBrk="1" latinLnBrk="0" hangingPunct="1">
              <a:defRPr sz="1900" kern="1200">
                <a:solidFill>
                  <a:schemeClr val="tx1"/>
                </a:solidFill>
                <a:latin typeface="+mn-lt"/>
                <a:ea typeface="+mn-ea"/>
                <a:cs typeface="+mn-cs"/>
              </a:defRPr>
            </a:lvl4pPr>
            <a:lvl5pPr marL="1828392" algn="l" defTabSz="914196" rtl="0" eaLnBrk="1" latinLnBrk="0" hangingPunct="1">
              <a:defRPr sz="1900" kern="1200">
                <a:solidFill>
                  <a:schemeClr val="tx1"/>
                </a:solidFill>
                <a:latin typeface="+mn-lt"/>
                <a:ea typeface="+mn-ea"/>
                <a:cs typeface="+mn-cs"/>
              </a:defRPr>
            </a:lvl5pPr>
            <a:lvl6pPr marL="2285494" algn="l" defTabSz="914196" rtl="0" eaLnBrk="1" latinLnBrk="0" hangingPunct="1">
              <a:defRPr sz="1900" kern="1200">
                <a:solidFill>
                  <a:schemeClr val="tx1"/>
                </a:solidFill>
                <a:latin typeface="+mn-lt"/>
                <a:ea typeface="+mn-ea"/>
                <a:cs typeface="+mn-cs"/>
              </a:defRPr>
            </a:lvl6pPr>
            <a:lvl7pPr marL="2742586" algn="l" defTabSz="914196" rtl="0" eaLnBrk="1" latinLnBrk="0" hangingPunct="1">
              <a:defRPr sz="1900" kern="1200">
                <a:solidFill>
                  <a:schemeClr val="tx1"/>
                </a:solidFill>
                <a:latin typeface="+mn-lt"/>
                <a:ea typeface="+mn-ea"/>
                <a:cs typeface="+mn-cs"/>
              </a:defRPr>
            </a:lvl7pPr>
            <a:lvl8pPr marL="3199680" algn="l" defTabSz="914196" rtl="0" eaLnBrk="1" latinLnBrk="0" hangingPunct="1">
              <a:defRPr sz="1900" kern="1200">
                <a:solidFill>
                  <a:schemeClr val="tx1"/>
                </a:solidFill>
                <a:latin typeface="+mn-lt"/>
                <a:ea typeface="+mn-ea"/>
                <a:cs typeface="+mn-cs"/>
              </a:defRPr>
            </a:lvl8pPr>
            <a:lvl9pPr marL="3656775" algn="l" defTabSz="914196" rtl="0" eaLnBrk="1" latinLnBrk="0" hangingPunct="1">
              <a:defRPr sz="1900" kern="1200">
                <a:solidFill>
                  <a:schemeClr val="tx1"/>
                </a:solidFill>
                <a:latin typeface="+mn-lt"/>
                <a:ea typeface="+mn-ea"/>
                <a:cs typeface="+mn-cs"/>
              </a:defRPr>
            </a:lvl9pPr>
          </a:lstStyle>
          <a:p>
            <a:pPr defTabSz="914013" fontAlgn="base">
              <a:spcBef>
                <a:spcPct val="0"/>
              </a:spcBef>
              <a:spcAft>
                <a:spcPct val="0"/>
              </a:spcAft>
            </a:pPr>
            <a:fld id="{978E596B-AA80-4BB2-8707-B351070E738D}" type="slidenum">
              <a:rPr lang="en-US" sz="1600" b="1">
                <a:solidFill>
                  <a:schemeClr val="bg1"/>
                </a:solidFill>
              </a:rPr>
              <a:pPr defTabSz="914013" fontAlgn="base">
                <a:spcBef>
                  <a:spcPct val="0"/>
                </a:spcBef>
                <a:spcAft>
                  <a:spcPct val="0"/>
                </a:spcAft>
              </a:pPr>
              <a:t>8</a:t>
            </a:fld>
            <a:endParaRPr lang="en-US" sz="1600" b="1" dirty="0">
              <a:solidFill>
                <a:schemeClr val="bg1"/>
              </a:solidFill>
            </a:endParaRPr>
          </a:p>
        </p:txBody>
      </p:sp>
      <p:sp>
        <p:nvSpPr>
          <p:cNvPr id="87" name="Title 1">
            <a:extLst>
              <a:ext uri="{FF2B5EF4-FFF2-40B4-BE49-F238E27FC236}">
                <a16:creationId xmlns:a16="http://schemas.microsoft.com/office/drawing/2014/main" id="{45DE414D-38F2-42BD-B620-391642C13B66}"/>
              </a:ext>
            </a:extLst>
          </p:cNvPr>
          <p:cNvSpPr txBox="1">
            <a:spLocks/>
          </p:cNvSpPr>
          <p:nvPr/>
        </p:nvSpPr>
        <p:spPr bwMode="auto">
          <a:xfrm>
            <a:off x="753037" y="996856"/>
            <a:ext cx="10529047" cy="5170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8" b="1" i="0" baseline="0">
                <a:solidFill>
                  <a:srgbClr val="25734D"/>
                </a:solidFill>
                <a:latin typeface="Arial"/>
                <a:ea typeface="+mj-ea"/>
                <a:cs typeface="Arial"/>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defTabSz="913137">
              <a:tabLst>
                <a:tab pos="275237" algn="l"/>
              </a:tabLst>
              <a:defRPr/>
            </a:pPr>
            <a:r>
              <a:rPr lang="en-GB" sz="2100" kern="0" dirty="0">
                <a:solidFill>
                  <a:srgbClr val="339966"/>
                </a:solidFill>
              </a:rPr>
              <a:t>An Effective Primary Health Care System is the Foundation for Achieving Universal Health Coverage</a:t>
            </a:r>
            <a:br>
              <a:rPr lang="en-GB" sz="2100" kern="0" dirty="0">
                <a:solidFill>
                  <a:srgbClr val="339966"/>
                </a:solidFill>
              </a:rPr>
            </a:br>
            <a:br>
              <a:rPr lang="en-GB" sz="2100" kern="0" dirty="0">
                <a:solidFill>
                  <a:srgbClr val="339966"/>
                </a:solidFill>
              </a:rPr>
            </a:br>
            <a:br>
              <a:rPr lang="en-GB" sz="2100" kern="0" dirty="0">
                <a:solidFill>
                  <a:srgbClr val="339966"/>
                </a:solidFill>
              </a:rPr>
            </a:br>
            <a:br>
              <a:rPr lang="en-GB" sz="2100" kern="0" dirty="0">
                <a:solidFill>
                  <a:srgbClr val="339966"/>
                </a:solidFill>
              </a:rPr>
            </a:br>
            <a:br>
              <a:rPr lang="en-GB" sz="2100" kern="0" dirty="0">
                <a:solidFill>
                  <a:srgbClr val="339966"/>
                </a:solidFill>
              </a:rPr>
            </a:br>
            <a:br>
              <a:rPr lang="en-GB" sz="2100" kern="0" dirty="0">
                <a:solidFill>
                  <a:srgbClr val="339966"/>
                </a:solidFill>
              </a:rPr>
            </a:br>
            <a:br>
              <a:rPr lang="en-GB" sz="2100" kern="0" dirty="0">
                <a:solidFill>
                  <a:srgbClr val="339966"/>
                </a:solidFill>
              </a:rPr>
            </a:br>
            <a:br>
              <a:rPr lang="en-GB" sz="2100" kern="0" dirty="0">
                <a:solidFill>
                  <a:srgbClr val="339966"/>
                </a:solidFill>
              </a:rPr>
            </a:br>
            <a:br>
              <a:rPr lang="en-GB" sz="2100" kern="0" dirty="0">
                <a:solidFill>
                  <a:srgbClr val="339966"/>
                </a:solidFill>
              </a:rPr>
            </a:br>
            <a:r>
              <a:rPr lang="en-US" sz="2100" kern="0" dirty="0">
                <a:solidFill>
                  <a:srgbClr val="339966"/>
                </a:solidFill>
              </a:rPr>
              <a:t>Changing Nigeria’s health indices Nigeria requires that an effective PHC delivery system is in place for both facility- and community based services </a:t>
            </a:r>
            <a:br>
              <a:rPr lang="en-GB" sz="2400" kern="0" dirty="0">
                <a:ln w="0"/>
                <a:solidFill>
                  <a:srgbClr val="C00000"/>
                </a:solidFill>
                <a:effectLst>
                  <a:outerShdw blurRad="38100" dist="19050" dir="2700000" algn="tl" rotWithShape="0">
                    <a:srgbClr val="1F1F1F">
                      <a:alpha val="40000"/>
                    </a:srgbClr>
                  </a:outerShdw>
                </a:effectLst>
              </a:rPr>
            </a:br>
            <a:br>
              <a:rPr lang="en-GB" sz="2100" kern="0" dirty="0">
                <a:solidFill>
                  <a:srgbClr val="339966"/>
                </a:solidFill>
              </a:rPr>
            </a:br>
            <a:r>
              <a:rPr lang="en-GB" sz="2100" kern="0" dirty="0">
                <a:solidFill>
                  <a:srgbClr val="339966"/>
                </a:solidFill>
              </a:rPr>
              <a:t>Additionally, without strengthening the PHC system in Nigeria, the Basic Health Care Provision Funding mechanism cannot be implemented effectively</a:t>
            </a:r>
            <a:br>
              <a:rPr lang="en-GB" sz="2100" kern="0" dirty="0">
                <a:solidFill>
                  <a:srgbClr val="339966"/>
                </a:solidFill>
              </a:rPr>
            </a:br>
            <a:endParaRPr lang="en-GB" sz="2100" kern="0" dirty="0">
              <a:solidFill>
                <a:srgbClr val="339966"/>
              </a:solidFill>
            </a:endParaRPr>
          </a:p>
        </p:txBody>
      </p:sp>
      <p:grpSp>
        <p:nvGrpSpPr>
          <p:cNvPr id="88" name="Group 87">
            <a:extLst>
              <a:ext uri="{FF2B5EF4-FFF2-40B4-BE49-F238E27FC236}">
                <a16:creationId xmlns:a16="http://schemas.microsoft.com/office/drawing/2014/main" id="{1DC925E0-7FEB-48D3-B606-945991DC72D0}"/>
              </a:ext>
            </a:extLst>
          </p:cNvPr>
          <p:cNvGrpSpPr/>
          <p:nvPr/>
        </p:nvGrpSpPr>
        <p:grpSpPr>
          <a:xfrm>
            <a:off x="879437" y="1377736"/>
            <a:ext cx="10168675" cy="2801405"/>
            <a:chOff x="879433" y="2459260"/>
            <a:chExt cx="10168674" cy="2801405"/>
          </a:xfrm>
        </p:grpSpPr>
        <p:sp>
          <p:nvSpPr>
            <p:cNvPr id="89" name="Right Arrow 7">
              <a:extLst>
                <a:ext uri="{FF2B5EF4-FFF2-40B4-BE49-F238E27FC236}">
                  <a16:creationId xmlns:a16="http://schemas.microsoft.com/office/drawing/2014/main" id="{BCC1D768-6EFB-4461-992D-9F942E00DD59}"/>
                </a:ext>
              </a:extLst>
            </p:cNvPr>
            <p:cNvSpPr/>
            <p:nvPr/>
          </p:nvSpPr>
          <p:spPr>
            <a:xfrm>
              <a:off x="1637515" y="2459260"/>
              <a:ext cx="8652509" cy="2801405"/>
            </a:xfrm>
            <a:prstGeom prst="rightArrow">
              <a:avLst/>
            </a:prstGeom>
            <a:solidFill>
              <a:srgbClr val="339966">
                <a:tint val="40000"/>
                <a:hueOff val="0"/>
                <a:satOff val="0"/>
                <a:lumOff val="0"/>
                <a:alphaOff val="0"/>
              </a:srgbClr>
            </a:solidFill>
            <a:ln>
              <a:noFill/>
            </a:ln>
            <a:effectLst/>
          </p:spPr>
        </p:sp>
        <p:sp>
          <p:nvSpPr>
            <p:cNvPr id="90" name="Freeform 8">
              <a:extLst>
                <a:ext uri="{FF2B5EF4-FFF2-40B4-BE49-F238E27FC236}">
                  <a16:creationId xmlns:a16="http://schemas.microsoft.com/office/drawing/2014/main" id="{0DEBC486-115A-43D2-BA7B-95CC00DB2AAE}"/>
                </a:ext>
              </a:extLst>
            </p:cNvPr>
            <p:cNvSpPr/>
            <p:nvPr/>
          </p:nvSpPr>
          <p:spPr>
            <a:xfrm>
              <a:off x="879433" y="3299681"/>
              <a:ext cx="3270102" cy="1120562"/>
            </a:xfrm>
            <a:custGeom>
              <a:avLst/>
              <a:gdLst>
                <a:gd name="connsiteX0" fmla="*/ 0 w 3270102"/>
                <a:gd name="connsiteY0" fmla="*/ 186764 h 1120562"/>
                <a:gd name="connsiteX1" fmla="*/ 186764 w 3270102"/>
                <a:gd name="connsiteY1" fmla="*/ 0 h 1120562"/>
                <a:gd name="connsiteX2" fmla="*/ 3083338 w 3270102"/>
                <a:gd name="connsiteY2" fmla="*/ 0 h 1120562"/>
                <a:gd name="connsiteX3" fmla="*/ 3270102 w 3270102"/>
                <a:gd name="connsiteY3" fmla="*/ 186764 h 1120562"/>
                <a:gd name="connsiteX4" fmla="*/ 3270102 w 3270102"/>
                <a:gd name="connsiteY4" fmla="*/ 933798 h 1120562"/>
                <a:gd name="connsiteX5" fmla="*/ 3083338 w 3270102"/>
                <a:gd name="connsiteY5" fmla="*/ 1120562 h 1120562"/>
                <a:gd name="connsiteX6" fmla="*/ 186764 w 3270102"/>
                <a:gd name="connsiteY6" fmla="*/ 1120562 h 1120562"/>
                <a:gd name="connsiteX7" fmla="*/ 0 w 3270102"/>
                <a:gd name="connsiteY7" fmla="*/ 933798 h 1120562"/>
                <a:gd name="connsiteX8" fmla="*/ 0 w 3270102"/>
                <a:gd name="connsiteY8" fmla="*/ 186764 h 112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0102" h="1120562">
                  <a:moveTo>
                    <a:pt x="0" y="186764"/>
                  </a:moveTo>
                  <a:cubicBezTo>
                    <a:pt x="0" y="83617"/>
                    <a:pt x="83617" y="0"/>
                    <a:pt x="186764" y="0"/>
                  </a:cubicBezTo>
                  <a:lnTo>
                    <a:pt x="3083338" y="0"/>
                  </a:lnTo>
                  <a:cubicBezTo>
                    <a:pt x="3186485" y="0"/>
                    <a:pt x="3270102" y="83617"/>
                    <a:pt x="3270102" y="186764"/>
                  </a:cubicBezTo>
                  <a:lnTo>
                    <a:pt x="3270102" y="933798"/>
                  </a:lnTo>
                  <a:cubicBezTo>
                    <a:pt x="3270102" y="1036945"/>
                    <a:pt x="3186485" y="1120562"/>
                    <a:pt x="3083338" y="1120562"/>
                  </a:cubicBezTo>
                  <a:lnTo>
                    <a:pt x="186764" y="1120562"/>
                  </a:lnTo>
                  <a:cubicBezTo>
                    <a:pt x="83617" y="1120562"/>
                    <a:pt x="0" y="1036945"/>
                    <a:pt x="0" y="933798"/>
                  </a:cubicBezTo>
                  <a:lnTo>
                    <a:pt x="0" y="186764"/>
                  </a:lnTo>
                  <a:close/>
                </a:path>
              </a:pathLst>
            </a:custGeom>
            <a:solidFill>
              <a:srgbClr val="FFFFFF">
                <a:hueOff val="0"/>
                <a:satOff val="0"/>
                <a:lumOff val="0"/>
                <a:alphaOff val="0"/>
              </a:srgbClr>
            </a:solidFill>
            <a:ln w="25400" cap="flat" cmpd="sng" algn="ctr">
              <a:solidFill>
                <a:srgbClr val="339966">
                  <a:shade val="80000"/>
                  <a:hueOff val="0"/>
                  <a:satOff val="0"/>
                  <a:lumOff val="0"/>
                  <a:alphaOff val="0"/>
                </a:srgbClr>
              </a:solidFill>
              <a:prstDash val="solid"/>
            </a:ln>
            <a:effectLst/>
          </p:spPr>
          <p:txBody>
            <a:bodyPr spcFirstLastPara="0" vert="horz" wrap="square" lIns="138521" tIns="138521" rIns="138521" bIns="138521" numCol="1" spcCol="1270" anchor="ctr" anchorCtr="0">
              <a:noAutofit/>
            </a:bodyPr>
            <a:lstStyle/>
            <a:p>
              <a:pPr marL="168203" indent="-168203" defTabSz="977486">
                <a:lnSpc>
                  <a:spcPct val="90000"/>
                </a:lnSpc>
                <a:spcBef>
                  <a:spcPct val="0"/>
                </a:spcBef>
                <a:spcAft>
                  <a:spcPct val="35000"/>
                </a:spcAft>
                <a:defRPr/>
              </a:pPr>
              <a:r>
                <a:rPr lang="en-US" sz="2200" kern="0" dirty="0">
                  <a:solidFill>
                    <a:srgbClr val="339966">
                      <a:hueOff val="0"/>
                      <a:satOff val="0"/>
                      <a:lumOff val="0"/>
                      <a:alphaOff val="0"/>
                    </a:srgbClr>
                  </a:solidFill>
                  <a:latin typeface="Arial"/>
                </a:rPr>
                <a:t>- Routine Immunization</a:t>
              </a:r>
            </a:p>
            <a:p>
              <a:pPr defTabSz="977486">
                <a:lnSpc>
                  <a:spcPct val="90000"/>
                </a:lnSpc>
                <a:spcBef>
                  <a:spcPct val="0"/>
                </a:spcBef>
                <a:spcAft>
                  <a:spcPct val="35000"/>
                </a:spcAft>
                <a:defRPr/>
              </a:pPr>
              <a:r>
                <a:rPr lang="en-US" sz="2200" kern="0" dirty="0">
                  <a:solidFill>
                    <a:srgbClr val="339966">
                      <a:hueOff val="0"/>
                      <a:satOff val="0"/>
                      <a:lumOff val="0"/>
                      <a:alphaOff val="0"/>
                    </a:srgbClr>
                  </a:solidFill>
                  <a:latin typeface="Arial"/>
                </a:rPr>
                <a:t>- RMNCAH + N</a:t>
              </a:r>
            </a:p>
          </p:txBody>
        </p:sp>
        <p:sp>
          <p:nvSpPr>
            <p:cNvPr id="91" name="Freeform 9">
              <a:extLst>
                <a:ext uri="{FF2B5EF4-FFF2-40B4-BE49-F238E27FC236}">
                  <a16:creationId xmlns:a16="http://schemas.microsoft.com/office/drawing/2014/main" id="{EECD58D9-C1C1-4E89-ADE9-F6A2874EF3E1}"/>
                </a:ext>
              </a:extLst>
            </p:cNvPr>
            <p:cNvSpPr/>
            <p:nvPr/>
          </p:nvSpPr>
          <p:spPr>
            <a:xfrm>
              <a:off x="4328719" y="3299682"/>
              <a:ext cx="3270102" cy="492390"/>
            </a:xfrm>
            <a:custGeom>
              <a:avLst/>
              <a:gdLst>
                <a:gd name="connsiteX0" fmla="*/ 0 w 3270102"/>
                <a:gd name="connsiteY0" fmla="*/ 186764 h 1120562"/>
                <a:gd name="connsiteX1" fmla="*/ 186764 w 3270102"/>
                <a:gd name="connsiteY1" fmla="*/ 0 h 1120562"/>
                <a:gd name="connsiteX2" fmla="*/ 3083338 w 3270102"/>
                <a:gd name="connsiteY2" fmla="*/ 0 h 1120562"/>
                <a:gd name="connsiteX3" fmla="*/ 3270102 w 3270102"/>
                <a:gd name="connsiteY3" fmla="*/ 186764 h 1120562"/>
                <a:gd name="connsiteX4" fmla="*/ 3270102 w 3270102"/>
                <a:gd name="connsiteY4" fmla="*/ 933798 h 1120562"/>
                <a:gd name="connsiteX5" fmla="*/ 3083338 w 3270102"/>
                <a:gd name="connsiteY5" fmla="*/ 1120562 h 1120562"/>
                <a:gd name="connsiteX6" fmla="*/ 186764 w 3270102"/>
                <a:gd name="connsiteY6" fmla="*/ 1120562 h 1120562"/>
                <a:gd name="connsiteX7" fmla="*/ 0 w 3270102"/>
                <a:gd name="connsiteY7" fmla="*/ 933798 h 1120562"/>
                <a:gd name="connsiteX8" fmla="*/ 0 w 3270102"/>
                <a:gd name="connsiteY8" fmla="*/ 186764 h 112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0102" h="1120562">
                  <a:moveTo>
                    <a:pt x="0" y="186764"/>
                  </a:moveTo>
                  <a:cubicBezTo>
                    <a:pt x="0" y="83617"/>
                    <a:pt x="83617" y="0"/>
                    <a:pt x="186764" y="0"/>
                  </a:cubicBezTo>
                  <a:lnTo>
                    <a:pt x="3083338" y="0"/>
                  </a:lnTo>
                  <a:cubicBezTo>
                    <a:pt x="3186485" y="0"/>
                    <a:pt x="3270102" y="83617"/>
                    <a:pt x="3270102" y="186764"/>
                  </a:cubicBezTo>
                  <a:lnTo>
                    <a:pt x="3270102" y="933798"/>
                  </a:lnTo>
                  <a:cubicBezTo>
                    <a:pt x="3270102" y="1036945"/>
                    <a:pt x="3186485" y="1120562"/>
                    <a:pt x="3083338" y="1120562"/>
                  </a:cubicBezTo>
                  <a:lnTo>
                    <a:pt x="186764" y="1120562"/>
                  </a:lnTo>
                  <a:cubicBezTo>
                    <a:pt x="83617" y="1120562"/>
                    <a:pt x="0" y="1036945"/>
                    <a:pt x="0" y="933798"/>
                  </a:cubicBezTo>
                  <a:lnTo>
                    <a:pt x="0" y="186764"/>
                  </a:lnTo>
                  <a:close/>
                </a:path>
              </a:pathLst>
            </a:custGeom>
            <a:solidFill>
              <a:srgbClr val="FFFFFF">
                <a:hueOff val="0"/>
                <a:satOff val="0"/>
                <a:lumOff val="0"/>
                <a:alphaOff val="0"/>
              </a:srgbClr>
            </a:solidFill>
            <a:ln w="25400" cap="flat" cmpd="sng" algn="ctr">
              <a:solidFill>
                <a:srgbClr val="339966">
                  <a:shade val="80000"/>
                  <a:hueOff val="0"/>
                  <a:satOff val="0"/>
                  <a:lumOff val="0"/>
                  <a:alphaOff val="0"/>
                </a:srgbClr>
              </a:solidFill>
              <a:prstDash val="solid"/>
            </a:ln>
            <a:effectLst/>
          </p:spPr>
          <p:txBody>
            <a:bodyPr spcFirstLastPara="0" vert="horz" wrap="square" lIns="138521" tIns="138521" rIns="138521" bIns="138521" numCol="1" spcCol="1270" anchor="ctr" anchorCtr="0">
              <a:noAutofit/>
            </a:bodyPr>
            <a:lstStyle/>
            <a:p>
              <a:pPr algn="ctr" defTabSz="977486">
                <a:lnSpc>
                  <a:spcPct val="90000"/>
                </a:lnSpc>
                <a:spcBef>
                  <a:spcPct val="0"/>
                </a:spcBef>
                <a:spcAft>
                  <a:spcPct val="35000"/>
                </a:spcAft>
                <a:defRPr/>
              </a:pPr>
              <a:r>
                <a:rPr lang="en-US" sz="2200" kern="0" dirty="0">
                  <a:solidFill>
                    <a:srgbClr val="339966">
                      <a:hueOff val="0"/>
                      <a:satOff val="0"/>
                      <a:lumOff val="0"/>
                      <a:alphaOff val="0"/>
                    </a:srgbClr>
                  </a:solidFill>
                  <a:latin typeface="Arial"/>
                </a:rPr>
                <a:t>Primary Health Care</a:t>
              </a:r>
            </a:p>
          </p:txBody>
        </p:sp>
        <p:sp>
          <p:nvSpPr>
            <p:cNvPr id="92" name="Freeform 10">
              <a:extLst>
                <a:ext uri="{FF2B5EF4-FFF2-40B4-BE49-F238E27FC236}">
                  <a16:creationId xmlns:a16="http://schemas.microsoft.com/office/drawing/2014/main" id="{38C9970D-4D0C-4E7B-871D-FB36071BC8A4}"/>
                </a:ext>
              </a:extLst>
            </p:cNvPr>
            <p:cNvSpPr/>
            <p:nvPr/>
          </p:nvSpPr>
          <p:spPr>
            <a:xfrm>
              <a:off x="7778005" y="3299681"/>
              <a:ext cx="3270102" cy="1120562"/>
            </a:xfrm>
            <a:custGeom>
              <a:avLst/>
              <a:gdLst>
                <a:gd name="connsiteX0" fmla="*/ 0 w 3270102"/>
                <a:gd name="connsiteY0" fmla="*/ 186764 h 1120562"/>
                <a:gd name="connsiteX1" fmla="*/ 186764 w 3270102"/>
                <a:gd name="connsiteY1" fmla="*/ 0 h 1120562"/>
                <a:gd name="connsiteX2" fmla="*/ 3083338 w 3270102"/>
                <a:gd name="connsiteY2" fmla="*/ 0 h 1120562"/>
                <a:gd name="connsiteX3" fmla="*/ 3270102 w 3270102"/>
                <a:gd name="connsiteY3" fmla="*/ 186764 h 1120562"/>
                <a:gd name="connsiteX4" fmla="*/ 3270102 w 3270102"/>
                <a:gd name="connsiteY4" fmla="*/ 933798 h 1120562"/>
                <a:gd name="connsiteX5" fmla="*/ 3083338 w 3270102"/>
                <a:gd name="connsiteY5" fmla="*/ 1120562 h 1120562"/>
                <a:gd name="connsiteX6" fmla="*/ 186764 w 3270102"/>
                <a:gd name="connsiteY6" fmla="*/ 1120562 h 1120562"/>
                <a:gd name="connsiteX7" fmla="*/ 0 w 3270102"/>
                <a:gd name="connsiteY7" fmla="*/ 933798 h 1120562"/>
                <a:gd name="connsiteX8" fmla="*/ 0 w 3270102"/>
                <a:gd name="connsiteY8" fmla="*/ 186764 h 112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0102" h="1120562">
                  <a:moveTo>
                    <a:pt x="0" y="186764"/>
                  </a:moveTo>
                  <a:cubicBezTo>
                    <a:pt x="0" y="83617"/>
                    <a:pt x="83617" y="0"/>
                    <a:pt x="186764" y="0"/>
                  </a:cubicBezTo>
                  <a:lnTo>
                    <a:pt x="3083338" y="0"/>
                  </a:lnTo>
                  <a:cubicBezTo>
                    <a:pt x="3186485" y="0"/>
                    <a:pt x="3270102" y="83617"/>
                    <a:pt x="3270102" y="186764"/>
                  </a:cubicBezTo>
                  <a:lnTo>
                    <a:pt x="3270102" y="933798"/>
                  </a:lnTo>
                  <a:cubicBezTo>
                    <a:pt x="3270102" y="1036945"/>
                    <a:pt x="3186485" y="1120562"/>
                    <a:pt x="3083338" y="1120562"/>
                  </a:cubicBezTo>
                  <a:lnTo>
                    <a:pt x="186764" y="1120562"/>
                  </a:lnTo>
                  <a:cubicBezTo>
                    <a:pt x="83617" y="1120562"/>
                    <a:pt x="0" y="1036945"/>
                    <a:pt x="0" y="933798"/>
                  </a:cubicBezTo>
                  <a:lnTo>
                    <a:pt x="0" y="186764"/>
                  </a:lnTo>
                  <a:close/>
                </a:path>
              </a:pathLst>
            </a:custGeom>
            <a:solidFill>
              <a:srgbClr val="FFFFFF">
                <a:hueOff val="0"/>
                <a:satOff val="0"/>
                <a:lumOff val="0"/>
                <a:alphaOff val="0"/>
              </a:srgbClr>
            </a:solidFill>
            <a:ln w="25400" cap="flat" cmpd="sng" algn="ctr">
              <a:solidFill>
                <a:srgbClr val="339966">
                  <a:shade val="80000"/>
                  <a:hueOff val="0"/>
                  <a:satOff val="0"/>
                  <a:lumOff val="0"/>
                  <a:alphaOff val="0"/>
                </a:srgbClr>
              </a:solidFill>
              <a:prstDash val="solid"/>
            </a:ln>
            <a:effectLst/>
          </p:spPr>
          <p:txBody>
            <a:bodyPr spcFirstLastPara="0" vert="horz" wrap="square" lIns="138521" tIns="138521" rIns="138521" bIns="138521" numCol="1" spcCol="1270" anchor="ctr" anchorCtr="0">
              <a:noAutofit/>
            </a:bodyPr>
            <a:lstStyle/>
            <a:p>
              <a:pPr algn="ctr" defTabSz="977486">
                <a:lnSpc>
                  <a:spcPct val="90000"/>
                </a:lnSpc>
                <a:spcBef>
                  <a:spcPct val="0"/>
                </a:spcBef>
                <a:spcAft>
                  <a:spcPct val="35000"/>
                </a:spcAft>
                <a:defRPr/>
              </a:pPr>
              <a:r>
                <a:rPr lang="en-US" sz="2200" kern="0" dirty="0">
                  <a:solidFill>
                    <a:srgbClr val="339966">
                      <a:hueOff val="0"/>
                      <a:satOff val="0"/>
                      <a:lumOff val="0"/>
                      <a:alphaOff val="0"/>
                    </a:srgbClr>
                  </a:solidFill>
                  <a:latin typeface="Arial"/>
                </a:rPr>
                <a:t>Universal Health Coverage</a:t>
              </a:r>
            </a:p>
          </p:txBody>
        </p:sp>
      </p:grpSp>
      <p:sp>
        <p:nvSpPr>
          <p:cNvPr id="93" name="Freeform 12">
            <a:extLst>
              <a:ext uri="{FF2B5EF4-FFF2-40B4-BE49-F238E27FC236}">
                <a16:creationId xmlns:a16="http://schemas.microsoft.com/office/drawing/2014/main" id="{2F88D7CF-89E4-4C2F-8028-E3E442BD3D31}"/>
              </a:ext>
            </a:extLst>
          </p:cNvPr>
          <p:cNvSpPr/>
          <p:nvPr/>
        </p:nvSpPr>
        <p:spPr>
          <a:xfrm>
            <a:off x="4328737" y="2846328"/>
            <a:ext cx="3270103" cy="492390"/>
          </a:xfrm>
          <a:custGeom>
            <a:avLst/>
            <a:gdLst>
              <a:gd name="connsiteX0" fmla="*/ 0 w 3270102"/>
              <a:gd name="connsiteY0" fmla="*/ 186764 h 1120562"/>
              <a:gd name="connsiteX1" fmla="*/ 186764 w 3270102"/>
              <a:gd name="connsiteY1" fmla="*/ 0 h 1120562"/>
              <a:gd name="connsiteX2" fmla="*/ 3083338 w 3270102"/>
              <a:gd name="connsiteY2" fmla="*/ 0 h 1120562"/>
              <a:gd name="connsiteX3" fmla="*/ 3270102 w 3270102"/>
              <a:gd name="connsiteY3" fmla="*/ 186764 h 1120562"/>
              <a:gd name="connsiteX4" fmla="*/ 3270102 w 3270102"/>
              <a:gd name="connsiteY4" fmla="*/ 933798 h 1120562"/>
              <a:gd name="connsiteX5" fmla="*/ 3083338 w 3270102"/>
              <a:gd name="connsiteY5" fmla="*/ 1120562 h 1120562"/>
              <a:gd name="connsiteX6" fmla="*/ 186764 w 3270102"/>
              <a:gd name="connsiteY6" fmla="*/ 1120562 h 1120562"/>
              <a:gd name="connsiteX7" fmla="*/ 0 w 3270102"/>
              <a:gd name="connsiteY7" fmla="*/ 933798 h 1120562"/>
              <a:gd name="connsiteX8" fmla="*/ 0 w 3270102"/>
              <a:gd name="connsiteY8" fmla="*/ 186764 h 112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0102" h="1120562">
                <a:moveTo>
                  <a:pt x="0" y="186764"/>
                </a:moveTo>
                <a:cubicBezTo>
                  <a:pt x="0" y="83617"/>
                  <a:pt x="83617" y="0"/>
                  <a:pt x="186764" y="0"/>
                </a:cubicBezTo>
                <a:lnTo>
                  <a:pt x="3083338" y="0"/>
                </a:lnTo>
                <a:cubicBezTo>
                  <a:pt x="3186485" y="0"/>
                  <a:pt x="3270102" y="83617"/>
                  <a:pt x="3270102" y="186764"/>
                </a:cubicBezTo>
                <a:lnTo>
                  <a:pt x="3270102" y="933798"/>
                </a:lnTo>
                <a:cubicBezTo>
                  <a:pt x="3270102" y="1036945"/>
                  <a:pt x="3186485" y="1120562"/>
                  <a:pt x="3083338" y="1120562"/>
                </a:cubicBezTo>
                <a:lnTo>
                  <a:pt x="186764" y="1120562"/>
                </a:lnTo>
                <a:cubicBezTo>
                  <a:pt x="83617" y="1120562"/>
                  <a:pt x="0" y="1036945"/>
                  <a:pt x="0" y="933798"/>
                </a:cubicBezTo>
                <a:lnTo>
                  <a:pt x="0" y="186764"/>
                </a:lnTo>
                <a:close/>
              </a:path>
            </a:pathLst>
          </a:custGeom>
          <a:solidFill>
            <a:srgbClr val="FFFFFF">
              <a:hueOff val="0"/>
              <a:satOff val="0"/>
              <a:lumOff val="0"/>
              <a:alphaOff val="0"/>
            </a:srgbClr>
          </a:solidFill>
          <a:ln w="25400" cap="flat" cmpd="sng" algn="ctr">
            <a:solidFill>
              <a:srgbClr val="339966">
                <a:shade val="80000"/>
                <a:hueOff val="0"/>
                <a:satOff val="0"/>
                <a:lumOff val="0"/>
                <a:alphaOff val="0"/>
              </a:srgbClr>
            </a:solidFill>
            <a:prstDash val="solid"/>
          </a:ln>
          <a:effectLst/>
        </p:spPr>
        <p:txBody>
          <a:bodyPr spcFirstLastPara="0" vert="horz" wrap="square" lIns="138462" tIns="138462" rIns="138462" bIns="138462" numCol="1" spcCol="1269" anchor="ctr" anchorCtr="0">
            <a:noAutofit/>
          </a:bodyPr>
          <a:lstStyle/>
          <a:p>
            <a:pPr algn="ctr" defTabSz="977486">
              <a:lnSpc>
                <a:spcPct val="90000"/>
              </a:lnSpc>
              <a:spcBef>
                <a:spcPct val="0"/>
              </a:spcBef>
              <a:spcAft>
                <a:spcPct val="35000"/>
              </a:spcAft>
              <a:defRPr/>
            </a:pPr>
            <a:r>
              <a:rPr lang="en-US" sz="2200" kern="0" dirty="0">
                <a:solidFill>
                  <a:srgbClr val="339966">
                    <a:hueOff val="0"/>
                    <a:satOff val="0"/>
                    <a:lumOff val="0"/>
                    <a:alphaOff val="0"/>
                  </a:srgbClr>
                </a:solidFill>
                <a:latin typeface="Arial"/>
              </a:rPr>
              <a:t>Health Insurance</a:t>
            </a:r>
          </a:p>
        </p:txBody>
      </p:sp>
    </p:spTree>
    <p:extLst>
      <p:ext uri="{BB962C8B-B14F-4D97-AF65-F5344CB8AC3E}">
        <p14:creationId xmlns:p14="http://schemas.microsoft.com/office/powerpoint/2010/main" val="3413793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AEEA68-CF75-4C09-8122-1A0D0B93AC7D}"/>
              </a:ext>
            </a:extLst>
          </p:cNvPr>
          <p:cNvGraphicFramePr>
            <a:graphicFrameLocks noChangeAspect="1"/>
          </p:cNvGraphicFramePr>
          <p:nvPr>
            <p:custDataLst>
              <p:tags r:id="rId2"/>
            </p:custDataLst>
            <p:extLst/>
          </p:nvPr>
        </p:nvGraphicFramePr>
        <p:xfrm>
          <a:off x="2121" y="1591"/>
          <a:ext cx="2117" cy="1588"/>
        </p:xfrm>
        <a:graphic>
          <a:graphicData uri="http://schemas.openxmlformats.org/presentationml/2006/ole">
            <mc:AlternateContent xmlns:mc="http://schemas.openxmlformats.org/markup-compatibility/2006">
              <mc:Choice xmlns:v="urn:schemas-microsoft-com:vml" Requires="v">
                <p:oleObj spid="_x0000_s589859" name="think-cell Slide" r:id="rId6" imgW="416" imgH="416" progId="TCLayout.ActiveDocument.1">
                  <p:embed/>
                </p:oleObj>
              </mc:Choice>
              <mc:Fallback>
                <p:oleObj name="think-cell Slide" r:id="rId6" imgW="416" imgH="416" progId="TCLayout.ActiveDocument.1">
                  <p:embed/>
                  <p:pic>
                    <p:nvPicPr>
                      <p:cNvPr id="6" name="Object 5" hidden="1">
                        <a:extLst>
                          <a:ext uri="{FF2B5EF4-FFF2-40B4-BE49-F238E27FC236}">
                            <a16:creationId xmlns:a16="http://schemas.microsoft.com/office/drawing/2014/main" id="{2CAEEA68-CF75-4C09-8122-1A0D0B93AC7D}"/>
                          </a:ext>
                        </a:extLst>
                      </p:cNvPr>
                      <p:cNvPicPr/>
                      <p:nvPr/>
                    </p:nvPicPr>
                    <p:blipFill>
                      <a:blip r:embed="rId7"/>
                      <a:stretch>
                        <a:fillRect/>
                      </a:stretch>
                    </p:blipFill>
                    <p:spPr>
                      <a:xfrm>
                        <a:off x="2121" y="1591"/>
                        <a:ext cx="2117"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7CEDC8-2451-4D78-ADA4-4D6573797D7B}"/>
              </a:ext>
            </a:extLst>
          </p:cNvPr>
          <p:cNvSpPr/>
          <p:nvPr>
            <p:custDataLst>
              <p:tags r:id="rId3"/>
            </p:custDataLst>
          </p:nvPr>
        </p:nvSpPr>
        <p:spPr>
          <a:xfrm>
            <a:off x="21" y="14"/>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1969">
              <a:lnSpc>
                <a:spcPct val="90000"/>
              </a:lnSpc>
              <a:spcBef>
                <a:spcPct val="0"/>
              </a:spcBef>
              <a:spcAft>
                <a:spcPct val="0"/>
              </a:spcAft>
            </a:pPr>
            <a:endParaRPr lang="en-US" sz="2900" b="1" i="1" dirty="0">
              <a:solidFill>
                <a:prstClr val="white"/>
              </a:solidFill>
              <a:latin typeface="Calibri Light" panose="020F0302020204030204" pitchFamily="34" charset="0"/>
              <a:sym typeface="Calibri Light" panose="020F0302020204030204" pitchFamily="34" charset="0"/>
            </a:endParaRPr>
          </a:p>
        </p:txBody>
      </p:sp>
      <p:sp>
        <p:nvSpPr>
          <p:cNvPr id="54" name="Rectangle 2">
            <a:extLst>
              <a:ext uri="{FF2B5EF4-FFF2-40B4-BE49-F238E27FC236}">
                <a16:creationId xmlns:a16="http://schemas.microsoft.com/office/drawing/2014/main" id="{D9CD46B5-8E37-4299-9762-31D95598E750}"/>
              </a:ext>
            </a:extLst>
          </p:cNvPr>
          <p:cNvSpPr txBox="1">
            <a:spLocks noChangeArrowheads="1"/>
          </p:cNvSpPr>
          <p:nvPr>
            <p:custDataLst>
              <p:tags r:id="rId4"/>
            </p:custDataLst>
          </p:nvPr>
        </p:nvSpPr>
        <p:spPr bwMode="gray">
          <a:xfrm>
            <a:off x="1044386" y="59752"/>
            <a:ext cx="10057371" cy="7569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199" tIns="45607" rIns="91199" bIns="45607" rtlCol="0" anchor="ctr">
            <a:spAutoFit/>
          </a:bodyPr>
          <a:lstStyle>
            <a:defPPr>
              <a:defRPr lang="en-US"/>
            </a:defPPr>
            <a:lvl1pPr>
              <a:lnSpc>
                <a:spcPct val="90000"/>
              </a:lnSpc>
              <a:spcBef>
                <a:spcPct val="0"/>
              </a:spcBef>
              <a:buNone/>
              <a:defRPr sz="3200" b="1">
                <a:solidFill>
                  <a:srgbClr val="204024"/>
                </a:solidFill>
                <a:latin typeface="+mj-lt"/>
                <a:ea typeface="+mj-ea"/>
                <a:cs typeface="+mj-cs"/>
              </a:defRPr>
            </a:lvl1pPr>
            <a:lvl2pPr defTabSz="669832">
              <a:defRPr sz="1397" b="1">
                <a:solidFill>
                  <a:schemeClr val="tx2"/>
                </a:solidFill>
                <a:latin typeface="Arial" panose="020B0604020202020204" pitchFamily="34" charset="0"/>
              </a:defRPr>
            </a:lvl2pPr>
            <a:lvl3pPr defTabSz="669832">
              <a:defRPr sz="1397" b="1">
                <a:solidFill>
                  <a:schemeClr val="tx2"/>
                </a:solidFill>
                <a:latin typeface="Arial" panose="020B0604020202020204" pitchFamily="34" charset="0"/>
              </a:defRPr>
            </a:lvl3pPr>
            <a:lvl4pPr defTabSz="669832">
              <a:defRPr sz="1397" b="1">
                <a:solidFill>
                  <a:schemeClr val="tx2"/>
                </a:solidFill>
                <a:latin typeface="Arial" panose="020B0604020202020204" pitchFamily="34" charset="0"/>
              </a:defRPr>
            </a:lvl4pPr>
            <a:lvl5pPr defTabSz="669832">
              <a:defRPr sz="1397" b="1">
                <a:solidFill>
                  <a:schemeClr val="tx2"/>
                </a:solidFill>
                <a:latin typeface="Arial" panose="020B0604020202020204" pitchFamily="34" charset="0"/>
              </a:defRPr>
            </a:lvl5pPr>
            <a:lvl6pPr marL="342042" defTabSz="669832" fontAlgn="base">
              <a:spcBef>
                <a:spcPct val="0"/>
              </a:spcBef>
              <a:spcAft>
                <a:spcPct val="0"/>
              </a:spcAft>
              <a:defRPr sz="1397" b="1">
                <a:solidFill>
                  <a:schemeClr val="tx2"/>
                </a:solidFill>
                <a:latin typeface="Arial" panose="020B0604020202020204" pitchFamily="34" charset="0"/>
              </a:defRPr>
            </a:lvl6pPr>
            <a:lvl7pPr marL="684086" defTabSz="669832" fontAlgn="base">
              <a:spcBef>
                <a:spcPct val="0"/>
              </a:spcBef>
              <a:spcAft>
                <a:spcPct val="0"/>
              </a:spcAft>
              <a:defRPr sz="1397" b="1">
                <a:solidFill>
                  <a:schemeClr val="tx2"/>
                </a:solidFill>
                <a:latin typeface="Arial" panose="020B0604020202020204" pitchFamily="34" charset="0"/>
              </a:defRPr>
            </a:lvl7pPr>
            <a:lvl8pPr marL="1026120" defTabSz="669832" fontAlgn="base">
              <a:spcBef>
                <a:spcPct val="0"/>
              </a:spcBef>
              <a:spcAft>
                <a:spcPct val="0"/>
              </a:spcAft>
              <a:defRPr sz="1397" b="1">
                <a:solidFill>
                  <a:schemeClr val="tx2"/>
                </a:solidFill>
                <a:latin typeface="Arial" panose="020B0604020202020204" pitchFamily="34" charset="0"/>
              </a:defRPr>
            </a:lvl8pPr>
            <a:lvl9pPr marL="1368168" defTabSz="669832" fontAlgn="base">
              <a:spcBef>
                <a:spcPct val="0"/>
              </a:spcBef>
              <a:spcAft>
                <a:spcPct val="0"/>
              </a:spcAft>
              <a:defRPr sz="1397" b="1">
                <a:solidFill>
                  <a:schemeClr val="tx2"/>
                </a:solidFill>
                <a:latin typeface="Arial" panose="020B0604020202020204" pitchFamily="34" charset="0"/>
              </a:defRPr>
            </a:lvl9pPr>
          </a:lstStyle>
          <a:p>
            <a:pPr defTabSz="911969"/>
            <a:r>
              <a:rPr lang="en-GB" sz="2400" dirty="0">
                <a:solidFill>
                  <a:schemeClr val="accent6">
                    <a:lumMod val="50000"/>
                  </a:schemeClr>
                </a:solidFill>
                <a:latin typeface="Arial" panose="020B0604020202020204" pitchFamily="34" charset="0"/>
                <a:cs typeface="Arial" panose="020B0604020202020204" pitchFamily="34" charset="0"/>
              </a:rPr>
              <a:t>Achievement of Universal Health Coverage is the central theme of Sustainable Development Goal 3</a:t>
            </a:r>
          </a:p>
        </p:txBody>
      </p:sp>
      <p:pic>
        <p:nvPicPr>
          <p:cNvPr id="77" name="Picture 2" descr="http://www.who.int/media/homepage/uhc-infographic.jpg?ua=1">
            <a:extLst>
              <a:ext uri="{FF2B5EF4-FFF2-40B4-BE49-F238E27FC236}">
                <a16:creationId xmlns:a16="http://schemas.microsoft.com/office/drawing/2014/main" id="{E3BBF2D4-F08E-4825-A04C-6CD8162E97C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97405" y="877899"/>
            <a:ext cx="6091519" cy="5497850"/>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a:extLst>
              <a:ext uri="{FF2B5EF4-FFF2-40B4-BE49-F238E27FC236}">
                <a16:creationId xmlns:a16="http://schemas.microsoft.com/office/drawing/2014/main" id="{47C7D5BD-B629-422D-9597-562C7BD3C4FA}"/>
              </a:ext>
            </a:extLst>
          </p:cNvPr>
          <p:cNvSpPr/>
          <p:nvPr/>
        </p:nvSpPr>
        <p:spPr>
          <a:xfrm>
            <a:off x="238801" y="1573307"/>
            <a:ext cx="5758587" cy="3570172"/>
          </a:xfrm>
          <a:prstGeom prst="rect">
            <a:avLst/>
          </a:prstGeom>
        </p:spPr>
        <p:txBody>
          <a:bodyPr wrap="square" lIns="91401" tIns="45702" rIns="91401" bIns="45702">
            <a:spAutoFit/>
          </a:bodyPr>
          <a:lstStyle/>
          <a:p>
            <a:pPr defTabSz="914013">
              <a:spcBef>
                <a:spcPts val="600"/>
              </a:spcBef>
              <a:spcAft>
                <a:spcPts val="600"/>
              </a:spcAft>
              <a:defRPr/>
            </a:pPr>
            <a:r>
              <a:rPr lang="en-US" sz="2400" b="1" dirty="0">
                <a:solidFill>
                  <a:srgbClr val="1F1F1F"/>
                </a:solidFill>
              </a:rPr>
              <a:t>Universal health coverage is defined as ensuring that </a:t>
            </a:r>
            <a:r>
              <a:rPr lang="en-US" sz="2400" b="1" dirty="0">
                <a:solidFill>
                  <a:srgbClr val="FF0000"/>
                </a:solidFill>
              </a:rPr>
              <a:t>all people have access to needed health services </a:t>
            </a:r>
            <a:r>
              <a:rPr lang="en-US" sz="2400" b="1" dirty="0">
                <a:solidFill>
                  <a:srgbClr val="1F1F1F"/>
                </a:solidFill>
              </a:rPr>
              <a:t>(including prevention, promotion, treatment, rehabilitation and palliation) of </a:t>
            </a:r>
            <a:r>
              <a:rPr lang="en-US" sz="2400" b="1" dirty="0">
                <a:solidFill>
                  <a:srgbClr val="FF0000"/>
                </a:solidFill>
              </a:rPr>
              <a:t>sufficient quality to be effective</a:t>
            </a:r>
            <a:r>
              <a:rPr lang="en-US" sz="2400" b="1" dirty="0">
                <a:solidFill>
                  <a:srgbClr val="1F1F1F"/>
                </a:solidFill>
              </a:rPr>
              <a:t> while also ensuring that the use of these services does not expose the user the </a:t>
            </a:r>
            <a:r>
              <a:rPr lang="en-US" sz="2400" b="1" dirty="0">
                <a:solidFill>
                  <a:srgbClr val="FF0000"/>
                </a:solidFill>
              </a:rPr>
              <a:t>financial hardship</a:t>
            </a:r>
            <a:r>
              <a:rPr lang="en-US" sz="2400" b="1" dirty="0">
                <a:solidFill>
                  <a:srgbClr val="1F1F1F"/>
                </a:solidFill>
              </a:rPr>
              <a:t>. </a:t>
            </a:r>
          </a:p>
          <a:p>
            <a:pPr defTabSz="914013">
              <a:spcBef>
                <a:spcPts val="600"/>
              </a:spcBef>
              <a:spcAft>
                <a:spcPts val="600"/>
              </a:spcAft>
              <a:defRPr/>
            </a:pPr>
            <a:r>
              <a:rPr lang="en-GB" sz="2400" i="1" dirty="0">
                <a:solidFill>
                  <a:srgbClr val="1F1F1F"/>
                </a:solidFill>
              </a:rPr>
              <a:t>(World Health Organisation)</a:t>
            </a:r>
          </a:p>
        </p:txBody>
      </p:sp>
      <p:sp>
        <p:nvSpPr>
          <p:cNvPr id="79" name="Slide Number Placeholder 2">
            <a:extLst>
              <a:ext uri="{FF2B5EF4-FFF2-40B4-BE49-F238E27FC236}">
                <a16:creationId xmlns:a16="http://schemas.microsoft.com/office/drawing/2014/main" id="{11A325C5-0C70-42F4-9E88-7A8E84C6717A}"/>
              </a:ext>
            </a:extLst>
          </p:cNvPr>
          <p:cNvSpPr txBox="1">
            <a:spLocks/>
          </p:cNvSpPr>
          <p:nvPr/>
        </p:nvSpPr>
        <p:spPr>
          <a:xfrm>
            <a:off x="9345720" y="6505057"/>
            <a:ext cx="2743201" cy="365125"/>
          </a:xfrm>
          <a:prstGeom prst="rect">
            <a:avLst/>
          </a:prstGeom>
        </p:spPr>
        <p:txBody>
          <a:bodyPr vert="horz" lIns="91199" tIns="45607" rIns="91199" bIns="45607" rtlCol="0" anchor="ctr"/>
          <a:lstStyle>
            <a:defPPr>
              <a:defRPr lang="en-US"/>
            </a:defPPr>
            <a:lvl1pPr marL="0" algn="r" defTabSz="914196" rtl="0" eaLnBrk="1" latinLnBrk="0" hangingPunct="1">
              <a:defRPr sz="1200" kern="1200">
                <a:solidFill>
                  <a:schemeClr val="tx1">
                    <a:tint val="75000"/>
                  </a:schemeClr>
                </a:solidFill>
                <a:latin typeface="+mn-lt"/>
                <a:ea typeface="+mn-ea"/>
                <a:cs typeface="+mn-cs"/>
              </a:defRPr>
            </a:lvl1pPr>
            <a:lvl2pPr marL="457095" algn="l" defTabSz="914196" rtl="0" eaLnBrk="1" latinLnBrk="0" hangingPunct="1">
              <a:defRPr sz="1900" kern="1200">
                <a:solidFill>
                  <a:schemeClr val="tx1"/>
                </a:solidFill>
                <a:latin typeface="+mn-lt"/>
                <a:ea typeface="+mn-ea"/>
                <a:cs typeface="+mn-cs"/>
              </a:defRPr>
            </a:lvl2pPr>
            <a:lvl3pPr marL="914196" algn="l" defTabSz="914196" rtl="0" eaLnBrk="1" latinLnBrk="0" hangingPunct="1">
              <a:defRPr sz="1900" kern="1200">
                <a:solidFill>
                  <a:schemeClr val="tx1"/>
                </a:solidFill>
                <a:latin typeface="+mn-lt"/>
                <a:ea typeface="+mn-ea"/>
                <a:cs typeface="+mn-cs"/>
              </a:defRPr>
            </a:lvl3pPr>
            <a:lvl4pPr marL="1371294" algn="l" defTabSz="914196" rtl="0" eaLnBrk="1" latinLnBrk="0" hangingPunct="1">
              <a:defRPr sz="1900" kern="1200">
                <a:solidFill>
                  <a:schemeClr val="tx1"/>
                </a:solidFill>
                <a:latin typeface="+mn-lt"/>
                <a:ea typeface="+mn-ea"/>
                <a:cs typeface="+mn-cs"/>
              </a:defRPr>
            </a:lvl4pPr>
            <a:lvl5pPr marL="1828392" algn="l" defTabSz="914196" rtl="0" eaLnBrk="1" latinLnBrk="0" hangingPunct="1">
              <a:defRPr sz="1900" kern="1200">
                <a:solidFill>
                  <a:schemeClr val="tx1"/>
                </a:solidFill>
                <a:latin typeface="+mn-lt"/>
                <a:ea typeface="+mn-ea"/>
                <a:cs typeface="+mn-cs"/>
              </a:defRPr>
            </a:lvl5pPr>
            <a:lvl6pPr marL="2285494" algn="l" defTabSz="914196" rtl="0" eaLnBrk="1" latinLnBrk="0" hangingPunct="1">
              <a:defRPr sz="1900" kern="1200">
                <a:solidFill>
                  <a:schemeClr val="tx1"/>
                </a:solidFill>
                <a:latin typeface="+mn-lt"/>
                <a:ea typeface="+mn-ea"/>
                <a:cs typeface="+mn-cs"/>
              </a:defRPr>
            </a:lvl6pPr>
            <a:lvl7pPr marL="2742586" algn="l" defTabSz="914196" rtl="0" eaLnBrk="1" latinLnBrk="0" hangingPunct="1">
              <a:defRPr sz="1900" kern="1200">
                <a:solidFill>
                  <a:schemeClr val="tx1"/>
                </a:solidFill>
                <a:latin typeface="+mn-lt"/>
                <a:ea typeface="+mn-ea"/>
                <a:cs typeface="+mn-cs"/>
              </a:defRPr>
            </a:lvl7pPr>
            <a:lvl8pPr marL="3199680" algn="l" defTabSz="914196" rtl="0" eaLnBrk="1" latinLnBrk="0" hangingPunct="1">
              <a:defRPr sz="1900" kern="1200">
                <a:solidFill>
                  <a:schemeClr val="tx1"/>
                </a:solidFill>
                <a:latin typeface="+mn-lt"/>
                <a:ea typeface="+mn-ea"/>
                <a:cs typeface="+mn-cs"/>
              </a:defRPr>
            </a:lvl8pPr>
            <a:lvl9pPr marL="3656775" algn="l" defTabSz="914196" rtl="0" eaLnBrk="1" latinLnBrk="0" hangingPunct="1">
              <a:defRPr sz="1900" kern="1200">
                <a:solidFill>
                  <a:schemeClr val="tx1"/>
                </a:solidFill>
                <a:latin typeface="+mn-lt"/>
                <a:ea typeface="+mn-ea"/>
                <a:cs typeface="+mn-cs"/>
              </a:defRPr>
            </a:lvl9pPr>
          </a:lstStyle>
          <a:p>
            <a:pPr defTabSz="914013" fontAlgn="base">
              <a:spcBef>
                <a:spcPct val="0"/>
              </a:spcBef>
              <a:spcAft>
                <a:spcPct val="0"/>
              </a:spcAft>
            </a:pPr>
            <a:fld id="{978E596B-AA80-4BB2-8707-B351070E738D}" type="slidenum">
              <a:rPr lang="en-US" sz="1600" b="1">
                <a:solidFill>
                  <a:schemeClr val="bg1"/>
                </a:solidFill>
              </a:rPr>
              <a:pPr defTabSz="914013" fontAlgn="base">
                <a:spcBef>
                  <a:spcPct val="0"/>
                </a:spcBef>
                <a:spcAft>
                  <a:spcPct val="0"/>
                </a:spcAft>
              </a:pPr>
              <a:t>9</a:t>
            </a:fld>
            <a:endParaRPr lang="en-US" sz="1600" b="1" dirty="0">
              <a:solidFill>
                <a:schemeClr val="bg1"/>
              </a:solidFill>
            </a:endParaRPr>
          </a:p>
        </p:txBody>
      </p:sp>
    </p:spTree>
    <p:extLst>
      <p:ext uri="{BB962C8B-B14F-4D97-AF65-F5344CB8AC3E}">
        <p14:creationId xmlns:p14="http://schemas.microsoft.com/office/powerpoint/2010/main" val="1907015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n52AYy3R4WMQYqFk.bL.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tOi.zKfRtGBIrZswD2qGw"/>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tOi.zKfRtGBIrZswD2q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nAZlEPVRQaEn2Q0vcdIP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0tOi.zKfRtGBIrZswD2qG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nAZlEPVRQaEn2Q0vcdIP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nAZlEPVRQaEn2Q0vcdIP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XyD_SyYS7uQ_iqFSMoMQ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0tOi.zKfRtGBIrZswD2qG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NAME" val="Logo"/>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0tOi.zKfRtGBIrZswD2qG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GnAZlEPVRQaEn2Q0vcdIP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mcZ9nAQTP.P5OQRHvSs7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mcZ9nAQTP.P5OQRHvSs7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0VHPnKg7Fkm..H7kSn4psw"/>
</p:tagLst>
</file>

<file path=ppt/tags/tag19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mcZ9nAQTP.P5OQRHvSs7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0VHPnKg7Fkm..H7kSn4p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mcZ9nAQTP.P5OQRHvSs7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XPND.GvKXk6xCJcobZ5Ng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5aIK4Vmv0kmeRN66Jfuol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0dc2NSQdAU.EHZVcjtuki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ZFwutmdckSx7OZxqgMsC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SPd7jkzbZ0KKAAhbWTwhP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Z9P5XZyITkSGqliL5VhYN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BpJFACaiU2DVO4YgS6seg"/>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X0W_uCJNUmVJDgMyT1XV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bGd66CGHUaLll.OLrHhm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EFAzz.Buj0mz.v3VS0S..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Y6cJjLUYxk6EvM1zbKuA4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kHFfmC_ESUOAPKmeumysw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l9EqA471keks4prOBXTA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PND.GvKXk6xCJcobZ5Ng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5aIK4Vmv0kmeRN66Jfuol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PND.GvKXk6xCJcobZ5Ng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XPND.GvKXk6xCJcobZ5NgQ"/>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5aIK4Vmv0kmeRN66Jfuol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5aIK4Vmv0kmeRN66Jfuol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PmJwWwPUnEWeAQWSnMgPt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77IJWFVTD0SyJ4qR4uH1L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nXqqrWzi0uqk47hM7vlr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iXNxUD8DkuO5lIhX5juP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g9dr4RDk5Uup0j0NVmWhk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ZqE.fsyYEmfUv6Ezz0OS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GMJ0siZF0USVDQOChnui6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eqZA33sBcUmN9H4M64FPiw"/>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UhFvQHFb0UaC7oxcMM2.5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5PiVrDLpkGnqB1M16.a6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PmcZ9nAQTP.P5OQRHvSs7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0VHPnKg7Fkm..H7kSn4ps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mcZ9nAQTP.P5OQRHvSs7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0VHPnKg7Fkm..H7kSn4ps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0VHPnKg7Fkm..H7kSn4ps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G5hOe.9TDevsorTFmeQu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ryx_FDYnQl2xGCk4X6ur8Q"/>
</p:tagLst>
</file>

<file path=ppt/tags/tag245.xml><?xml version="1.0" encoding="utf-8"?>
<p:tagLst xmlns:a="http://schemas.openxmlformats.org/drawingml/2006/main" xmlns:r="http://schemas.openxmlformats.org/officeDocument/2006/relationships" xmlns:p="http://schemas.openxmlformats.org/presentationml/2006/main">
  <p:tag name="NAME" val="Rectangl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q.72CTjoSAWduTbdDgPbm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X_QRspzsJkOdbdvtoUTyD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LPmjYEd2U0.QMQXKpjXM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zBF_IrlEEOIvr5sdw7vZ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wrLDO7_jYESZ8j_xT9bx8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x6ROn.NXV02QLGaLfFAy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YJcyAjIfVkSEpgSrwgWpN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gbE05DNSq0yczcoO4piK_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C9IBQfC1UOTC.Xz_YB.d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5593ppg3Ck6HBuvGTcnKE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FjV0WVdjPEenOxtSLiXT0A"/>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Fl73h5.GkiUn0oqvb2w5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0OGQyHKS0mKSWv_zr4v0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NzBF_IrlEEOIvr5sdw7vZ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jV0WVdjPEenOxtSLiXT0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Fl73h5.GkiUn0oqvb2w5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0OGQyHKS0mKSWv_zr4v0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FOaPE4OQBSLaj48fSV7d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5aDZ_.miJESepTIw7NIz_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0VHPnKg7Fkm..H7kSn4psw"/>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s2R94hDT8irjLXHA4R7u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5D4Uji_YQgaXqT.xIf1dp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pQa2bfwQuCMNhEMTr1B7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kH4IyqFSZSnlJrO53Z16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IXTjlcpQsmCDrhne8uxK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mY.JPZ4cQEqGMQ34o7uwh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QTvOLzYzQdmHWvnTuhNRQ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zWArYt3yRdSyWqRkrVXaSw"/>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s4xWUGGESnO3Pmk_WyrmC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dosKkch4SPyWV97qDoqQ3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QkwAA_DESgeXQ46QubPB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7wK0mEkzTneZXwRW5DPgE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65YbcSzESwGu4xH9mDuZ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B9FSBwJ1RFGpAt6j3862c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W72DEDSSeqyrzgslSTUR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IPr6R29NQjiMNa9uEO8PlQ"/>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X8Odx4nSCGgkpDmmSEO4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1cfS59vRbOXVREV52sUH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X8Odx4nSCGgkpDmmSEO4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uej4CbmDQxqk_PszcDcCW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9F4fDkiTnCARpoZtX6fu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7FbpbvJTm.mVzQH05_9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tOi.zKfRtGBIrZswD2qGw"/>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DcVCclPQyGocwsX.7S8v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o9Et6KgsTCCxXkPi6.mtn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sR_hNPY4RbKLH5P45zPSi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Kft3GDqQb.nsEVMyk0HT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lBb23e8Thy_Jfx23.EUb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NdQrySNDRAGyXEfPftR8j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5cfHMefxTZ6mkrXsC2VuV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0VHPnKg7Fkm..H7kSn4ps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h_TsntQiwk.BUG9LXi65Z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h_TsntQiwk.BUG9LXi65Z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h_TsntQiwk.BUG9LXi65Z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h_TsntQiwk.BUG9LXi65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h_TsntQiwk.BUG9LXi65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1Ddp49q.jEmctIXb2I.to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hroZeZXcC0aDfVlugV4Wh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I1YiY5ZW6kCN1FFRJgyiP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LNyyLPfRakqdS2ocvrj_V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O5cOw1lbxkmZ0zZMNqNej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ez2rNTL.r0e3fGhRUBorT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uawObqB8UmOdP6wzMdzR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a7dY64voGkegoh4DOasXk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6gkfAnBUEOmc5qhv_VEU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j5Blq.Wf0m6wxqaozyu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kaTK9TeqUmxW0dEcSTs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QY7h7oJKUaV.74mV4ban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kw11uCnIqkiAeUXgw1zFY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i.KR91ulW0ixRyxxYt.Ok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Yih27wcAUuObS9emsHob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Co96Ci63.EGTuClAjZqMQ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afNUpHjdkagVEYtOOXD9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HL1Yh1oL06SRCDGaLAlt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ck3BwSK9xkaX7IZrV9SvY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ncZUR1wzEEOArrfGEH9d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tOi.zKfRtGBIrZswD2qG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la83gMUGz0aIlv49thYb6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RQBLWLpWWk.rWKRDZKWgL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vjccnMeMPEmaeYoDnXPyT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MoBSrpsQ_069KhabtebVS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0FVdE4dCJki35MKWip5Wh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5QBx54axb0iHTgYNsOUsf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Ej1NnuWCEy9_QzOuVHvQ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iQwkSHCeQ0GSOhXCkgvOL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2EaDkFU5UShiYaN6pP1d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7tdp5.loCki7zfoAby19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E6ZTqQy8L0qL9mx.APYc0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vHgputDhX0ab_ZT2NCHhg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UZrMAiE_okmdSfGxILW83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aUiCa6cY0OOryRqeJrf5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l6D8slO_2E2Jbt463mKZ0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gyoIH9n9dkyJn8QmXlImX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D5XAVANd.E2G7S22CBjsB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_UfwBSUGE2QRxUVbItUY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1xgYnFb2zk64EFDyalRVx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RVRv4aQ6XUOpzaglN45h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ASShZNwbYkSTzKtjp6TVy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WfFrNbHpXUq.V8R9ow7IW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8YeGUddFS0uZYNn3Vg8ZF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O5cOw1lbxkmZ0zZMNqNej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ez2rNTL.r0e3fGhRUBorT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buawObqB8UmOdP6wzMdzR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a7dY64voGkegoh4DOasXk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6gkfAnBUEOmc5qhv_VEU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Gj5Blq.Wf0m6wxqaozyuh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IkaTK9TeqUmxW0dEcSTs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nAZlEPVRQaEn2Q0vcdIP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QY7h7oJKUaV.74mV4ban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kw11uCnIqkiAeUXgw1zFY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i.KR91ulW0ixRyxxYt.Ok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lYih27wcAUuObS9emsHob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Co96Ci63.EGTuClAjZqMQ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IafNUpHjdkagVEYtOOXD9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cHL1Yh1oL06SRCDGaLAlt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ck3BwSK9xkaX7IZrV9SvY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ncZUR1wzEEOArrfGEH9dS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la83gMUGz0aIlv49thYb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QBLWLpWWk.rWKRDZKWgL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vjccnMeMPEmaeYoDnXPyT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MoBSrpsQ_069KhabtebVS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0FVdE4dCJki35MKWip5Wh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5QBx54axb0iHTgYNsOUsf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cEj1NnuWCEy9_QzOuVHvQ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iQwkSHCeQ0GSOhXCkgvOL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2EaDkFU5UShiYaN6pP1d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7tdp5.loCki7zfoAby19M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E6ZTqQy8L0qL9mx.APYc0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vHgputDhX0ab_ZT2NCHhg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UZrMAiE_okmdSfGxILW83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aUiCa6cY0OOryRqeJrf5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l6D8slO_2E2Jbt463mKZ0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gyoIH9n9dkyJn8QmXlImX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D5XAVANd.E2G7S22CBjsB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_UfwBSUGE2QRxUVbItUY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1xgYnFb2zk64EFDyalRVx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RVRv4aQ6XUOpzaglN45hW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ASShZNwbYkSTzKtjp6TV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WfFrNbHpXUq.V8R9ow7IW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8YeGUddFS0uZYNn3Vg8ZF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O5cOw1lbxkmZ0zZMNqNej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ez2rNTL.r0e3fGhRUBorT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buawObqB8UmOdP6wzMdzR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a7dY64voGkegoh4DOasXk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6gkfAnBUEOmc5qhv_VEU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Gj5Blq.Wf0m6wxqaozyuh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IkaTK9TeqUmxW0dEcSTsZ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iQY7h7oJKUaV.74mV4ba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kw11uCnIqkiAeUXgw1zFY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i.KR91ulW0ixRyxxYt.Ok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lYih27wcAUuObS9emsHob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Co96Ci63.EGTuClAjZqMQ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IafNUpHjdkagVEYtOOXD9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cHL1Yh1oL06SRCDGaLAlt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ck3BwSK9xkaX7IZrV9SvY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ncZUR1wzEEOArrfGEH9dS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la83gMUGz0aIlv49thYb6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RQBLWLpWWk.rWKRDZKWg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vjccnMeMPEmaeYoDnXPyT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MoBSrpsQ_069KhabtebVS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0FVdE4dCJki35MKWip5Wh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5QBx54axb0iHTgYNsOUsf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cEj1NnuWCEy9_QzOuVHvQ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iQwkSHCeQ0GSOhXCkgvOL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F2EaDkFU5UShiYaN6pP1d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7tdp5.loCki7zfoAby19M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E6ZTqQy8L0qL9mx.APYc0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vHgputDhX0ab_ZT2NCHhgw"/>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UZrMAiE_okmdSfGxILW83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aUiCa6cY0OOryRqeJrf5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l6D8slO_2E2Jbt463mKZ0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gyoIH9n9dkyJn8QmXlImX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D5XAVANd.E2G7S22CBjsB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o_UfwBSUGE2QRxUVbItUY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1xgYnFb2zk64EFDyalRVx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VRv4aQ6XUOpzaglN45hW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ASShZNwbYkSTzKtjp6TVy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WfFrNbHpXUq.V8R9ow7IWA"/>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8YeGUddFS0uZYNn3Vg8ZF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O5cOw1lbxkmZ0zZMNqNej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ez2rNTL.r0e3fGhRUBorT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uawObqB8UmOdP6wzMdzR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a7dY64voGkegoh4DOasXk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6gkfAnBUEOmc5qhv_VEU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Gj5Blq.Wf0m6wxqaozyuh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IkaTK9TeqUmxW0dEcSTsZ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iQY7h7oJKUaV.74mV4ban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kw11uCnIqkiAeUXgw1zFYw"/>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i.KR91ulW0ixRyxxYt.Ok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Yih27wcAUuObS9emsHob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Co96Ci63.EGTuClAjZqMQ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IafNUpHjdkagVEYtOOXD9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cHL1Yh1oL06SRCDGaLAlt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ck3BwSK9xkaX7IZrV9SvY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ncZUR1wzEEOArrfGEH9dS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la83gMUGz0aIlv49thYb6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RQBLWLpWWk.rWKRDZKWgL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vjccnMeMPEmaeYoDnXPyTw"/>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MoBSrpsQ_069KhabtebV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0FVdE4dCJki35MKWip5Wh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5QBx54axb0iHTgYNsOUsf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cEj1NnuWCEy9_QzOuVHvQ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iQwkSHCeQ0GSOhXCkgvOL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2EaDkFU5UShiYaN6pP1d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7tdp5.loCki7zfoAby19M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E6ZTqQy8L0qL9mx.APYc0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vHgputDhX0ab_ZT2NCHhg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UZrMAiE_okmdSfGxILW83w"/>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FaUiCa6cY0OOryRqeJrf5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l6D8slO_2E2Jbt463mKZ0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gyoIH9n9dkyJn8QmXlImX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D5XAVANd.E2G7S22CBjsB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o_UfwBSUGE2QRxUVbItUY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1xgYnFb2zk64EFDyalRVx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RVRv4aQ6XUOpzaglN45hW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ASShZNwbYkSTzKtjp6TVy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WfFrNbHpXUq.V8R9ow7IW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8YeGUddFS0uZYNn3Vg8Z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0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rrnukhLH9k.WtNyM1kLnqw"/>
</p:tagLst>
</file>

<file path=ppt/tags/tag50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ITo3.jGBqk.DZQKdJkcm0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Zj64e9koqEiLjqhVA4DB1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zmoVu61gOUSRj6YUJ3Pwp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LQ2kUmxCPEmxWSjIyEgjo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wqqWeAlVJE2aSGyy8fWOU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SVQrhCYrTtmcF2vtk736h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nAZlEPVRQaEn2Q0vcdI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L2RPgaiSeivpgmqN7Q4iw"/>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6_GAE427 Template">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CN_CF_GAE373">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GAE427 Template">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NPHCDA">
  <a:themeElements>
    <a:clrScheme name="Nigeria VAN">
      <a:dk1>
        <a:srgbClr val="000000"/>
      </a:dk1>
      <a:lt1>
        <a:srgbClr val="FFFFFF"/>
      </a:lt1>
      <a:dk2>
        <a:srgbClr val="000000"/>
      </a:dk2>
      <a:lt2>
        <a:srgbClr val="E5E5E5"/>
      </a:lt2>
      <a:accent1>
        <a:srgbClr val="008753"/>
      </a:accent1>
      <a:accent2>
        <a:srgbClr val="F2F2F2"/>
      </a:accent2>
      <a:accent3>
        <a:srgbClr val="BFBFBF"/>
      </a:accent3>
      <a:accent4>
        <a:srgbClr val="7F7F7F"/>
      </a:accent4>
      <a:accent5>
        <a:srgbClr val="595959"/>
      </a:accent5>
      <a:accent6>
        <a:srgbClr val="262626"/>
      </a:accent6>
      <a:hlink>
        <a:srgbClr val="44969F"/>
      </a:hlink>
      <a:folHlink>
        <a:srgbClr val="44969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vert="horz" wrap="square" lIns="91440" tIns="45720" rIns="91440" bIns="45720" numCol="1" anchor="t" anchorCtr="0" compatLnSpc="1">
        <a:prstTxWarp prst="textNoShape">
          <a:avLst/>
        </a:prstTxWarp>
      </a:bodyPr>
      <a:lstStyle>
        <a:defPPr eaLnBrk="1" hangingPunct="1">
          <a:defRPr sz="900" b="0" i="0" dirty="0" smtClean="0">
            <a:solidFill>
              <a:srgbClr val="000000"/>
            </a:solidFill>
            <a:latin typeface="+mj-lt"/>
          </a:defRPr>
        </a:defPPr>
      </a:lstStyle>
    </a:spDef>
    <a:lnDef>
      <a:spPr bwMode="auto">
        <a:noFill/>
        <a:ln w="9525" cap="flat" cmpd="sng" algn="ctr">
          <a:solidFill>
            <a:schemeClr val="accent4"/>
          </a:solidFill>
          <a:prstDash val="solid"/>
          <a:round/>
          <a:headEnd type="none" w="med" len="med"/>
          <a:tailEnd type="none" w="med" len="med"/>
        </a:ln>
        <a:effectLst/>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PHCDA" id="{B099394F-3227-584E-BBD7-3E13C12115AB}" vid="{5205DAC5-C5FC-0A48-8EE3-4CD98D4A3F87}"/>
    </a:ext>
  </a:extLst>
</a:theme>
</file>

<file path=ppt/theme/theme14.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_NPHCDA">
  <a:themeElements>
    <a:clrScheme name="Nigeria VAN">
      <a:dk1>
        <a:srgbClr val="000000"/>
      </a:dk1>
      <a:lt1>
        <a:srgbClr val="FFFFFF"/>
      </a:lt1>
      <a:dk2>
        <a:srgbClr val="000000"/>
      </a:dk2>
      <a:lt2>
        <a:srgbClr val="E5E5E5"/>
      </a:lt2>
      <a:accent1>
        <a:srgbClr val="008753"/>
      </a:accent1>
      <a:accent2>
        <a:srgbClr val="F2F2F2"/>
      </a:accent2>
      <a:accent3>
        <a:srgbClr val="BFBFBF"/>
      </a:accent3>
      <a:accent4>
        <a:srgbClr val="7F7F7F"/>
      </a:accent4>
      <a:accent5>
        <a:srgbClr val="595959"/>
      </a:accent5>
      <a:accent6>
        <a:srgbClr val="262626"/>
      </a:accent6>
      <a:hlink>
        <a:srgbClr val="44969F"/>
      </a:hlink>
      <a:folHlink>
        <a:srgbClr val="44969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vert="horz" wrap="square" lIns="91440" tIns="45720" rIns="91440" bIns="45720" numCol="1" anchor="t" anchorCtr="0" compatLnSpc="1">
        <a:prstTxWarp prst="textNoShape">
          <a:avLst/>
        </a:prstTxWarp>
      </a:bodyPr>
      <a:lstStyle>
        <a:defPPr eaLnBrk="1" hangingPunct="1">
          <a:defRPr sz="900" b="0" i="0" dirty="0" smtClean="0">
            <a:solidFill>
              <a:srgbClr val="000000"/>
            </a:solidFill>
            <a:latin typeface="+mj-lt"/>
          </a:defRPr>
        </a:defPPr>
      </a:lstStyle>
    </a:spDef>
    <a:lnDef>
      <a:spPr bwMode="auto">
        <a:noFill/>
        <a:ln w="9525" cap="flat" cmpd="sng" algn="ctr">
          <a:solidFill>
            <a:schemeClr val="accent4"/>
          </a:solidFill>
          <a:prstDash val="solid"/>
          <a:round/>
          <a:headEnd type="none" w="med" len="med"/>
          <a:tailEnd type="none" w="med" len="med"/>
        </a:ln>
        <a:effectLst/>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PHCDA" id="{B099394F-3227-584E-BBD7-3E13C12115AB}" vid="{5205DAC5-C5FC-0A48-8EE3-4CD98D4A3F87}"/>
    </a:ext>
  </a:extLst>
</a:theme>
</file>

<file path=ppt/theme/theme16.xml><?xml version="1.0" encoding="utf-8"?>
<a:theme xmlns:a="http://schemas.openxmlformats.org/drawingml/2006/main" name="3_NPHCDA">
  <a:themeElements>
    <a:clrScheme name="Nigeria VAN">
      <a:dk1>
        <a:srgbClr val="000000"/>
      </a:dk1>
      <a:lt1>
        <a:srgbClr val="FFFFFF"/>
      </a:lt1>
      <a:dk2>
        <a:srgbClr val="000000"/>
      </a:dk2>
      <a:lt2>
        <a:srgbClr val="E5E5E5"/>
      </a:lt2>
      <a:accent1>
        <a:srgbClr val="008753"/>
      </a:accent1>
      <a:accent2>
        <a:srgbClr val="F2F2F2"/>
      </a:accent2>
      <a:accent3>
        <a:srgbClr val="BFBFBF"/>
      </a:accent3>
      <a:accent4>
        <a:srgbClr val="7F7F7F"/>
      </a:accent4>
      <a:accent5>
        <a:srgbClr val="595959"/>
      </a:accent5>
      <a:accent6>
        <a:srgbClr val="262626"/>
      </a:accent6>
      <a:hlink>
        <a:srgbClr val="44969F"/>
      </a:hlink>
      <a:folHlink>
        <a:srgbClr val="44969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vert="horz" wrap="square" lIns="91440" tIns="45720" rIns="91440" bIns="45720" numCol="1" anchor="t" anchorCtr="0" compatLnSpc="1">
        <a:prstTxWarp prst="textNoShape">
          <a:avLst/>
        </a:prstTxWarp>
      </a:bodyPr>
      <a:lstStyle>
        <a:defPPr eaLnBrk="1" hangingPunct="1">
          <a:defRPr sz="900" b="0" i="0" dirty="0" smtClean="0">
            <a:solidFill>
              <a:srgbClr val="000000"/>
            </a:solidFill>
            <a:latin typeface="+mj-lt"/>
          </a:defRPr>
        </a:defPPr>
      </a:lstStyle>
    </a:spDef>
    <a:lnDef>
      <a:spPr bwMode="auto">
        <a:noFill/>
        <a:ln w="9525" cap="flat" cmpd="sng" algn="ctr">
          <a:solidFill>
            <a:schemeClr val="accent4"/>
          </a:solidFill>
          <a:prstDash val="solid"/>
          <a:round/>
          <a:headEnd type="none" w="med" len="med"/>
          <a:tailEnd type="none" w="med" len="med"/>
        </a:ln>
        <a:effectLst/>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PHCDA" id="{B099394F-3227-584E-BBD7-3E13C12115AB}" vid="{5205DAC5-C5FC-0A48-8EE3-4CD98D4A3F87}"/>
    </a:ext>
  </a:extLst>
</a:theme>
</file>

<file path=ppt/theme/theme17.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GAE427 Template">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Century Gothic-Palatino Linotyp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4_NPHCDA">
  <a:themeElements>
    <a:clrScheme name="Nigeria VAN">
      <a:dk1>
        <a:srgbClr val="000000"/>
      </a:dk1>
      <a:lt1>
        <a:srgbClr val="FFFFFF"/>
      </a:lt1>
      <a:dk2>
        <a:srgbClr val="000000"/>
      </a:dk2>
      <a:lt2>
        <a:srgbClr val="E5E5E5"/>
      </a:lt2>
      <a:accent1>
        <a:srgbClr val="008753"/>
      </a:accent1>
      <a:accent2>
        <a:srgbClr val="F2F2F2"/>
      </a:accent2>
      <a:accent3>
        <a:srgbClr val="BFBFBF"/>
      </a:accent3>
      <a:accent4>
        <a:srgbClr val="7F7F7F"/>
      </a:accent4>
      <a:accent5>
        <a:srgbClr val="595959"/>
      </a:accent5>
      <a:accent6>
        <a:srgbClr val="262626"/>
      </a:accent6>
      <a:hlink>
        <a:srgbClr val="44969F"/>
      </a:hlink>
      <a:folHlink>
        <a:srgbClr val="44969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vert="horz" wrap="square" lIns="91440" tIns="45720" rIns="91440" bIns="45720" numCol="1" anchor="t" anchorCtr="0" compatLnSpc="1">
        <a:prstTxWarp prst="textNoShape">
          <a:avLst/>
        </a:prstTxWarp>
      </a:bodyPr>
      <a:lstStyle>
        <a:defPPr eaLnBrk="1" hangingPunct="1">
          <a:defRPr sz="900" b="0" i="0" dirty="0" smtClean="0">
            <a:solidFill>
              <a:srgbClr val="000000"/>
            </a:solidFill>
            <a:latin typeface="+mj-lt"/>
          </a:defRPr>
        </a:defPPr>
      </a:lstStyle>
    </a:spDef>
    <a:lnDef>
      <a:spPr bwMode="auto">
        <a:noFill/>
        <a:ln w="9525" cap="flat" cmpd="sng" algn="ctr">
          <a:solidFill>
            <a:schemeClr val="accent4"/>
          </a:solidFill>
          <a:prstDash val="solid"/>
          <a:round/>
          <a:headEnd type="none" w="med" len="med"/>
          <a:tailEnd type="none" w="med" len="med"/>
        </a:ln>
        <a:effectLst/>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PHCDA" id="{B099394F-3227-584E-BBD7-3E13C12115AB}" vid="{5205DAC5-C5FC-0A48-8EE3-4CD98D4A3F87}"/>
    </a:ext>
  </a:extLst>
</a:theme>
</file>

<file path=ppt/theme/theme21.xml><?xml version="1.0" encoding="utf-8"?>
<a:theme xmlns:a="http://schemas.openxmlformats.org/drawingml/2006/main" name="1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10_Blank">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wrap="square" lIns="0" tIns="0" rIns="0" bIns="0">
        <a:spAutoFit/>
      </a:bodyPr>
      <a:lstStyle>
        <a:defPPr marL="133350" indent="-137160" defTabSz="787400">
          <a:buClr>
            <a:schemeClr val="tx2"/>
          </a:buClr>
          <a:buSzPct val="125000"/>
          <a:buFont typeface="Arial" pitchFamily="34" charset="0"/>
          <a:buChar char="•"/>
          <a:defRPr dirty="0" smtClean="0"/>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5_NPHCDA">
  <a:themeElements>
    <a:clrScheme name="Nigeria VAN">
      <a:dk1>
        <a:srgbClr val="000000"/>
      </a:dk1>
      <a:lt1>
        <a:srgbClr val="FFFFFF"/>
      </a:lt1>
      <a:dk2>
        <a:srgbClr val="000000"/>
      </a:dk2>
      <a:lt2>
        <a:srgbClr val="E5E5E5"/>
      </a:lt2>
      <a:accent1>
        <a:srgbClr val="008753"/>
      </a:accent1>
      <a:accent2>
        <a:srgbClr val="F2F2F2"/>
      </a:accent2>
      <a:accent3>
        <a:srgbClr val="BFBFBF"/>
      </a:accent3>
      <a:accent4>
        <a:srgbClr val="7F7F7F"/>
      </a:accent4>
      <a:accent5>
        <a:srgbClr val="595959"/>
      </a:accent5>
      <a:accent6>
        <a:srgbClr val="262626"/>
      </a:accent6>
      <a:hlink>
        <a:srgbClr val="44969F"/>
      </a:hlink>
      <a:folHlink>
        <a:srgbClr val="44969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vert="horz" wrap="square" lIns="91440" tIns="45720" rIns="91440" bIns="45720" numCol="1" anchor="t" anchorCtr="0" compatLnSpc="1">
        <a:prstTxWarp prst="textNoShape">
          <a:avLst/>
        </a:prstTxWarp>
      </a:bodyPr>
      <a:lstStyle>
        <a:defPPr eaLnBrk="1" hangingPunct="1">
          <a:defRPr sz="900" b="0" i="0" dirty="0" smtClean="0">
            <a:solidFill>
              <a:srgbClr val="000000"/>
            </a:solidFill>
            <a:latin typeface="+mj-lt"/>
          </a:defRPr>
        </a:defPPr>
      </a:lstStyle>
    </a:spDef>
    <a:lnDef>
      <a:spPr bwMode="auto">
        <a:noFill/>
        <a:ln w="9525" cap="flat" cmpd="sng" algn="ctr">
          <a:solidFill>
            <a:schemeClr val="accent4"/>
          </a:solidFill>
          <a:prstDash val="solid"/>
          <a:round/>
          <a:headEnd type="none" w="med" len="med"/>
          <a:tailEnd type="none" w="med" len="med"/>
        </a:ln>
        <a:effectLst/>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PHCDA" id="{B099394F-3227-584E-BBD7-3E13C12115AB}" vid="{5205DAC5-C5FC-0A48-8EE3-4CD98D4A3F87}"/>
    </a:ext>
  </a:extLst>
</a:theme>
</file>

<file path=ppt/theme/theme26.xml><?xml version="1.0" encoding="utf-8"?>
<a:theme xmlns:a="http://schemas.openxmlformats.org/drawingml/2006/main" name="10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7_GAE427 Template">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4F3A3E99-3338-41B9-ABCC-4B216A210F7B}" vid="{7DE701AE-B97F-45D0-874B-34E3138F9BE3}"/>
    </a:ext>
  </a:extLst>
</a:theme>
</file>

<file path=ppt/theme/theme8.xml><?xml version="1.0" encoding="utf-8"?>
<a:theme xmlns:a="http://schemas.openxmlformats.org/drawingml/2006/main" name="2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3_GAE427 Template">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0392</TotalTime>
  <Words>4478</Words>
  <Application>Microsoft Office PowerPoint</Application>
  <PresentationFormat>Widescreen</PresentationFormat>
  <Paragraphs>768</Paragraphs>
  <Slides>36</Slides>
  <Notes>6</Notes>
  <HiddenSlides>0</HiddenSlides>
  <MMClips>0</MMClips>
  <ScaleCrop>false</ScaleCrop>
  <HeadingPairs>
    <vt:vector size="8" baseType="variant">
      <vt:variant>
        <vt:lpstr>Fonts Used</vt:lpstr>
      </vt:variant>
      <vt:variant>
        <vt:i4>15</vt:i4>
      </vt:variant>
      <vt:variant>
        <vt:lpstr>Theme</vt:lpstr>
      </vt:variant>
      <vt:variant>
        <vt:i4>26</vt:i4>
      </vt:variant>
      <vt:variant>
        <vt:lpstr>Embedded OLE Servers</vt:lpstr>
      </vt:variant>
      <vt:variant>
        <vt:i4>1</vt:i4>
      </vt:variant>
      <vt:variant>
        <vt:lpstr>Slide Titles</vt:lpstr>
      </vt:variant>
      <vt:variant>
        <vt:i4>36</vt:i4>
      </vt:variant>
    </vt:vector>
  </HeadingPairs>
  <TitlesOfParts>
    <vt:vector size="78" baseType="lpstr">
      <vt:lpstr>Arial</vt:lpstr>
      <vt:lpstr>Arial (Body)</vt:lpstr>
      <vt:lpstr>Bahnschrift SemiCondensed</vt:lpstr>
      <vt:lpstr>Calibri</vt:lpstr>
      <vt:lpstr>Calibri Light</vt:lpstr>
      <vt:lpstr>Candara</vt:lpstr>
      <vt:lpstr>Century Gothic</vt:lpstr>
      <vt:lpstr>Gill Sans MT</vt:lpstr>
      <vt:lpstr>Lucida Sans</vt:lpstr>
      <vt:lpstr>Optima</vt:lpstr>
      <vt:lpstr>Palatino Linotype</vt:lpstr>
      <vt:lpstr>Times New Roman</vt:lpstr>
      <vt:lpstr>Tw Cen MT</vt:lpstr>
      <vt:lpstr>Verdana</vt:lpstr>
      <vt:lpstr>Wingdings</vt:lpstr>
      <vt:lpstr>Office Theme</vt:lpstr>
      <vt:lpstr>9_Office Theme</vt:lpstr>
      <vt:lpstr>1_Office Theme</vt:lpstr>
      <vt:lpstr>37_GAE427 Template</vt:lpstr>
      <vt:lpstr>3_Office Theme</vt:lpstr>
      <vt:lpstr>7_Office Theme</vt:lpstr>
      <vt:lpstr>1_Theme1</vt:lpstr>
      <vt:lpstr>22_Office Theme</vt:lpstr>
      <vt:lpstr>13_GAE427 Template</vt:lpstr>
      <vt:lpstr>16_GAE427 Template</vt:lpstr>
      <vt:lpstr>3_CN_CF_GAE373</vt:lpstr>
      <vt:lpstr>GAE427 Template</vt:lpstr>
      <vt:lpstr>1_NPHCDA</vt:lpstr>
      <vt:lpstr>5_Office Theme</vt:lpstr>
      <vt:lpstr>2_NPHCDA</vt:lpstr>
      <vt:lpstr>3_NPHCDA</vt:lpstr>
      <vt:lpstr>2_Office Theme</vt:lpstr>
      <vt:lpstr>1_GAE427 Template</vt:lpstr>
      <vt:lpstr>6_Office Theme</vt:lpstr>
      <vt:lpstr>4_NPHCDA</vt:lpstr>
      <vt:lpstr>19_Office Theme</vt:lpstr>
      <vt:lpstr>8_Office Theme</vt:lpstr>
      <vt:lpstr>4_Office Theme</vt:lpstr>
      <vt:lpstr>10_Blank</vt:lpstr>
      <vt:lpstr>5_NPHCDA</vt:lpstr>
      <vt:lpstr>10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1The Honourable Minister of Health flagged-off the Technical Support Program on Tuesday, the 17th of July to provide direct and specialized technical support to SPHCDAs</vt:lpstr>
      <vt:lpstr>1The Agency developed a 3-year road map to design and independently run the technical support program</vt:lpstr>
      <vt:lpstr>PowerPoint Presentation</vt:lpstr>
      <vt:lpstr>1Internally, the NPHCDA is enforcing an accountability framework that demands increased responsiveness from health workers and managers for RI at national and states levels through quarterly meeting with Executive Secretaries of SPHCBs</vt:lpstr>
      <vt:lpstr>PowerPoint Presentation</vt:lpstr>
      <vt:lpstr>We have put in place a number of measures to ensure the Task-shifting program is successfully implemented to the end </vt:lpstr>
      <vt:lpstr>       2Looking ahead: Reducing Maternal and Child Mortality</vt:lpstr>
      <vt:lpstr>As a first step, Mr. President flagged off the Primary Health Care Revitalization Program…States are Following on this as well and there is progress with SPHCDAs </vt:lpstr>
      <vt:lpstr>PowerPoint Presentation</vt:lpstr>
      <vt:lpstr>PowerPoint Presentation</vt:lpstr>
      <vt:lpstr>PowerPoint Presentation</vt:lpstr>
      <vt:lpstr>PowerPoint Presentation</vt:lpstr>
      <vt:lpstr>4Current Health Facility Coverage (1,866 PHCs in 8 States)</vt:lpstr>
      <vt:lpstr>5Nigeria’s immunization coverage has fluctuated significantly over the last decade</vt:lpstr>
      <vt:lpstr>5NPHCDA established and institutionalized the NERICC to drive rapid and sustainable improvements in immunization coverage in Nigeria</vt:lpstr>
      <vt:lpstr>5Over the last 25 years, Nigeria made no progress towards achieving the MDG targets for MMR</vt:lpstr>
      <vt:lpstr>PowerPoint Presentation</vt:lpstr>
      <vt:lpstr>6The NPHCDA introduced the Lot Quality Assurance Sampling (LQAS) to monitor the Quality of RI programme at LGA and state levels</vt:lpstr>
      <vt:lpstr>PowerPoint Presentation</vt:lpstr>
      <vt:lpstr> 6Proportion of children appropriately immunized for age Card+ History  in 36 states and FCT comparing RI LQAS in Q2 (June) vs. Q4 (December), has improved in most states by December 2018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PHCDA</dc:creator>
  <cp:lastModifiedBy>Heman Bassi</cp:lastModifiedBy>
  <cp:revision>391</cp:revision>
  <cp:lastPrinted>2019-04-30T08:11:06Z</cp:lastPrinted>
  <dcterms:created xsi:type="dcterms:W3CDTF">2019-01-15T12:44:10Z</dcterms:created>
  <dcterms:modified xsi:type="dcterms:W3CDTF">2019-04-30T13:02:08Z</dcterms:modified>
</cp:coreProperties>
</file>